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1.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2.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4.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63" r:id="rId4"/>
    <p:sldMasterId id="2147483956" r:id="rId5"/>
    <p:sldMasterId id="2147483999" r:id="rId6"/>
  </p:sldMasterIdLst>
  <p:notesMasterIdLst>
    <p:notesMasterId r:id="rId31"/>
  </p:notesMasterIdLst>
  <p:handoutMasterIdLst>
    <p:handoutMasterId r:id="rId32"/>
  </p:handoutMasterIdLst>
  <p:sldIdLst>
    <p:sldId id="256" r:id="rId7"/>
    <p:sldId id="2147376369" r:id="rId8"/>
    <p:sldId id="3945" r:id="rId9"/>
    <p:sldId id="2147309374" r:id="rId10"/>
    <p:sldId id="2147309375" r:id="rId11"/>
    <p:sldId id="2134808170" r:id="rId12"/>
    <p:sldId id="2147376366" r:id="rId13"/>
    <p:sldId id="2147376367" r:id="rId14"/>
    <p:sldId id="2147376368" r:id="rId15"/>
    <p:sldId id="3946" r:id="rId16"/>
    <p:sldId id="2134808053" r:id="rId17"/>
    <p:sldId id="2147376370" r:id="rId18"/>
    <p:sldId id="3949" r:id="rId19"/>
    <p:sldId id="2134808056" r:id="rId20"/>
    <p:sldId id="2134808052" r:id="rId21"/>
    <p:sldId id="2134808051" r:id="rId22"/>
    <p:sldId id="2147376371" r:id="rId23"/>
    <p:sldId id="537" r:id="rId24"/>
    <p:sldId id="274" r:id="rId25"/>
    <p:sldId id="3951" r:id="rId26"/>
    <p:sldId id="3947" r:id="rId27"/>
    <p:sldId id="3953" r:id="rId28"/>
    <p:sldId id="2134808055" r:id="rId29"/>
    <p:sldId id="3950" r:id="rId30"/>
  </p:sldIdLst>
  <p:sldSz cx="12188825" cy="6858000"/>
  <p:notesSz cx="7102475" cy="9388475"/>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con Library" id="{A980E410-E218-4245-A039-48D6C11C9ECB}">
          <p14:sldIdLst>
            <p14:sldId id="256"/>
            <p14:sldId id="2147376369"/>
            <p14:sldId id="3945"/>
            <p14:sldId id="2147309374"/>
            <p14:sldId id="2147309375"/>
            <p14:sldId id="2134808170"/>
            <p14:sldId id="2147376366"/>
            <p14:sldId id="2147376367"/>
            <p14:sldId id="2147376368"/>
            <p14:sldId id="3946"/>
            <p14:sldId id="2134808053"/>
            <p14:sldId id="2147376370"/>
            <p14:sldId id="3949"/>
            <p14:sldId id="2134808056"/>
            <p14:sldId id="2134808052"/>
            <p14:sldId id="2134808051"/>
            <p14:sldId id="2147376371"/>
            <p14:sldId id="537"/>
            <p14:sldId id="274"/>
            <p14:sldId id="3951"/>
            <p14:sldId id="3947"/>
            <p14:sldId id="3953"/>
            <p14:sldId id="2134808055"/>
            <p14:sldId id="3950"/>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26262"/>
    <a:srgbClr val="444444"/>
    <a:srgbClr val="FF8A1A"/>
    <a:srgbClr val="EE7700"/>
    <a:srgbClr val="D66B00"/>
    <a:srgbClr val="F05323"/>
    <a:srgbClr val="F2F2F2"/>
    <a:srgbClr val="FFFFFF"/>
    <a:srgbClr val="99DCE3"/>
    <a:srgbClr val="0093A2"/>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81FEF26-99D5-4B40-9BFF-33E0C8F5923F}" v="2" dt="2022-02-13T15:50:06.576"/>
    <p1510:client id="{9FD4C6BF-FEEC-ED22-8D67-D5526564BBA6}" v="1" dt="2022-02-25T19:24:10.14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050" autoAdjust="0"/>
    <p:restoredTop sz="60594" autoAdjust="0"/>
  </p:normalViewPr>
  <p:slideViewPr>
    <p:cSldViewPr snapToGrid="0" showGuides="1">
      <p:cViewPr varScale="1">
        <p:scale>
          <a:sx n="48" d="100"/>
          <a:sy n="48" d="100"/>
        </p:scale>
        <p:origin x="1982" y="58"/>
      </p:cViewPr>
      <p:guideLst/>
    </p:cSldViewPr>
  </p:slideViewPr>
  <p:outlineViewPr>
    <p:cViewPr>
      <p:scale>
        <a:sx n="33" d="100"/>
        <a:sy n="33" d="100"/>
      </p:scale>
      <p:origin x="0" y="-7838"/>
    </p:cViewPr>
  </p:outlineViewPr>
  <p:notesTextViewPr>
    <p:cViewPr>
      <p:scale>
        <a:sx n="3" d="2"/>
        <a:sy n="3" d="2"/>
      </p:scale>
      <p:origin x="0" y="0"/>
    </p:cViewPr>
  </p:notesTextViewPr>
  <p:sorterViewPr>
    <p:cViewPr varScale="1">
      <p:scale>
        <a:sx n="1" d="1"/>
        <a:sy n="1" d="1"/>
      </p:scale>
      <p:origin x="0" y="-11316"/>
    </p:cViewPr>
  </p:sorterViewPr>
  <p:notesViewPr>
    <p:cSldViewPr snapToGrid="0" showGuides="1">
      <p:cViewPr varScale="1">
        <p:scale>
          <a:sx n="119" d="100"/>
          <a:sy n="119" d="100"/>
        </p:scale>
        <p:origin x="4096" y="19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handoutMaster" Target="handoutMasters/handoutMaster1.xml"/><Relationship Id="rId37"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theme" Target="theme/theme1.xml"/><Relationship Id="rId8" Type="http://schemas.openxmlformats.org/officeDocument/2006/relationships/slide" Target="slides/slide2.xml"/><Relationship Id="rId3" Type="http://schemas.openxmlformats.org/officeDocument/2006/relationships/customXml" Target="../customXml/item3.xml"/></Relationships>
</file>

<file path=ppt/diagrams/_rels/data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svg"/><Relationship Id="rId1" Type="http://schemas.openxmlformats.org/officeDocument/2006/relationships/image" Target="../media/image81.png"/><Relationship Id="rId4" Type="http://schemas.openxmlformats.org/officeDocument/2006/relationships/image" Target="../media/image84.svg"/></Relationships>
</file>

<file path=ppt/diagrams/_rels/drawing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svg"/><Relationship Id="rId1" Type="http://schemas.openxmlformats.org/officeDocument/2006/relationships/image" Target="../media/image81.png"/><Relationship Id="rId4" Type="http://schemas.openxmlformats.org/officeDocument/2006/relationships/image" Target="../media/image84.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FE0EF67-F8A6-4BEF-8423-C49FC9F23404}" type="doc">
      <dgm:prSet loTypeId="urn:microsoft.com/office/officeart/2009/layout/CirclePictureHierarchy" loCatId="hierarchy" qsTypeId="urn:microsoft.com/office/officeart/2005/8/quickstyle/simple1" qsCatId="simple" csTypeId="urn:microsoft.com/office/officeart/2005/8/colors/accent1_2" csCatId="accent1" phldr="1"/>
      <dgm:spPr/>
      <dgm:t>
        <a:bodyPr/>
        <a:lstStyle/>
        <a:p>
          <a:endParaRPr lang="en-US"/>
        </a:p>
      </dgm:t>
    </dgm:pt>
    <dgm:pt modelId="{FC02B1A4-1219-49D4-936A-526370B4B824}">
      <dgm:prSet phldrT="[Text]" custT="1"/>
      <dgm:spPr/>
      <dgm:t>
        <a:bodyPr/>
        <a:lstStyle/>
        <a:p>
          <a:r>
            <a:rPr lang="en-US" sz="2000" dirty="0"/>
            <a:t>POD (US-West 1)</a:t>
          </a:r>
        </a:p>
      </dgm:t>
    </dgm:pt>
    <dgm:pt modelId="{63EA8F8C-98E9-4922-9C25-DD09691FBB7B}" type="sibTrans" cxnId="{5C7D5ECC-9514-4185-84B7-B327898502DA}">
      <dgm:prSet/>
      <dgm:spPr/>
      <dgm:t>
        <a:bodyPr/>
        <a:lstStyle/>
        <a:p>
          <a:endParaRPr lang="en-US" sz="1400"/>
        </a:p>
      </dgm:t>
    </dgm:pt>
    <dgm:pt modelId="{9340AD14-70AE-4D3E-968A-FEAAB1D7555B}" type="parTrans" cxnId="{5C7D5ECC-9514-4185-84B7-B327898502DA}">
      <dgm:prSet/>
      <dgm:spPr/>
      <dgm:t>
        <a:bodyPr/>
        <a:lstStyle/>
        <a:p>
          <a:endParaRPr lang="en-US" sz="1400"/>
        </a:p>
      </dgm:t>
    </dgm:pt>
    <dgm:pt modelId="{B3550678-B476-4400-9517-71E6A5E5CFCE}">
      <dgm:prSet phldrT="[Text]" custT="1"/>
      <dgm:spPr/>
      <dgm:t>
        <a:bodyPr/>
        <a:lstStyle/>
        <a:p>
          <a:r>
            <a:rPr lang="en-US" sz="1400" dirty="0"/>
            <a:t>Walmart PROD</a:t>
          </a:r>
        </a:p>
      </dgm:t>
    </dgm:pt>
    <dgm:pt modelId="{F1C659B5-CE9A-4FAE-AA48-1930E5FE35B4}" type="sibTrans" cxnId="{CC7907A3-8CB7-4FD6-837D-428687CC5646}">
      <dgm:prSet/>
      <dgm:spPr/>
      <dgm:t>
        <a:bodyPr/>
        <a:lstStyle/>
        <a:p>
          <a:endParaRPr lang="en-US" sz="1400"/>
        </a:p>
      </dgm:t>
    </dgm:pt>
    <dgm:pt modelId="{F5B62F93-BBCF-4955-B3D7-6BEECCA1397C}" type="parTrans" cxnId="{CC7907A3-8CB7-4FD6-837D-428687CC5646}">
      <dgm:prSet/>
      <dgm:spPr/>
      <dgm:t>
        <a:bodyPr/>
        <a:lstStyle/>
        <a:p>
          <a:endParaRPr lang="en-US" sz="1400"/>
        </a:p>
      </dgm:t>
    </dgm:pt>
    <dgm:pt modelId="{062B5BD4-9BC8-47C0-A6B5-C0F39FD7576A}">
      <dgm:prSet phldrT="[Text]" custT="1"/>
      <dgm:spPr/>
      <dgm:t>
        <a:bodyPr/>
        <a:lstStyle/>
        <a:p>
          <a:r>
            <a:rPr lang="en-US" sz="1400" dirty="0"/>
            <a:t>Walmart Sandbox</a:t>
          </a:r>
        </a:p>
      </dgm:t>
    </dgm:pt>
    <dgm:pt modelId="{AA673E88-A9BF-45CD-B6DD-452A29119855}" type="sibTrans" cxnId="{5CDA944A-A526-4490-9964-ECEFC63BDD0F}">
      <dgm:prSet/>
      <dgm:spPr/>
      <dgm:t>
        <a:bodyPr/>
        <a:lstStyle/>
        <a:p>
          <a:endParaRPr lang="en-US" sz="1400"/>
        </a:p>
      </dgm:t>
    </dgm:pt>
    <dgm:pt modelId="{8261FD74-0BD8-427E-9AC5-02A3D747A588}" type="parTrans" cxnId="{5CDA944A-A526-4490-9964-ECEFC63BDD0F}">
      <dgm:prSet/>
      <dgm:spPr/>
      <dgm:t>
        <a:bodyPr/>
        <a:lstStyle/>
        <a:p>
          <a:endParaRPr lang="en-US" sz="1400"/>
        </a:p>
      </dgm:t>
    </dgm:pt>
    <dgm:pt modelId="{05F6831D-4E1B-4EE0-B335-EC301E20CC41}">
      <dgm:prSet phldrT="[Text]" custT="1"/>
      <dgm:spPr/>
      <dgm:t>
        <a:bodyPr/>
        <a:lstStyle/>
        <a:p>
          <a:r>
            <a:rPr lang="en-US" sz="1400" dirty="0"/>
            <a:t>Sodexo</a:t>
          </a:r>
        </a:p>
      </dgm:t>
    </dgm:pt>
    <dgm:pt modelId="{B6604EF2-51C4-4ED7-BDA6-18A585C9D2CA}" type="sibTrans" cxnId="{A1DF7A85-A3ED-4D9B-9C79-76736E281BB1}">
      <dgm:prSet/>
      <dgm:spPr/>
      <dgm:t>
        <a:bodyPr/>
        <a:lstStyle/>
        <a:p>
          <a:endParaRPr lang="en-US" sz="1400"/>
        </a:p>
      </dgm:t>
    </dgm:pt>
    <dgm:pt modelId="{667DFA7B-3849-4E90-93EF-C7ADBC605410}" type="parTrans" cxnId="{A1DF7A85-A3ED-4D9B-9C79-76736E281BB1}">
      <dgm:prSet/>
      <dgm:spPr/>
      <dgm:t>
        <a:bodyPr/>
        <a:lstStyle/>
        <a:p>
          <a:endParaRPr lang="en-US" sz="1400"/>
        </a:p>
      </dgm:t>
    </dgm:pt>
    <dgm:pt modelId="{DF8E3438-32AD-49BC-8D1E-FA127E4FFA20}">
      <dgm:prSet phldrT="[Text]" custT="1"/>
      <dgm:spPr/>
      <dgm:t>
        <a:bodyPr/>
        <a:lstStyle/>
        <a:p>
          <a:r>
            <a:rPr lang="en-US" sz="1400" dirty="0"/>
            <a:t>Ford</a:t>
          </a:r>
        </a:p>
      </dgm:t>
    </dgm:pt>
    <dgm:pt modelId="{A005C013-3553-4B0E-B130-822F5025491C}" type="sibTrans" cxnId="{6B8FDC3B-A1B7-4061-8C2B-0BD60CFC25F1}">
      <dgm:prSet/>
      <dgm:spPr/>
      <dgm:t>
        <a:bodyPr/>
        <a:lstStyle/>
        <a:p>
          <a:endParaRPr lang="en-US" sz="1400"/>
        </a:p>
      </dgm:t>
    </dgm:pt>
    <dgm:pt modelId="{7EFF2662-3B2F-4E53-AD75-B46F74D3D50E}" type="parTrans" cxnId="{6B8FDC3B-A1B7-4061-8C2B-0BD60CFC25F1}">
      <dgm:prSet/>
      <dgm:spPr/>
      <dgm:t>
        <a:bodyPr/>
        <a:lstStyle/>
        <a:p>
          <a:endParaRPr lang="en-US" sz="1400"/>
        </a:p>
      </dgm:t>
    </dgm:pt>
    <dgm:pt modelId="{A88F7C01-2D1B-496E-805B-32271AA4AB55}">
      <dgm:prSet phldrT="[Text]" custT="1"/>
      <dgm:spPr/>
      <dgm:t>
        <a:bodyPr/>
        <a:lstStyle/>
        <a:p>
          <a:r>
            <a:rPr lang="en-US" sz="1400" dirty="0"/>
            <a:t>Customer XYZ</a:t>
          </a:r>
        </a:p>
      </dgm:t>
    </dgm:pt>
    <dgm:pt modelId="{22E27865-EE78-4C8E-89B4-4AE1A4C7F697}" type="sibTrans" cxnId="{6C552F95-C116-4AA7-937A-1FF4138543E6}">
      <dgm:prSet/>
      <dgm:spPr/>
      <dgm:t>
        <a:bodyPr/>
        <a:lstStyle/>
        <a:p>
          <a:endParaRPr lang="en-US" sz="1400"/>
        </a:p>
      </dgm:t>
    </dgm:pt>
    <dgm:pt modelId="{B5322E2A-F6B1-40F0-962C-2A4267EB1BC2}" type="parTrans" cxnId="{6C552F95-C116-4AA7-937A-1FF4138543E6}">
      <dgm:prSet/>
      <dgm:spPr/>
      <dgm:t>
        <a:bodyPr/>
        <a:lstStyle/>
        <a:p>
          <a:endParaRPr lang="en-US" sz="1400"/>
        </a:p>
      </dgm:t>
    </dgm:pt>
    <dgm:pt modelId="{3FEB0ECF-BEBD-407F-959B-CB260EE56E95}" type="pres">
      <dgm:prSet presAssocID="{CFE0EF67-F8A6-4BEF-8423-C49FC9F23404}" presName="hierChild1" presStyleCnt="0">
        <dgm:presLayoutVars>
          <dgm:chPref val="1"/>
          <dgm:dir/>
          <dgm:animOne val="branch"/>
          <dgm:animLvl val="lvl"/>
          <dgm:resizeHandles/>
        </dgm:presLayoutVars>
      </dgm:prSet>
      <dgm:spPr/>
    </dgm:pt>
    <dgm:pt modelId="{DA7AE263-38C1-4D88-8E8E-D761B160EF5C}" type="pres">
      <dgm:prSet presAssocID="{FC02B1A4-1219-49D4-936A-526370B4B824}" presName="hierRoot1" presStyleCnt="0"/>
      <dgm:spPr/>
    </dgm:pt>
    <dgm:pt modelId="{173EBB9C-73E8-41AE-8B0D-42878D915633}" type="pres">
      <dgm:prSet presAssocID="{FC02B1A4-1219-49D4-936A-526370B4B824}" presName="composite" presStyleCnt="0"/>
      <dgm:spPr/>
    </dgm:pt>
    <dgm:pt modelId="{53D3E54B-721C-40EB-B16F-FF6219FF7F2D}" type="pres">
      <dgm:prSet presAssocID="{FC02B1A4-1219-49D4-936A-526370B4B824}" presName="image" presStyleLbl="node0" presStyleIdx="0" presStyleCnt="1" custScaleX="275135" custScaleY="221168"/>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Server with solid fill"/>
        </a:ext>
      </dgm:extLst>
    </dgm:pt>
    <dgm:pt modelId="{181BACC8-739E-4A0D-8596-0F50E7B0AFF9}" type="pres">
      <dgm:prSet presAssocID="{FC02B1A4-1219-49D4-936A-526370B4B824}" presName="text" presStyleLbl="revTx" presStyleIdx="0" presStyleCnt="6" custScaleX="372094" custScaleY="164067" custLinFactY="-82097" custLinFactNeighborX="-65035" custLinFactNeighborY="-100000">
        <dgm:presLayoutVars>
          <dgm:chPref val="3"/>
        </dgm:presLayoutVars>
      </dgm:prSet>
      <dgm:spPr/>
    </dgm:pt>
    <dgm:pt modelId="{7AFCE347-E043-4A9A-898D-47DF983FA591}" type="pres">
      <dgm:prSet presAssocID="{FC02B1A4-1219-49D4-936A-526370B4B824}" presName="hierChild2" presStyleCnt="0"/>
      <dgm:spPr/>
    </dgm:pt>
    <dgm:pt modelId="{E0FA0E6B-9C02-4B52-8B56-0E37C121EDD1}" type="pres">
      <dgm:prSet presAssocID="{F5B62F93-BBCF-4955-B3D7-6BEECCA1397C}" presName="Name10" presStyleLbl="parChTrans1D2" presStyleIdx="0" presStyleCnt="5"/>
      <dgm:spPr/>
    </dgm:pt>
    <dgm:pt modelId="{7034D3B5-87C8-459A-828A-530F9062C283}" type="pres">
      <dgm:prSet presAssocID="{B3550678-B476-4400-9517-71E6A5E5CFCE}" presName="hierRoot2" presStyleCnt="0"/>
      <dgm:spPr/>
    </dgm:pt>
    <dgm:pt modelId="{2B874C35-51D4-4B4C-9A9F-960E3E17C7F5}" type="pres">
      <dgm:prSet presAssocID="{B3550678-B476-4400-9517-71E6A5E5CFCE}" presName="composite2" presStyleCnt="0"/>
      <dgm:spPr/>
    </dgm:pt>
    <dgm:pt modelId="{8EBC3C6C-7BDB-4841-AC2A-B22CDB6D1EF1}" type="pres">
      <dgm:prSet presAssocID="{B3550678-B476-4400-9517-71E6A5E5CFCE}" presName="image2" presStyleLbl="node2" presStyleIdx="0"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Cloud outline"/>
        </a:ext>
      </dgm:extLst>
    </dgm:pt>
    <dgm:pt modelId="{D1B03B15-82E1-4E67-9BCF-B2A8C4843599}" type="pres">
      <dgm:prSet presAssocID="{B3550678-B476-4400-9517-71E6A5E5CFCE}" presName="text2" presStyleLbl="revTx" presStyleIdx="1" presStyleCnt="6" custScaleX="166943" custLinFactY="32444" custLinFactNeighborX="-60413" custLinFactNeighborY="100000">
        <dgm:presLayoutVars>
          <dgm:chPref val="3"/>
        </dgm:presLayoutVars>
      </dgm:prSet>
      <dgm:spPr/>
    </dgm:pt>
    <dgm:pt modelId="{59544E6F-155A-45D7-9C83-4552032FEF14}" type="pres">
      <dgm:prSet presAssocID="{B3550678-B476-4400-9517-71E6A5E5CFCE}" presName="hierChild3" presStyleCnt="0"/>
      <dgm:spPr/>
    </dgm:pt>
    <dgm:pt modelId="{B30484E8-C10A-49E5-8937-212D70CF7C0D}" type="pres">
      <dgm:prSet presAssocID="{8261FD74-0BD8-427E-9AC5-02A3D747A588}" presName="Name10" presStyleLbl="parChTrans1D2" presStyleIdx="1" presStyleCnt="5"/>
      <dgm:spPr/>
    </dgm:pt>
    <dgm:pt modelId="{B561F73E-3DF9-46C3-BDEB-C8AD0E176A70}" type="pres">
      <dgm:prSet presAssocID="{062B5BD4-9BC8-47C0-A6B5-C0F39FD7576A}" presName="hierRoot2" presStyleCnt="0"/>
      <dgm:spPr/>
    </dgm:pt>
    <dgm:pt modelId="{98266320-8D62-4EE1-B1EF-DEB4947C001D}" type="pres">
      <dgm:prSet presAssocID="{062B5BD4-9BC8-47C0-A6B5-C0F39FD7576A}" presName="composite2" presStyleCnt="0"/>
      <dgm:spPr/>
    </dgm:pt>
    <dgm:pt modelId="{CA68B81E-7DBE-44F2-9E14-CDC768BFCF3B}" type="pres">
      <dgm:prSet presAssocID="{062B5BD4-9BC8-47C0-A6B5-C0F39FD7576A}" presName="image2" presStyleLbl="node2"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Cloud outline"/>
        </a:ext>
      </dgm:extLst>
    </dgm:pt>
    <dgm:pt modelId="{5C584BAF-3F88-4D8C-9C17-CA0AB555CA35}" type="pres">
      <dgm:prSet presAssocID="{062B5BD4-9BC8-47C0-A6B5-C0F39FD7576A}" presName="text2" presStyleLbl="revTx" presStyleIdx="2" presStyleCnt="6" custScaleX="143487" custLinFactY="42154" custLinFactNeighborX="-75494" custLinFactNeighborY="100000">
        <dgm:presLayoutVars>
          <dgm:chPref val="3"/>
        </dgm:presLayoutVars>
      </dgm:prSet>
      <dgm:spPr/>
    </dgm:pt>
    <dgm:pt modelId="{E695E516-083C-478F-AF2A-BF6C18E67553}" type="pres">
      <dgm:prSet presAssocID="{062B5BD4-9BC8-47C0-A6B5-C0F39FD7576A}" presName="hierChild3" presStyleCnt="0"/>
      <dgm:spPr/>
    </dgm:pt>
    <dgm:pt modelId="{5F4CCEA7-2E7C-4BA1-89CD-56428B387CC5}" type="pres">
      <dgm:prSet presAssocID="{667DFA7B-3849-4E90-93EF-C7ADBC605410}" presName="Name10" presStyleLbl="parChTrans1D2" presStyleIdx="2" presStyleCnt="5"/>
      <dgm:spPr/>
    </dgm:pt>
    <dgm:pt modelId="{B5FF14F1-C978-41BC-A9A0-94B56E5AB43A}" type="pres">
      <dgm:prSet presAssocID="{05F6831D-4E1B-4EE0-B335-EC301E20CC41}" presName="hierRoot2" presStyleCnt="0"/>
      <dgm:spPr/>
    </dgm:pt>
    <dgm:pt modelId="{FDDCB7EB-E2DD-46D8-8138-EC5B39697AB3}" type="pres">
      <dgm:prSet presAssocID="{05F6831D-4E1B-4EE0-B335-EC301E20CC41}" presName="composite2" presStyleCnt="0"/>
      <dgm:spPr/>
    </dgm:pt>
    <dgm:pt modelId="{3944463C-266A-4A68-AFDC-CB886838CB48}" type="pres">
      <dgm:prSet presAssocID="{05F6831D-4E1B-4EE0-B335-EC301E20CC41}" presName="image2" presStyleLbl="node2" presStyleIdx="2"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Cloud outline"/>
        </a:ext>
      </dgm:extLst>
    </dgm:pt>
    <dgm:pt modelId="{4501BE06-2EE6-47C0-B201-2D3A787A30F8}" type="pres">
      <dgm:prSet presAssocID="{05F6831D-4E1B-4EE0-B335-EC301E20CC41}" presName="text2" presStyleLbl="revTx" presStyleIdx="3" presStyleCnt="6" custScaleX="134661" custLinFactY="38139" custLinFactNeighborX="-95381" custLinFactNeighborY="100000">
        <dgm:presLayoutVars>
          <dgm:chPref val="3"/>
        </dgm:presLayoutVars>
      </dgm:prSet>
      <dgm:spPr/>
    </dgm:pt>
    <dgm:pt modelId="{D7D602FC-12CD-4C04-94A4-3BAB2D87B440}" type="pres">
      <dgm:prSet presAssocID="{05F6831D-4E1B-4EE0-B335-EC301E20CC41}" presName="hierChild3" presStyleCnt="0"/>
      <dgm:spPr/>
    </dgm:pt>
    <dgm:pt modelId="{DEFCFCE7-35B3-419E-8A7D-467525C7B8EA}" type="pres">
      <dgm:prSet presAssocID="{7EFF2662-3B2F-4E53-AD75-B46F74D3D50E}" presName="Name10" presStyleLbl="parChTrans1D2" presStyleIdx="3" presStyleCnt="5"/>
      <dgm:spPr/>
    </dgm:pt>
    <dgm:pt modelId="{C1BFB96B-146C-4418-8669-63BFF291D994}" type="pres">
      <dgm:prSet presAssocID="{DF8E3438-32AD-49BC-8D1E-FA127E4FFA20}" presName="hierRoot2" presStyleCnt="0"/>
      <dgm:spPr/>
    </dgm:pt>
    <dgm:pt modelId="{A57C8438-989C-4CF0-8427-2FD3D2C43B70}" type="pres">
      <dgm:prSet presAssocID="{DF8E3438-32AD-49BC-8D1E-FA127E4FFA20}" presName="composite2" presStyleCnt="0"/>
      <dgm:spPr/>
    </dgm:pt>
    <dgm:pt modelId="{1473EDF5-726E-4A5C-916A-5C9EEB071A07}" type="pres">
      <dgm:prSet presAssocID="{DF8E3438-32AD-49BC-8D1E-FA127E4FFA20}" presName="image2" presStyleLbl="node2" presStyleIdx="3"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Cloud outline"/>
        </a:ext>
      </dgm:extLst>
    </dgm:pt>
    <dgm:pt modelId="{C0665492-DA05-421B-96A2-EDBC91B10F4B}" type="pres">
      <dgm:prSet presAssocID="{DF8E3438-32AD-49BC-8D1E-FA127E4FFA20}" presName="text2" presStyleLbl="revTx" presStyleIdx="4" presStyleCnt="6" custLinFactY="43213" custLinFactNeighborX="-80400" custLinFactNeighborY="100000">
        <dgm:presLayoutVars>
          <dgm:chPref val="3"/>
        </dgm:presLayoutVars>
      </dgm:prSet>
      <dgm:spPr/>
    </dgm:pt>
    <dgm:pt modelId="{9058D4AC-D582-423A-BA99-81EA4DDD6F1B}" type="pres">
      <dgm:prSet presAssocID="{DF8E3438-32AD-49BC-8D1E-FA127E4FFA20}" presName="hierChild3" presStyleCnt="0"/>
      <dgm:spPr/>
    </dgm:pt>
    <dgm:pt modelId="{6BFC0DB9-F7C5-4684-B30A-EDA51CE51969}" type="pres">
      <dgm:prSet presAssocID="{B5322E2A-F6B1-40F0-962C-2A4267EB1BC2}" presName="Name10" presStyleLbl="parChTrans1D2" presStyleIdx="4" presStyleCnt="5"/>
      <dgm:spPr/>
    </dgm:pt>
    <dgm:pt modelId="{F428B10F-6677-4926-88AD-92A1312D13C2}" type="pres">
      <dgm:prSet presAssocID="{A88F7C01-2D1B-496E-805B-32271AA4AB55}" presName="hierRoot2" presStyleCnt="0"/>
      <dgm:spPr/>
    </dgm:pt>
    <dgm:pt modelId="{7504A3BE-A18F-495F-A9E8-139BA32FCDF6}" type="pres">
      <dgm:prSet presAssocID="{A88F7C01-2D1B-496E-805B-32271AA4AB55}" presName="composite2" presStyleCnt="0"/>
      <dgm:spPr/>
    </dgm:pt>
    <dgm:pt modelId="{2C93F518-DB90-4D16-A6A1-99BFA594EE6A}" type="pres">
      <dgm:prSet presAssocID="{A88F7C01-2D1B-496E-805B-32271AA4AB55}" presName="image2" presStyleLbl="node2" presStyleIdx="4"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Cloud outline"/>
        </a:ext>
      </dgm:extLst>
    </dgm:pt>
    <dgm:pt modelId="{DF0791CB-A02A-4E16-B41A-F9ED3611DC26}" type="pres">
      <dgm:prSet presAssocID="{A88F7C01-2D1B-496E-805B-32271AA4AB55}" presName="text2" presStyleLbl="revTx" presStyleIdx="5" presStyleCnt="6" custScaleX="142612" custScaleY="76870" custLinFactY="18088" custLinFactNeighborX="-75930" custLinFactNeighborY="100000">
        <dgm:presLayoutVars>
          <dgm:chPref val="3"/>
        </dgm:presLayoutVars>
      </dgm:prSet>
      <dgm:spPr/>
    </dgm:pt>
    <dgm:pt modelId="{62914F94-D7F0-457A-BEB6-2AFB5A04533B}" type="pres">
      <dgm:prSet presAssocID="{A88F7C01-2D1B-496E-805B-32271AA4AB55}" presName="hierChild3" presStyleCnt="0"/>
      <dgm:spPr/>
    </dgm:pt>
  </dgm:ptLst>
  <dgm:cxnLst>
    <dgm:cxn modelId="{D73D5D0B-4BDF-48AF-BC1F-3F84336EB2DD}" type="presOf" srcId="{FC02B1A4-1219-49D4-936A-526370B4B824}" destId="{181BACC8-739E-4A0D-8596-0F50E7B0AFF9}" srcOrd="0" destOrd="0" presId="urn:microsoft.com/office/officeart/2009/layout/CirclePictureHierarchy"/>
    <dgm:cxn modelId="{7BB4DF14-BB9B-442A-BCCE-A5B9599A9FCB}" type="presOf" srcId="{B5322E2A-F6B1-40F0-962C-2A4267EB1BC2}" destId="{6BFC0DB9-F7C5-4684-B30A-EDA51CE51969}" srcOrd="0" destOrd="0" presId="urn:microsoft.com/office/officeart/2009/layout/CirclePictureHierarchy"/>
    <dgm:cxn modelId="{412AC115-206A-471D-9870-65A79A5A11DC}" type="presOf" srcId="{05F6831D-4E1B-4EE0-B335-EC301E20CC41}" destId="{4501BE06-2EE6-47C0-B201-2D3A787A30F8}" srcOrd="0" destOrd="0" presId="urn:microsoft.com/office/officeart/2009/layout/CirclePictureHierarchy"/>
    <dgm:cxn modelId="{3D3A4D1E-AC3A-43CC-BCA2-F21858F165D9}" type="presOf" srcId="{F5B62F93-BBCF-4955-B3D7-6BEECCA1397C}" destId="{E0FA0E6B-9C02-4B52-8B56-0E37C121EDD1}" srcOrd="0" destOrd="0" presId="urn:microsoft.com/office/officeart/2009/layout/CirclePictureHierarchy"/>
    <dgm:cxn modelId="{39CAC52B-16EF-4CF3-8E60-810624CBA6D6}" type="presOf" srcId="{8261FD74-0BD8-427E-9AC5-02A3D747A588}" destId="{B30484E8-C10A-49E5-8937-212D70CF7C0D}" srcOrd="0" destOrd="0" presId="urn:microsoft.com/office/officeart/2009/layout/CirclePictureHierarchy"/>
    <dgm:cxn modelId="{6B8FDC3B-A1B7-4061-8C2B-0BD60CFC25F1}" srcId="{FC02B1A4-1219-49D4-936A-526370B4B824}" destId="{DF8E3438-32AD-49BC-8D1E-FA127E4FFA20}" srcOrd="3" destOrd="0" parTransId="{7EFF2662-3B2F-4E53-AD75-B46F74D3D50E}" sibTransId="{A005C013-3553-4B0E-B130-822F5025491C}"/>
    <dgm:cxn modelId="{B9D13A46-DD9B-4FF5-AC4E-529B5EB4F6F7}" type="presOf" srcId="{CFE0EF67-F8A6-4BEF-8423-C49FC9F23404}" destId="{3FEB0ECF-BEBD-407F-959B-CB260EE56E95}" srcOrd="0" destOrd="0" presId="urn:microsoft.com/office/officeart/2009/layout/CirclePictureHierarchy"/>
    <dgm:cxn modelId="{5CDA944A-A526-4490-9964-ECEFC63BDD0F}" srcId="{FC02B1A4-1219-49D4-936A-526370B4B824}" destId="{062B5BD4-9BC8-47C0-A6B5-C0F39FD7576A}" srcOrd="1" destOrd="0" parTransId="{8261FD74-0BD8-427E-9AC5-02A3D747A588}" sibTransId="{AA673E88-A9BF-45CD-B6DD-452A29119855}"/>
    <dgm:cxn modelId="{73C8AD6C-CD2C-4B7D-9B74-DF36A96C8020}" type="presOf" srcId="{7EFF2662-3B2F-4E53-AD75-B46F74D3D50E}" destId="{DEFCFCE7-35B3-419E-8A7D-467525C7B8EA}" srcOrd="0" destOrd="0" presId="urn:microsoft.com/office/officeart/2009/layout/CirclePictureHierarchy"/>
    <dgm:cxn modelId="{D994E484-3647-430F-A2A8-9486B2E760E6}" type="presOf" srcId="{667DFA7B-3849-4E90-93EF-C7ADBC605410}" destId="{5F4CCEA7-2E7C-4BA1-89CD-56428B387CC5}" srcOrd="0" destOrd="0" presId="urn:microsoft.com/office/officeart/2009/layout/CirclePictureHierarchy"/>
    <dgm:cxn modelId="{A1DF7A85-A3ED-4D9B-9C79-76736E281BB1}" srcId="{FC02B1A4-1219-49D4-936A-526370B4B824}" destId="{05F6831D-4E1B-4EE0-B335-EC301E20CC41}" srcOrd="2" destOrd="0" parTransId="{667DFA7B-3849-4E90-93EF-C7ADBC605410}" sibTransId="{B6604EF2-51C4-4ED7-BDA6-18A585C9D2CA}"/>
    <dgm:cxn modelId="{6C552F95-C116-4AA7-937A-1FF4138543E6}" srcId="{FC02B1A4-1219-49D4-936A-526370B4B824}" destId="{A88F7C01-2D1B-496E-805B-32271AA4AB55}" srcOrd="4" destOrd="0" parTransId="{B5322E2A-F6B1-40F0-962C-2A4267EB1BC2}" sibTransId="{22E27865-EE78-4C8E-89B4-4AE1A4C7F697}"/>
    <dgm:cxn modelId="{CC7907A3-8CB7-4FD6-837D-428687CC5646}" srcId="{FC02B1A4-1219-49D4-936A-526370B4B824}" destId="{B3550678-B476-4400-9517-71E6A5E5CFCE}" srcOrd="0" destOrd="0" parTransId="{F5B62F93-BBCF-4955-B3D7-6BEECCA1397C}" sibTransId="{F1C659B5-CE9A-4FAE-AA48-1930E5FE35B4}"/>
    <dgm:cxn modelId="{AEB4E5AB-23A3-470B-8CC2-6236389D1DA0}" type="presOf" srcId="{A88F7C01-2D1B-496E-805B-32271AA4AB55}" destId="{DF0791CB-A02A-4E16-B41A-F9ED3611DC26}" srcOrd="0" destOrd="0" presId="urn:microsoft.com/office/officeart/2009/layout/CirclePictureHierarchy"/>
    <dgm:cxn modelId="{F5AFCEB2-666B-46C1-A431-0F60B2556EF7}" type="presOf" srcId="{062B5BD4-9BC8-47C0-A6B5-C0F39FD7576A}" destId="{5C584BAF-3F88-4D8C-9C17-CA0AB555CA35}" srcOrd="0" destOrd="0" presId="urn:microsoft.com/office/officeart/2009/layout/CirclePictureHierarchy"/>
    <dgm:cxn modelId="{5C7D5ECC-9514-4185-84B7-B327898502DA}" srcId="{CFE0EF67-F8A6-4BEF-8423-C49FC9F23404}" destId="{FC02B1A4-1219-49D4-936A-526370B4B824}" srcOrd="0" destOrd="0" parTransId="{9340AD14-70AE-4D3E-968A-FEAAB1D7555B}" sibTransId="{63EA8F8C-98E9-4922-9C25-DD09691FBB7B}"/>
    <dgm:cxn modelId="{B5F7FADC-E546-47D2-B6E2-8CE3B8199060}" type="presOf" srcId="{DF8E3438-32AD-49BC-8D1E-FA127E4FFA20}" destId="{C0665492-DA05-421B-96A2-EDBC91B10F4B}" srcOrd="0" destOrd="0" presId="urn:microsoft.com/office/officeart/2009/layout/CirclePictureHierarchy"/>
    <dgm:cxn modelId="{BD99EEFD-C623-40D0-89EA-7304D010A3BA}" type="presOf" srcId="{B3550678-B476-4400-9517-71E6A5E5CFCE}" destId="{D1B03B15-82E1-4E67-9BCF-B2A8C4843599}" srcOrd="0" destOrd="0" presId="urn:microsoft.com/office/officeart/2009/layout/CirclePictureHierarchy"/>
    <dgm:cxn modelId="{45FCCB46-A568-425E-AE4C-293FA8C6B97D}" type="presParOf" srcId="{3FEB0ECF-BEBD-407F-959B-CB260EE56E95}" destId="{DA7AE263-38C1-4D88-8E8E-D761B160EF5C}" srcOrd="0" destOrd="0" presId="urn:microsoft.com/office/officeart/2009/layout/CirclePictureHierarchy"/>
    <dgm:cxn modelId="{DB126233-139C-4F5D-A31A-FEC05F4B0E8C}" type="presParOf" srcId="{DA7AE263-38C1-4D88-8E8E-D761B160EF5C}" destId="{173EBB9C-73E8-41AE-8B0D-42878D915633}" srcOrd="0" destOrd="0" presId="urn:microsoft.com/office/officeart/2009/layout/CirclePictureHierarchy"/>
    <dgm:cxn modelId="{18EF030A-181B-4424-AB5B-CA6B5F4842E4}" type="presParOf" srcId="{173EBB9C-73E8-41AE-8B0D-42878D915633}" destId="{53D3E54B-721C-40EB-B16F-FF6219FF7F2D}" srcOrd="0" destOrd="0" presId="urn:microsoft.com/office/officeart/2009/layout/CirclePictureHierarchy"/>
    <dgm:cxn modelId="{944BE3D1-0D80-49A1-9FA4-E25D1355C5F8}" type="presParOf" srcId="{173EBB9C-73E8-41AE-8B0D-42878D915633}" destId="{181BACC8-739E-4A0D-8596-0F50E7B0AFF9}" srcOrd="1" destOrd="0" presId="urn:microsoft.com/office/officeart/2009/layout/CirclePictureHierarchy"/>
    <dgm:cxn modelId="{68D3670D-610A-42B6-951D-54081F1FAEBD}" type="presParOf" srcId="{DA7AE263-38C1-4D88-8E8E-D761B160EF5C}" destId="{7AFCE347-E043-4A9A-898D-47DF983FA591}" srcOrd="1" destOrd="0" presId="urn:microsoft.com/office/officeart/2009/layout/CirclePictureHierarchy"/>
    <dgm:cxn modelId="{FB05D477-34F1-4643-A86A-DA3DED5D2875}" type="presParOf" srcId="{7AFCE347-E043-4A9A-898D-47DF983FA591}" destId="{E0FA0E6B-9C02-4B52-8B56-0E37C121EDD1}" srcOrd="0" destOrd="0" presId="urn:microsoft.com/office/officeart/2009/layout/CirclePictureHierarchy"/>
    <dgm:cxn modelId="{6865C432-07D2-4A4F-944B-06F6347045E1}" type="presParOf" srcId="{7AFCE347-E043-4A9A-898D-47DF983FA591}" destId="{7034D3B5-87C8-459A-828A-530F9062C283}" srcOrd="1" destOrd="0" presId="urn:microsoft.com/office/officeart/2009/layout/CirclePictureHierarchy"/>
    <dgm:cxn modelId="{DB566BC5-A21E-4781-91AB-2432748B8F39}" type="presParOf" srcId="{7034D3B5-87C8-459A-828A-530F9062C283}" destId="{2B874C35-51D4-4B4C-9A9F-960E3E17C7F5}" srcOrd="0" destOrd="0" presId="urn:microsoft.com/office/officeart/2009/layout/CirclePictureHierarchy"/>
    <dgm:cxn modelId="{9DCDE330-71E4-462E-B27D-FAE6289B4E8E}" type="presParOf" srcId="{2B874C35-51D4-4B4C-9A9F-960E3E17C7F5}" destId="{8EBC3C6C-7BDB-4841-AC2A-B22CDB6D1EF1}" srcOrd="0" destOrd="0" presId="urn:microsoft.com/office/officeart/2009/layout/CirclePictureHierarchy"/>
    <dgm:cxn modelId="{368F060B-324D-4768-BC2C-B0011CD12BE7}" type="presParOf" srcId="{2B874C35-51D4-4B4C-9A9F-960E3E17C7F5}" destId="{D1B03B15-82E1-4E67-9BCF-B2A8C4843599}" srcOrd="1" destOrd="0" presId="urn:microsoft.com/office/officeart/2009/layout/CirclePictureHierarchy"/>
    <dgm:cxn modelId="{2EB15792-7447-4731-8663-DFBCCE59FB80}" type="presParOf" srcId="{7034D3B5-87C8-459A-828A-530F9062C283}" destId="{59544E6F-155A-45D7-9C83-4552032FEF14}" srcOrd="1" destOrd="0" presId="urn:microsoft.com/office/officeart/2009/layout/CirclePictureHierarchy"/>
    <dgm:cxn modelId="{A706E569-6011-458F-9348-A7A61E36F592}" type="presParOf" srcId="{7AFCE347-E043-4A9A-898D-47DF983FA591}" destId="{B30484E8-C10A-49E5-8937-212D70CF7C0D}" srcOrd="2" destOrd="0" presId="urn:microsoft.com/office/officeart/2009/layout/CirclePictureHierarchy"/>
    <dgm:cxn modelId="{0D41A48A-9BEE-4344-BDBA-45B38A7E2483}" type="presParOf" srcId="{7AFCE347-E043-4A9A-898D-47DF983FA591}" destId="{B561F73E-3DF9-46C3-BDEB-C8AD0E176A70}" srcOrd="3" destOrd="0" presId="urn:microsoft.com/office/officeart/2009/layout/CirclePictureHierarchy"/>
    <dgm:cxn modelId="{C14791F7-FB1D-4375-9257-B5C41DE1A0C1}" type="presParOf" srcId="{B561F73E-3DF9-46C3-BDEB-C8AD0E176A70}" destId="{98266320-8D62-4EE1-B1EF-DEB4947C001D}" srcOrd="0" destOrd="0" presId="urn:microsoft.com/office/officeart/2009/layout/CirclePictureHierarchy"/>
    <dgm:cxn modelId="{DA448C58-21A5-46C6-8CAF-BB3056AEC62A}" type="presParOf" srcId="{98266320-8D62-4EE1-B1EF-DEB4947C001D}" destId="{CA68B81E-7DBE-44F2-9E14-CDC768BFCF3B}" srcOrd="0" destOrd="0" presId="urn:microsoft.com/office/officeart/2009/layout/CirclePictureHierarchy"/>
    <dgm:cxn modelId="{904F4332-AA91-4613-BE9E-7EFCDC4A36C6}" type="presParOf" srcId="{98266320-8D62-4EE1-B1EF-DEB4947C001D}" destId="{5C584BAF-3F88-4D8C-9C17-CA0AB555CA35}" srcOrd="1" destOrd="0" presId="urn:microsoft.com/office/officeart/2009/layout/CirclePictureHierarchy"/>
    <dgm:cxn modelId="{3A421C75-8E4F-4426-8368-6CF73DFF42EB}" type="presParOf" srcId="{B561F73E-3DF9-46C3-BDEB-C8AD0E176A70}" destId="{E695E516-083C-478F-AF2A-BF6C18E67553}" srcOrd="1" destOrd="0" presId="urn:microsoft.com/office/officeart/2009/layout/CirclePictureHierarchy"/>
    <dgm:cxn modelId="{B60D17A4-6AC2-4710-BF18-4E385080F194}" type="presParOf" srcId="{7AFCE347-E043-4A9A-898D-47DF983FA591}" destId="{5F4CCEA7-2E7C-4BA1-89CD-56428B387CC5}" srcOrd="4" destOrd="0" presId="urn:microsoft.com/office/officeart/2009/layout/CirclePictureHierarchy"/>
    <dgm:cxn modelId="{A847139C-4A02-4FC8-87AA-436F97754503}" type="presParOf" srcId="{7AFCE347-E043-4A9A-898D-47DF983FA591}" destId="{B5FF14F1-C978-41BC-A9A0-94B56E5AB43A}" srcOrd="5" destOrd="0" presId="urn:microsoft.com/office/officeart/2009/layout/CirclePictureHierarchy"/>
    <dgm:cxn modelId="{AC3BF26F-BB45-4884-B2BE-4342B130137F}" type="presParOf" srcId="{B5FF14F1-C978-41BC-A9A0-94B56E5AB43A}" destId="{FDDCB7EB-E2DD-46D8-8138-EC5B39697AB3}" srcOrd="0" destOrd="0" presId="urn:microsoft.com/office/officeart/2009/layout/CirclePictureHierarchy"/>
    <dgm:cxn modelId="{5F26E722-6054-4AE1-BEE3-E24E21706004}" type="presParOf" srcId="{FDDCB7EB-E2DD-46D8-8138-EC5B39697AB3}" destId="{3944463C-266A-4A68-AFDC-CB886838CB48}" srcOrd="0" destOrd="0" presId="urn:microsoft.com/office/officeart/2009/layout/CirclePictureHierarchy"/>
    <dgm:cxn modelId="{79ECD9C5-FC02-4620-9B46-6512AB0A8F43}" type="presParOf" srcId="{FDDCB7EB-E2DD-46D8-8138-EC5B39697AB3}" destId="{4501BE06-2EE6-47C0-B201-2D3A787A30F8}" srcOrd="1" destOrd="0" presId="urn:microsoft.com/office/officeart/2009/layout/CirclePictureHierarchy"/>
    <dgm:cxn modelId="{34CF8F1F-D5E9-4A7F-A265-3AB71145B7B5}" type="presParOf" srcId="{B5FF14F1-C978-41BC-A9A0-94B56E5AB43A}" destId="{D7D602FC-12CD-4C04-94A4-3BAB2D87B440}" srcOrd="1" destOrd="0" presId="urn:microsoft.com/office/officeart/2009/layout/CirclePictureHierarchy"/>
    <dgm:cxn modelId="{01BB547F-6F25-4337-822E-B279CE2A97F8}" type="presParOf" srcId="{7AFCE347-E043-4A9A-898D-47DF983FA591}" destId="{DEFCFCE7-35B3-419E-8A7D-467525C7B8EA}" srcOrd="6" destOrd="0" presId="urn:microsoft.com/office/officeart/2009/layout/CirclePictureHierarchy"/>
    <dgm:cxn modelId="{A73EB951-4C52-457F-9B33-B52DCCC6F7E6}" type="presParOf" srcId="{7AFCE347-E043-4A9A-898D-47DF983FA591}" destId="{C1BFB96B-146C-4418-8669-63BFF291D994}" srcOrd="7" destOrd="0" presId="urn:microsoft.com/office/officeart/2009/layout/CirclePictureHierarchy"/>
    <dgm:cxn modelId="{6DF6AB46-B56D-4EFA-869F-E9035997FA3B}" type="presParOf" srcId="{C1BFB96B-146C-4418-8669-63BFF291D994}" destId="{A57C8438-989C-4CF0-8427-2FD3D2C43B70}" srcOrd="0" destOrd="0" presId="urn:microsoft.com/office/officeart/2009/layout/CirclePictureHierarchy"/>
    <dgm:cxn modelId="{E3BDDDF9-73A6-4145-8578-176D1B3D5A9B}" type="presParOf" srcId="{A57C8438-989C-4CF0-8427-2FD3D2C43B70}" destId="{1473EDF5-726E-4A5C-916A-5C9EEB071A07}" srcOrd="0" destOrd="0" presId="urn:microsoft.com/office/officeart/2009/layout/CirclePictureHierarchy"/>
    <dgm:cxn modelId="{85B6EFF6-C6D3-438F-92B7-8CA3B731A9A3}" type="presParOf" srcId="{A57C8438-989C-4CF0-8427-2FD3D2C43B70}" destId="{C0665492-DA05-421B-96A2-EDBC91B10F4B}" srcOrd="1" destOrd="0" presId="urn:microsoft.com/office/officeart/2009/layout/CirclePictureHierarchy"/>
    <dgm:cxn modelId="{16A17FFA-7E0D-44B2-943A-106620F4D2EE}" type="presParOf" srcId="{C1BFB96B-146C-4418-8669-63BFF291D994}" destId="{9058D4AC-D582-423A-BA99-81EA4DDD6F1B}" srcOrd="1" destOrd="0" presId="urn:microsoft.com/office/officeart/2009/layout/CirclePictureHierarchy"/>
    <dgm:cxn modelId="{A6495729-BF94-4228-950F-4441237568B6}" type="presParOf" srcId="{7AFCE347-E043-4A9A-898D-47DF983FA591}" destId="{6BFC0DB9-F7C5-4684-B30A-EDA51CE51969}" srcOrd="8" destOrd="0" presId="urn:microsoft.com/office/officeart/2009/layout/CirclePictureHierarchy"/>
    <dgm:cxn modelId="{C1110956-E097-45F7-8635-314C31BACF6D}" type="presParOf" srcId="{7AFCE347-E043-4A9A-898D-47DF983FA591}" destId="{F428B10F-6677-4926-88AD-92A1312D13C2}" srcOrd="9" destOrd="0" presId="urn:microsoft.com/office/officeart/2009/layout/CirclePictureHierarchy"/>
    <dgm:cxn modelId="{81B33FF3-AA1C-44AD-8C86-F1902A076D58}" type="presParOf" srcId="{F428B10F-6677-4926-88AD-92A1312D13C2}" destId="{7504A3BE-A18F-495F-A9E8-139BA32FCDF6}" srcOrd="0" destOrd="0" presId="urn:microsoft.com/office/officeart/2009/layout/CirclePictureHierarchy"/>
    <dgm:cxn modelId="{95F94291-8DD1-40C6-B4A2-C1B06100248E}" type="presParOf" srcId="{7504A3BE-A18F-495F-A9E8-139BA32FCDF6}" destId="{2C93F518-DB90-4D16-A6A1-99BFA594EE6A}" srcOrd="0" destOrd="0" presId="urn:microsoft.com/office/officeart/2009/layout/CirclePictureHierarchy"/>
    <dgm:cxn modelId="{FA152495-6947-49CB-8E42-963C583C0129}" type="presParOf" srcId="{7504A3BE-A18F-495F-A9E8-139BA32FCDF6}" destId="{DF0791CB-A02A-4E16-B41A-F9ED3611DC26}" srcOrd="1" destOrd="0" presId="urn:microsoft.com/office/officeart/2009/layout/CirclePictureHierarchy"/>
    <dgm:cxn modelId="{6FBD5633-8740-4FAD-B10F-6E7CE2667E47}" type="presParOf" srcId="{F428B10F-6677-4926-88AD-92A1312D13C2}" destId="{62914F94-D7F0-457A-BEB6-2AFB5A04533B}" srcOrd="1" destOrd="0" presId="urn:microsoft.com/office/officeart/2009/layout/CirclePictureHierarchy"/>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FC0DB9-F7C5-4684-B30A-EDA51CE51969}">
      <dsp:nvSpPr>
        <dsp:cNvPr id="0" name=""/>
        <dsp:cNvSpPr/>
      </dsp:nvSpPr>
      <dsp:spPr>
        <a:xfrm>
          <a:off x="2573218" y="2616096"/>
          <a:ext cx="2643926" cy="129415"/>
        </a:xfrm>
        <a:custGeom>
          <a:avLst/>
          <a:gdLst/>
          <a:ahLst/>
          <a:cxnLst/>
          <a:rect l="0" t="0" r="0" b="0"/>
          <a:pathLst>
            <a:path>
              <a:moveTo>
                <a:pt x="0" y="0"/>
              </a:moveTo>
              <a:lnTo>
                <a:pt x="0" y="64707"/>
              </a:lnTo>
              <a:lnTo>
                <a:pt x="2643926" y="64707"/>
              </a:lnTo>
              <a:lnTo>
                <a:pt x="2643926" y="12941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EFCFCE7-35B3-419E-8A7D-467525C7B8EA}">
      <dsp:nvSpPr>
        <dsp:cNvPr id="0" name=""/>
        <dsp:cNvSpPr/>
      </dsp:nvSpPr>
      <dsp:spPr>
        <a:xfrm>
          <a:off x="2573218" y="2616096"/>
          <a:ext cx="1505069" cy="130450"/>
        </a:xfrm>
        <a:custGeom>
          <a:avLst/>
          <a:gdLst/>
          <a:ahLst/>
          <a:cxnLst/>
          <a:rect l="0" t="0" r="0" b="0"/>
          <a:pathLst>
            <a:path>
              <a:moveTo>
                <a:pt x="0" y="0"/>
              </a:moveTo>
              <a:lnTo>
                <a:pt x="0" y="65743"/>
              </a:lnTo>
              <a:lnTo>
                <a:pt x="1505069" y="65743"/>
              </a:lnTo>
              <a:lnTo>
                <a:pt x="1505069" y="13045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F4CCEA7-2E7C-4BA1-89CD-56428B387CC5}">
      <dsp:nvSpPr>
        <dsp:cNvPr id="0" name=""/>
        <dsp:cNvSpPr/>
      </dsp:nvSpPr>
      <dsp:spPr>
        <a:xfrm>
          <a:off x="2573218" y="2616096"/>
          <a:ext cx="258557" cy="130450"/>
        </a:xfrm>
        <a:custGeom>
          <a:avLst/>
          <a:gdLst/>
          <a:ahLst/>
          <a:cxnLst/>
          <a:rect l="0" t="0" r="0" b="0"/>
          <a:pathLst>
            <a:path>
              <a:moveTo>
                <a:pt x="0" y="0"/>
              </a:moveTo>
              <a:lnTo>
                <a:pt x="0" y="65743"/>
              </a:lnTo>
              <a:lnTo>
                <a:pt x="258557" y="65743"/>
              </a:lnTo>
              <a:lnTo>
                <a:pt x="258557" y="13045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30484E8-C10A-49E5-8937-212D70CF7C0D}">
      <dsp:nvSpPr>
        <dsp:cNvPr id="0" name=""/>
        <dsp:cNvSpPr/>
      </dsp:nvSpPr>
      <dsp:spPr>
        <a:xfrm>
          <a:off x="1557849" y="2616096"/>
          <a:ext cx="1015368" cy="130450"/>
        </a:xfrm>
        <a:custGeom>
          <a:avLst/>
          <a:gdLst/>
          <a:ahLst/>
          <a:cxnLst/>
          <a:rect l="0" t="0" r="0" b="0"/>
          <a:pathLst>
            <a:path>
              <a:moveTo>
                <a:pt x="1015368" y="0"/>
              </a:moveTo>
              <a:lnTo>
                <a:pt x="1015368" y="65743"/>
              </a:lnTo>
              <a:lnTo>
                <a:pt x="0" y="65743"/>
              </a:lnTo>
              <a:lnTo>
                <a:pt x="0" y="13045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0FA0E6B-9C02-4B52-8B56-0E37C121EDD1}">
      <dsp:nvSpPr>
        <dsp:cNvPr id="0" name=""/>
        <dsp:cNvSpPr/>
      </dsp:nvSpPr>
      <dsp:spPr>
        <a:xfrm>
          <a:off x="211069" y="2616096"/>
          <a:ext cx="2362148" cy="130450"/>
        </a:xfrm>
        <a:custGeom>
          <a:avLst/>
          <a:gdLst/>
          <a:ahLst/>
          <a:cxnLst/>
          <a:rect l="0" t="0" r="0" b="0"/>
          <a:pathLst>
            <a:path>
              <a:moveTo>
                <a:pt x="2362148" y="0"/>
              </a:moveTo>
              <a:lnTo>
                <a:pt x="2362148" y="65743"/>
              </a:lnTo>
              <a:lnTo>
                <a:pt x="0" y="65743"/>
              </a:lnTo>
              <a:lnTo>
                <a:pt x="0" y="13045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3D3E54B-721C-40EB-B16F-FF6219FF7F2D}">
      <dsp:nvSpPr>
        <dsp:cNvPr id="0" name=""/>
        <dsp:cNvSpPr/>
      </dsp:nvSpPr>
      <dsp:spPr>
        <a:xfrm>
          <a:off x="2003510" y="1700174"/>
          <a:ext cx="1139415" cy="915922"/>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81BACC8-739E-4A0D-8596-0F50E7B0AFF9}">
      <dsp:nvSpPr>
        <dsp:cNvPr id="0" name=""/>
        <dsp:cNvSpPr/>
      </dsp:nvSpPr>
      <dsp:spPr>
        <a:xfrm>
          <a:off x="1531172" y="1063257"/>
          <a:ext cx="2311427" cy="6794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POD (US-West 1)</a:t>
          </a:r>
        </a:p>
      </dsp:txBody>
      <dsp:txXfrm>
        <a:off x="1531172" y="1063257"/>
        <a:ext cx="2311427" cy="679450"/>
      </dsp:txXfrm>
    </dsp:sp>
    <dsp:sp modelId="{8EBC3C6C-7BDB-4841-AC2A-B22CDB6D1EF1}">
      <dsp:nvSpPr>
        <dsp:cNvPr id="0" name=""/>
        <dsp:cNvSpPr/>
      </dsp:nvSpPr>
      <dsp:spPr>
        <a:xfrm>
          <a:off x="4004" y="2746547"/>
          <a:ext cx="414129" cy="414129"/>
        </a:xfrm>
        <a:prstGeom prst="ellipse">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1B03B15-82E1-4E67-9BCF-B2A8C4843599}">
      <dsp:nvSpPr>
        <dsp:cNvPr id="0" name=""/>
        <dsp:cNvSpPr/>
      </dsp:nvSpPr>
      <dsp:spPr>
        <a:xfrm>
          <a:off x="0" y="3294001"/>
          <a:ext cx="1037040" cy="4141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t>Walmart PROD</a:t>
          </a:r>
        </a:p>
      </dsp:txBody>
      <dsp:txXfrm>
        <a:off x="0" y="3294001"/>
        <a:ext cx="1037040" cy="414129"/>
      </dsp:txXfrm>
    </dsp:sp>
    <dsp:sp modelId="{CA68B81E-7DBE-44F2-9E14-CDC768BFCF3B}">
      <dsp:nvSpPr>
        <dsp:cNvPr id="0" name=""/>
        <dsp:cNvSpPr/>
      </dsp:nvSpPr>
      <dsp:spPr>
        <a:xfrm>
          <a:off x="1350784" y="2746547"/>
          <a:ext cx="414129" cy="414129"/>
        </a:xfrm>
        <a:prstGeom prst="ellipse">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C584BAF-3F88-4D8C-9C17-CA0AB555CA35}">
      <dsp:nvSpPr>
        <dsp:cNvPr id="0" name=""/>
        <dsp:cNvSpPr/>
      </dsp:nvSpPr>
      <dsp:spPr>
        <a:xfrm>
          <a:off x="1160880" y="3334213"/>
          <a:ext cx="891333" cy="4141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t>Walmart Sandbox</a:t>
          </a:r>
        </a:p>
      </dsp:txBody>
      <dsp:txXfrm>
        <a:off x="1160880" y="3334213"/>
        <a:ext cx="891333" cy="414129"/>
      </dsp:txXfrm>
    </dsp:sp>
    <dsp:sp modelId="{3944463C-266A-4A68-AFDC-CB886838CB48}">
      <dsp:nvSpPr>
        <dsp:cNvPr id="0" name=""/>
        <dsp:cNvSpPr/>
      </dsp:nvSpPr>
      <dsp:spPr>
        <a:xfrm>
          <a:off x="2624710" y="2746547"/>
          <a:ext cx="414129" cy="414129"/>
        </a:xfrm>
        <a:prstGeom prst="ellipse">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501BE06-2EE6-47C0-B201-2D3A787A30F8}">
      <dsp:nvSpPr>
        <dsp:cNvPr id="0" name=""/>
        <dsp:cNvSpPr/>
      </dsp:nvSpPr>
      <dsp:spPr>
        <a:xfrm>
          <a:off x="2338682" y="3317586"/>
          <a:ext cx="836506" cy="4141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t>Sodexo</a:t>
          </a:r>
        </a:p>
      </dsp:txBody>
      <dsp:txXfrm>
        <a:off x="2338682" y="3317586"/>
        <a:ext cx="836506" cy="414129"/>
      </dsp:txXfrm>
    </dsp:sp>
    <dsp:sp modelId="{1473EDF5-726E-4A5C-916A-5C9EEB071A07}">
      <dsp:nvSpPr>
        <dsp:cNvPr id="0" name=""/>
        <dsp:cNvSpPr/>
      </dsp:nvSpPr>
      <dsp:spPr>
        <a:xfrm>
          <a:off x="3871223" y="2746547"/>
          <a:ext cx="414129" cy="414129"/>
        </a:xfrm>
        <a:prstGeom prst="ellipse">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0665492-DA05-421B-96A2-EDBC91B10F4B}">
      <dsp:nvSpPr>
        <dsp:cNvPr id="0" name=""/>
        <dsp:cNvSpPr/>
      </dsp:nvSpPr>
      <dsp:spPr>
        <a:xfrm>
          <a:off x="3785912" y="3338599"/>
          <a:ext cx="621194" cy="4141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t>Ford</a:t>
          </a:r>
        </a:p>
      </dsp:txBody>
      <dsp:txXfrm>
        <a:off x="3785912" y="3338599"/>
        <a:ext cx="621194" cy="414129"/>
      </dsp:txXfrm>
    </dsp:sp>
    <dsp:sp modelId="{2C93F518-DB90-4D16-A6A1-99BFA594EE6A}">
      <dsp:nvSpPr>
        <dsp:cNvPr id="0" name=""/>
        <dsp:cNvSpPr/>
      </dsp:nvSpPr>
      <dsp:spPr>
        <a:xfrm>
          <a:off x="5010080" y="2745511"/>
          <a:ext cx="414129" cy="414129"/>
        </a:xfrm>
        <a:prstGeom prst="ellipse">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F0791CB-A02A-4E16-B41A-F9ED3611DC26}">
      <dsp:nvSpPr>
        <dsp:cNvPr id="0" name=""/>
        <dsp:cNvSpPr/>
      </dsp:nvSpPr>
      <dsp:spPr>
        <a:xfrm>
          <a:off x="4820185" y="3281408"/>
          <a:ext cx="885897" cy="3183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t>Customer XYZ</a:t>
          </a:r>
        </a:p>
      </dsp:txBody>
      <dsp:txXfrm>
        <a:off x="4820185" y="3281408"/>
        <a:ext cx="885897" cy="318341"/>
      </dsp:txXfrm>
    </dsp:sp>
  </dsp:spTree>
</dsp:drawing>
</file>

<file path=ppt/diagrams/layout1.xml><?xml version="1.0" encoding="utf-8"?>
<dgm:layoutDef xmlns:dgm="http://schemas.openxmlformats.org/drawingml/2006/diagram" xmlns:a="http://schemas.openxmlformats.org/drawingml/2006/main" uniqueId="urn:microsoft.com/office/officeart/2009/layout/CirclePictureHierarchy">
  <dgm:title val=""/>
  <dgm:desc val=""/>
  <dgm:catLst>
    <dgm:cat type="hierarchy" pri="1750"/>
    <dgm:cat type="picture" pri="23000"/>
    <dgm:cat type="pictureconvert" pri="2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5"/>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h" for="ch" forName="image" refType="h" fact="0.8"/>
              <dgm:constr type="w" for="ch" forName="image" refType="h" refFor="ch" refForName="image"/>
              <dgm:constr type="t" for="ch" forName="image" refType="h" fact="0.1"/>
              <dgm:constr type="l" for="ch" forName="image"/>
              <dgm:constr type="w" for="ch" forName="text" refType="w" fact="0.6"/>
              <dgm:constr type="h" for="ch" forName="text" refType="h" fact="0.8"/>
              <dgm:constr type="t" for="ch" forName="text" refType="w" fact="0.04"/>
              <dgm:constr type="l" for="ch" forName="text" refType="w" fact="0.4"/>
            </dgm:constrLst>
            <dgm:ruleLst/>
            <dgm:layoutNode name="image" styleLbl="node0">
              <dgm:alg type="sp"/>
              <dgm:shape xmlns:r="http://schemas.openxmlformats.org/officeDocument/2006/relationships" type="ellipse" r:blip="" blipPhldr="1">
                <dgm:adjLst/>
              </dgm:shape>
              <dgm:presOf/>
              <dgm:constrLst/>
              <dgm:ruleLst/>
            </dgm:layoutNode>
            <dgm:layoutNode name="text" styleLbl="revTx">
              <dgm:varLst>
                <dgm:chPref val="3"/>
              </dgm:varLst>
              <dgm:alg type="tx">
                <dgm:param type="parTxLTRAlign" val="l"/>
                <dgm:param type="parTxRTLAlign" val="r"/>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image"/>
                    <dgm:param type="dstNode" val="image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h" for="ch" forName="image2" refType="h" fact="0.8"/>
                      <dgm:constr type="w" for="ch" forName="image2" refType="h" refFor="ch" refForName="image2"/>
                      <dgm:constr type="t" for="ch" forName="image2" refType="h" fact="0.1"/>
                      <dgm:constr type="l" for="ch" forName="image2"/>
                      <dgm:constr type="w" for="ch" forName="text2" refType="w" fact="0.6"/>
                      <dgm:constr type="h" for="ch" forName="text2" refType="h" fact="0.8"/>
                      <dgm:constr type="t" for="ch" forName="text2" refType="w" fact="0.04"/>
                      <dgm:constr type="l" for="ch" forName="text2" refType="w" fact="0.4"/>
                    </dgm:constrLst>
                    <dgm:ruleLst/>
                    <dgm:layoutNode name="image2">
                      <dgm:alg type="sp"/>
                      <dgm:shape xmlns:r="http://schemas.openxmlformats.org/officeDocument/2006/relationships" type="ellipse" r:blip="" blipPhldr="1">
                        <dgm:adjLst/>
                      </dgm:shape>
                      <dgm:presOf/>
                      <dgm:constrLst/>
                      <dgm:ruleLst/>
                    </dgm:layoutNode>
                    <dgm:layoutNode name="text2" styleLbl="revTx">
                      <dgm:varLst>
                        <dgm:chPref val="3"/>
                      </dgm:varLst>
                      <dgm:alg type="tx">
                        <dgm:param type="parTxLTRAlign" val="l"/>
                        <dgm:param type="parTxRTLAlign" val="r"/>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image2"/>
                            <dgm:param type="dstNode" val="image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h" for="ch" forName="image3" refType="h" fact="0.8"/>
                              <dgm:constr type="w" for="ch" forName="image3" refType="h" refFor="ch" refForName="image3"/>
                              <dgm:constr type="t" for="ch" forName="image3" refType="h" fact="0.1"/>
                              <dgm:constr type="l" for="ch" forName="image3"/>
                              <dgm:constr type="w" for="ch" forName="text3" refType="w" fact="0.6"/>
                              <dgm:constr type="h" for="ch" forName="text3" refType="h" fact="0.8"/>
                              <dgm:constr type="t" for="ch" forName="text3" refType="w" fact="0.04"/>
                              <dgm:constr type="l" for="ch" forName="text3" refType="w" fact="0.4"/>
                            </dgm:constrLst>
                            <dgm:ruleLst/>
                            <dgm:layoutNode name="image3">
                              <dgm:alg type="sp"/>
                              <dgm:shape xmlns:r="http://schemas.openxmlformats.org/officeDocument/2006/relationships" type="ellipse" r:blip="" blipPhldr="1">
                                <dgm:adjLst/>
                              </dgm:shape>
                              <dgm:presOf/>
                              <dgm:constrLst/>
                              <dgm:ruleLst/>
                            </dgm:layoutNode>
                            <dgm:layoutNode name="text3" styleLbl="revTx">
                              <dgm:varLst>
                                <dgm:chPref val="3"/>
                              </dgm:varLst>
                              <dgm:alg type="tx">
                                <dgm:param type="parTxLTRAlign" val="l"/>
                                <dgm:param type="parTxRTLAlign" val="r"/>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image3"/>
                                        <dgm:param type="dstNode" val="image4"/>
                                      </dgm:alg>
                                    </dgm:if>
                                    <dgm:else name="Name26">
                                      <dgm:alg type="conn">
                                        <dgm:param type="dim" val="1D"/>
                                        <dgm:param type="endSty" val="noArr"/>
                                        <dgm:param type="connRout" val="bend"/>
                                        <dgm:param type="bendPt" val="end"/>
                                        <dgm:param type="begPts" val="bCtr"/>
                                        <dgm:param type="endPts" val="tCtr"/>
                                        <dgm:param type="srcNode" val="image4"/>
                                        <dgm:param type="dstNode" val="image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h" for="ch" forName="image4" refType="h" fact="0.8"/>
                                      <dgm:constr type="w" for="ch" forName="image4" refType="h" refFor="ch" refForName="image4"/>
                                      <dgm:constr type="t" for="ch" forName="image4" refType="h" fact="0.1"/>
                                      <dgm:constr type="l" for="ch" forName="image4"/>
                                      <dgm:constr type="w" for="ch" forName="text4" refType="w" fact="0.6"/>
                                      <dgm:constr type="h" for="ch" forName="text4" refType="h" fact="0.8"/>
                                      <dgm:constr type="t" for="ch" forName="text4" refType="w" fact="0.04"/>
                                      <dgm:constr type="l" for="ch" forName="text4" refType="w" fact="0.4"/>
                                    </dgm:constrLst>
                                    <dgm:ruleLst/>
                                    <dgm:layoutNode name="image4">
                                      <dgm:alg type="sp"/>
                                      <dgm:shape xmlns:r="http://schemas.openxmlformats.org/officeDocument/2006/relationships" type="ellipse" r:blip="" blipPhldr="1">
                                        <dgm:adjLst/>
                                      </dgm:shape>
                                      <dgm:presOf/>
                                      <dgm:constrLst/>
                                      <dgm:ruleLst/>
                                    </dgm:layoutNode>
                                    <dgm:layoutNode name="text4" styleLbl="revTx">
                                      <dgm:varLst>
                                        <dgm:chPref val="3"/>
                                      </dgm:varLst>
                                      <dgm:alg type="tx">
                                        <dgm:param type="parTxLTRAlign" val="l"/>
                                        <dgm:param type="parTxRTLAlign" val="r"/>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4229" tIns="47114" rIns="94229" bIns="47114" rtlCol="0"/>
          <a:lstStyle>
            <a:lvl1pPr algn="l">
              <a:defRPr sz="1200"/>
            </a:lvl1pPr>
          </a:lstStyle>
          <a:p>
            <a:endParaRPr lang="en-US" dirty="0">
              <a:latin typeface="Roboto" panose="02000000000000000000" pitchFamily="2" charset="0"/>
            </a:endParaRPr>
          </a:p>
        </p:txBody>
      </p:sp>
      <p:sp>
        <p:nvSpPr>
          <p:cNvPr id="3" name="Date Placeholder 2"/>
          <p:cNvSpPr>
            <a:spLocks noGrp="1"/>
          </p:cNvSpPr>
          <p:nvPr>
            <p:ph type="dt" sz="quarter" idx="1"/>
          </p:nvPr>
        </p:nvSpPr>
        <p:spPr>
          <a:xfrm>
            <a:off x="4023092" y="0"/>
            <a:ext cx="3077739" cy="471054"/>
          </a:xfrm>
          <a:prstGeom prst="rect">
            <a:avLst/>
          </a:prstGeom>
        </p:spPr>
        <p:txBody>
          <a:bodyPr vert="horz" lIns="94229" tIns="47114" rIns="94229" bIns="47114" rtlCol="0"/>
          <a:lstStyle>
            <a:lvl1pPr algn="r">
              <a:defRPr sz="1200"/>
            </a:lvl1pPr>
          </a:lstStyle>
          <a:p>
            <a:fld id="{A8AF0ABA-1503-4581-BC5A-AF3D56D7DD45}" type="datetimeFigureOut">
              <a:rPr lang="en-US" smtClean="0">
                <a:latin typeface="Roboto" panose="02000000000000000000" pitchFamily="2" charset="0"/>
              </a:rPr>
              <a:t>3/9/2022</a:t>
            </a:fld>
            <a:endParaRPr lang="en-US" dirty="0">
              <a:latin typeface="Roboto" panose="02000000000000000000" pitchFamily="2" charset="0"/>
            </a:endParaRPr>
          </a:p>
        </p:txBody>
      </p:sp>
      <p:sp>
        <p:nvSpPr>
          <p:cNvPr id="4" name="Footer Placeholder 3"/>
          <p:cNvSpPr>
            <a:spLocks noGrp="1"/>
          </p:cNvSpPr>
          <p:nvPr>
            <p:ph type="ftr" sz="quarter" idx="2"/>
          </p:nvPr>
        </p:nvSpPr>
        <p:spPr>
          <a:xfrm>
            <a:off x="0" y="8917422"/>
            <a:ext cx="3077739" cy="471053"/>
          </a:xfrm>
          <a:prstGeom prst="rect">
            <a:avLst/>
          </a:prstGeom>
        </p:spPr>
        <p:txBody>
          <a:bodyPr vert="horz" lIns="94229" tIns="47114" rIns="94229" bIns="47114" rtlCol="0" anchor="b"/>
          <a:lstStyle>
            <a:lvl1pPr algn="l">
              <a:defRPr sz="1200"/>
            </a:lvl1pPr>
          </a:lstStyle>
          <a:p>
            <a:endParaRPr lang="en-US" dirty="0">
              <a:latin typeface="Roboto" panose="02000000000000000000" pitchFamily="2" charset="0"/>
            </a:endParaRPr>
          </a:p>
        </p:txBody>
      </p:sp>
      <p:sp>
        <p:nvSpPr>
          <p:cNvPr id="5" name="Slide Number Placeholder 4"/>
          <p:cNvSpPr>
            <a:spLocks noGrp="1"/>
          </p:cNvSpPr>
          <p:nvPr>
            <p:ph type="sldNum" sz="quarter" idx="3"/>
          </p:nvPr>
        </p:nvSpPr>
        <p:spPr>
          <a:xfrm>
            <a:off x="4023092" y="8917422"/>
            <a:ext cx="3077739" cy="471053"/>
          </a:xfrm>
          <a:prstGeom prst="rect">
            <a:avLst/>
          </a:prstGeom>
        </p:spPr>
        <p:txBody>
          <a:bodyPr vert="horz" lIns="94229" tIns="47114" rIns="94229" bIns="47114" rtlCol="0" anchor="b"/>
          <a:lstStyle>
            <a:lvl1pPr algn="r">
              <a:defRPr sz="1200"/>
            </a:lvl1pPr>
          </a:lstStyle>
          <a:p>
            <a:fld id="{A63F1010-2D67-4645-821C-D43BAA1B17D5}" type="slidenum">
              <a:rPr lang="en-US" smtClean="0">
                <a:latin typeface="Roboto" panose="02000000000000000000" pitchFamily="2" charset="0"/>
              </a:rPr>
              <a:t>‹#›</a:t>
            </a:fld>
            <a:endParaRPr lang="en-US" dirty="0">
              <a:latin typeface="Roboto" panose="02000000000000000000" pitchFamily="2" charset="0"/>
            </a:endParaRPr>
          </a:p>
        </p:txBody>
      </p:sp>
    </p:spTree>
    <p:extLst>
      <p:ext uri="{BB962C8B-B14F-4D97-AF65-F5344CB8AC3E}">
        <p14:creationId xmlns:p14="http://schemas.microsoft.com/office/powerpoint/2010/main" val="819809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4229" tIns="47114" rIns="94229" bIns="47114" rtlCol="0"/>
          <a:lstStyle>
            <a:lvl1pPr algn="l">
              <a:defRPr sz="1200">
                <a:latin typeface="Roboto" panose="02000000000000000000" pitchFamily="2" charset="0"/>
              </a:defRPr>
            </a:lvl1pPr>
          </a:lstStyle>
          <a:p>
            <a:endParaRPr lang="en-US" dirty="0"/>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4229" bIns="47114" rtlCol="0"/>
          <a:lstStyle>
            <a:lvl1pPr algn="r">
              <a:defRPr sz="1200">
                <a:latin typeface="Roboto" panose="02000000000000000000" pitchFamily="2" charset="0"/>
              </a:defRPr>
            </a:lvl1pPr>
          </a:lstStyle>
          <a:p>
            <a:fld id="{78186FDC-CD1E-4E7E-B1CD-1CBCCD519E8C}" type="datetimeFigureOut">
              <a:rPr lang="en-US" smtClean="0"/>
              <a:pPr/>
              <a:t>3/9/2022</a:t>
            </a:fld>
            <a:endParaRPr lang="en-US" dirty="0"/>
          </a:p>
        </p:txBody>
      </p:sp>
      <p:sp>
        <p:nvSpPr>
          <p:cNvPr id="4" name="Slide Image Placeholder 3"/>
          <p:cNvSpPr>
            <a:spLocks noGrp="1" noRot="1" noChangeAspect="1"/>
          </p:cNvSpPr>
          <p:nvPr>
            <p:ph type="sldImg" idx="2"/>
          </p:nvPr>
        </p:nvSpPr>
        <p:spPr>
          <a:xfrm>
            <a:off x="735013" y="1173163"/>
            <a:ext cx="5632450" cy="3168650"/>
          </a:xfrm>
          <a:prstGeom prst="rect">
            <a:avLst/>
          </a:prstGeom>
          <a:noFill/>
          <a:ln w="12700">
            <a:solidFill>
              <a:prstClr val="black"/>
            </a:solidFill>
          </a:ln>
        </p:spPr>
        <p:txBody>
          <a:bodyPr vert="horz" lIns="94229" tIns="47114" rIns="94229" bIns="47114" rtlCol="0" anchor="ctr"/>
          <a:lstStyle/>
          <a:p>
            <a:endParaRPr lang="en-US" dirty="0"/>
          </a:p>
        </p:txBody>
      </p:sp>
      <p:sp>
        <p:nvSpPr>
          <p:cNvPr id="5" name="Notes Placeholder 4"/>
          <p:cNvSpPr>
            <a:spLocks noGrp="1"/>
          </p:cNvSpPr>
          <p:nvPr>
            <p:ph type="body" sz="quarter" idx="3"/>
          </p:nvPr>
        </p:nvSpPr>
        <p:spPr>
          <a:xfrm>
            <a:off x="710248" y="4518204"/>
            <a:ext cx="5681980" cy="3696712"/>
          </a:xfrm>
          <a:prstGeom prst="rect">
            <a:avLst/>
          </a:prstGeom>
        </p:spPr>
        <p:txBody>
          <a:bodyPr vert="horz" lIns="94229" tIns="47114" rIns="94229" bIns="47114"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917422"/>
            <a:ext cx="3077739" cy="471053"/>
          </a:xfrm>
          <a:prstGeom prst="rect">
            <a:avLst/>
          </a:prstGeom>
        </p:spPr>
        <p:txBody>
          <a:bodyPr vert="horz" lIns="94229" tIns="47114" rIns="94229" bIns="47114" rtlCol="0" anchor="b"/>
          <a:lstStyle>
            <a:lvl1pPr algn="l">
              <a:defRPr sz="1200">
                <a:latin typeface="Roboto" panose="02000000000000000000" pitchFamily="2" charset="0"/>
              </a:defRPr>
            </a:lvl1pPr>
          </a:lstStyle>
          <a:p>
            <a:endParaRPr lang="en-US" dirty="0"/>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4229" bIns="47114" rtlCol="0" anchor="b"/>
          <a:lstStyle>
            <a:lvl1pPr algn="r">
              <a:defRPr sz="1200">
                <a:latin typeface="Roboto" panose="02000000000000000000" pitchFamily="2" charset="0"/>
              </a:defRPr>
            </a:lvl1pPr>
          </a:lstStyle>
          <a:p>
            <a:fld id="{4B9A8B04-59C6-4476-9B83-8806D24CC38B}" type="slidenum">
              <a:rPr lang="en-US" smtClean="0"/>
              <a:pPr/>
              <a:t>‹#›</a:t>
            </a:fld>
            <a:endParaRPr lang="en-US" dirty="0"/>
          </a:p>
        </p:txBody>
      </p:sp>
    </p:spTree>
    <p:extLst>
      <p:ext uri="{BB962C8B-B14F-4D97-AF65-F5344CB8AC3E}">
        <p14:creationId xmlns:p14="http://schemas.microsoft.com/office/powerpoint/2010/main" val="1488757200"/>
      </p:ext>
    </p:extLst>
  </p:cSld>
  <p:clrMap bg1="lt1" tx1="dk1" bg2="lt2" tx2="dk2" accent1="accent1" accent2="accent2" accent3="accent3" accent4="accent4" accent5="accent5" accent6="accent6" hlink="hlink" folHlink="folHlink"/>
  <p:notesStyle>
    <a:lvl1pPr marL="0" algn="l" defTabSz="609448" rtl="0" eaLnBrk="1" latinLnBrk="0" hangingPunct="1">
      <a:defRPr sz="800" kern="1200">
        <a:solidFill>
          <a:schemeClr val="tx1"/>
        </a:solidFill>
        <a:latin typeface="Roboto" panose="02000000000000000000" pitchFamily="2" charset="0"/>
        <a:ea typeface="+mn-ea"/>
        <a:cs typeface="+mn-cs"/>
      </a:defRPr>
    </a:lvl1pPr>
    <a:lvl2pPr marL="304724" algn="l" defTabSz="609448" rtl="0" eaLnBrk="1" latinLnBrk="0" hangingPunct="1">
      <a:defRPr sz="800" kern="1200">
        <a:solidFill>
          <a:schemeClr val="tx1"/>
        </a:solidFill>
        <a:latin typeface="Roboto" panose="02000000000000000000" pitchFamily="2" charset="0"/>
        <a:ea typeface="+mn-ea"/>
        <a:cs typeface="+mn-cs"/>
      </a:defRPr>
    </a:lvl2pPr>
    <a:lvl3pPr marL="609448" algn="l" defTabSz="609448" rtl="0" eaLnBrk="1" latinLnBrk="0" hangingPunct="1">
      <a:defRPr sz="800" kern="1200">
        <a:solidFill>
          <a:schemeClr val="tx1"/>
        </a:solidFill>
        <a:latin typeface="Roboto" panose="02000000000000000000" pitchFamily="2" charset="0"/>
        <a:ea typeface="+mn-ea"/>
        <a:cs typeface="+mn-cs"/>
      </a:defRPr>
    </a:lvl3pPr>
    <a:lvl4pPr marL="914171" algn="l" defTabSz="609448" rtl="0" eaLnBrk="1" latinLnBrk="0" hangingPunct="1">
      <a:defRPr sz="800" kern="1200">
        <a:solidFill>
          <a:schemeClr val="tx1"/>
        </a:solidFill>
        <a:latin typeface="Roboto" panose="02000000000000000000" pitchFamily="2" charset="0"/>
        <a:ea typeface="+mn-ea"/>
        <a:cs typeface="+mn-cs"/>
      </a:defRPr>
    </a:lvl4pPr>
    <a:lvl5pPr marL="1218895" algn="l" defTabSz="609448" rtl="0" eaLnBrk="1" latinLnBrk="0" hangingPunct="1">
      <a:defRPr sz="800" kern="1200">
        <a:solidFill>
          <a:schemeClr val="tx1"/>
        </a:solidFill>
        <a:latin typeface="Roboto" panose="02000000000000000000" pitchFamily="2" charset="0"/>
        <a:ea typeface="+mn-ea"/>
        <a:cs typeface="+mn-cs"/>
      </a:defRPr>
    </a:lvl5pPr>
    <a:lvl6pPr marL="1523619" algn="l" defTabSz="609448" rtl="0" eaLnBrk="1" latinLnBrk="0" hangingPunct="1">
      <a:defRPr sz="800" kern="1200">
        <a:solidFill>
          <a:schemeClr val="tx1"/>
        </a:solidFill>
        <a:latin typeface="+mn-lt"/>
        <a:ea typeface="+mn-ea"/>
        <a:cs typeface="+mn-cs"/>
      </a:defRPr>
    </a:lvl6pPr>
    <a:lvl7pPr marL="1828343" algn="l" defTabSz="609448" rtl="0" eaLnBrk="1" latinLnBrk="0" hangingPunct="1">
      <a:defRPr sz="800" kern="1200">
        <a:solidFill>
          <a:schemeClr val="tx1"/>
        </a:solidFill>
        <a:latin typeface="+mn-lt"/>
        <a:ea typeface="+mn-ea"/>
        <a:cs typeface="+mn-cs"/>
      </a:defRPr>
    </a:lvl7pPr>
    <a:lvl8pPr marL="2133067" algn="l" defTabSz="609448" rtl="0" eaLnBrk="1" latinLnBrk="0" hangingPunct="1">
      <a:defRPr sz="800" kern="1200">
        <a:solidFill>
          <a:schemeClr val="tx1"/>
        </a:solidFill>
        <a:latin typeface="+mn-lt"/>
        <a:ea typeface="+mn-ea"/>
        <a:cs typeface="+mn-cs"/>
      </a:defRPr>
    </a:lvl8pPr>
    <a:lvl9pPr marL="2437790" algn="l" defTabSz="609448" rtl="0" eaLnBrk="1" latinLnBrk="0" hangingPunct="1">
      <a:defRPr sz="8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Insert your picture</a:t>
            </a:r>
          </a:p>
        </p:txBody>
      </p:sp>
      <p:sp>
        <p:nvSpPr>
          <p:cNvPr id="4" name="Slide Number Placeholder 3"/>
          <p:cNvSpPr>
            <a:spLocks noGrp="1"/>
          </p:cNvSpPr>
          <p:nvPr>
            <p:ph type="sldNum" sz="quarter" idx="5"/>
          </p:nvPr>
        </p:nvSpPr>
        <p:spPr/>
        <p:txBody>
          <a:bodyPr/>
          <a:lstStyle/>
          <a:p>
            <a:fld id="{99312870-DE4C-4B7B-894D-724C93B32A13}" type="slidenum">
              <a:rPr lang="en-IN" smtClean="0"/>
              <a:t>1</a:t>
            </a:fld>
            <a:endParaRPr lang="en-IN"/>
          </a:p>
        </p:txBody>
      </p:sp>
    </p:spTree>
    <p:extLst>
      <p:ext uri="{BB962C8B-B14F-4D97-AF65-F5344CB8AC3E}">
        <p14:creationId xmlns:p14="http://schemas.microsoft.com/office/powerpoint/2010/main" val="24510557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7BD35B7-DAF1-5B4D-94FA-36B61FD74AC4}" type="slidenum">
              <a:rPr kumimoji="0" lang="en-US" altLang="x-non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altLang="x-non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33" name="Text Box 1"/>
          <p:cNvSpPr txBox="1">
            <a:spLocks noGrp="1" noRot="1" noChangeAspect="1" noChangeArrowheads="1"/>
          </p:cNvSpPr>
          <p:nvPr>
            <p:ph type="sldImg"/>
          </p:nvPr>
        </p:nvSpPr>
        <p:spPr bwMode="auto">
          <a:xfrm>
            <a:off x="688975" y="1143000"/>
            <a:ext cx="5475288" cy="3081338"/>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sp>
      <p:sp>
        <p:nvSpPr>
          <p:cNvPr id="18434" name="Text Box 2"/>
          <p:cNvSpPr txBox="1">
            <a:spLocks noGrp="1" noChangeArrowheads="1"/>
          </p:cNvSpPr>
          <p:nvPr>
            <p:ph type="body" idx="1"/>
          </p:nvPr>
        </p:nvSpPr>
        <p:spPr bwMode="auto">
          <a:xfrm>
            <a:off x="685800" y="4400550"/>
            <a:ext cx="5481638" cy="3595688"/>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r>
              <a:rPr lang="en-IN" altLang="x-none" dirty="0"/>
              <a:t> </a:t>
            </a:r>
            <a:endParaRPr lang="x-none" altLang="x-none" dirty="0"/>
          </a:p>
        </p:txBody>
      </p:sp>
    </p:spTree>
    <p:extLst>
      <p:ext uri="{BB962C8B-B14F-4D97-AF65-F5344CB8AC3E}">
        <p14:creationId xmlns:p14="http://schemas.microsoft.com/office/powerpoint/2010/main" val="38762554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7BD35B7-DAF1-5B4D-94FA-36B61FD74AC4}" type="slidenum">
              <a:rPr kumimoji="0" lang="en-US" altLang="x-non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altLang="x-non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33" name="Text Box 1"/>
          <p:cNvSpPr txBox="1">
            <a:spLocks noGrp="1" noRot="1" noChangeAspect="1" noChangeArrowheads="1"/>
          </p:cNvSpPr>
          <p:nvPr>
            <p:ph type="sldImg"/>
          </p:nvPr>
        </p:nvSpPr>
        <p:spPr bwMode="auto">
          <a:xfrm>
            <a:off x="688975" y="1143000"/>
            <a:ext cx="5475288" cy="3081338"/>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sp>
      <p:sp>
        <p:nvSpPr>
          <p:cNvPr id="18434" name="Text Box 2"/>
          <p:cNvSpPr txBox="1">
            <a:spLocks noGrp="1" noChangeArrowheads="1"/>
          </p:cNvSpPr>
          <p:nvPr>
            <p:ph type="body" idx="1"/>
          </p:nvPr>
        </p:nvSpPr>
        <p:spPr bwMode="auto">
          <a:xfrm>
            <a:off x="685800" y="4400550"/>
            <a:ext cx="5481638" cy="3595688"/>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r>
              <a:rPr lang="en-IN" altLang="x-none" dirty="0"/>
              <a:t> </a:t>
            </a:r>
            <a:endParaRPr lang="x-none" altLang="x-none" dirty="0"/>
          </a:p>
        </p:txBody>
      </p:sp>
    </p:spTree>
    <p:extLst>
      <p:ext uri="{BB962C8B-B14F-4D97-AF65-F5344CB8AC3E}">
        <p14:creationId xmlns:p14="http://schemas.microsoft.com/office/powerpoint/2010/main" val="9165285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B9A8B04-59C6-4476-9B83-8806D24CC38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38626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A2D21D1-52E2-420B-B491-CFF6D7BB79FB}" type="slidenum">
              <a:rPr lang="en-US" smtClean="0"/>
              <a:pPr/>
              <a:t>19</a:t>
            </a:fld>
            <a:endParaRPr lang="en-US"/>
          </a:p>
        </p:txBody>
      </p:sp>
    </p:spTree>
    <p:extLst>
      <p:ext uri="{BB962C8B-B14F-4D97-AF65-F5344CB8AC3E}">
        <p14:creationId xmlns:p14="http://schemas.microsoft.com/office/powerpoint/2010/main" val="26024793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Insert your picture</a:t>
            </a:r>
          </a:p>
        </p:txBody>
      </p:sp>
      <p:sp>
        <p:nvSpPr>
          <p:cNvPr id="4" name="Slide Number Placeholder 3"/>
          <p:cNvSpPr>
            <a:spLocks noGrp="1"/>
          </p:cNvSpPr>
          <p:nvPr>
            <p:ph type="sldNum" sz="quarter" idx="5"/>
          </p:nvPr>
        </p:nvSpPr>
        <p:spPr/>
        <p:txBody>
          <a:bodyPr/>
          <a:lstStyle/>
          <a:p>
            <a:fld id="{99312870-DE4C-4B7B-894D-724C93B32A13}" type="slidenum">
              <a:rPr lang="en-IN" smtClean="0"/>
              <a:t>20</a:t>
            </a:fld>
            <a:endParaRPr lang="en-IN"/>
          </a:p>
        </p:txBody>
      </p:sp>
    </p:spTree>
    <p:extLst>
      <p:ext uri="{BB962C8B-B14F-4D97-AF65-F5344CB8AC3E}">
        <p14:creationId xmlns:p14="http://schemas.microsoft.com/office/powerpoint/2010/main" val="9791261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7BD35B7-DAF1-5B4D-94FA-36B61FD74AC4}" type="slidenum">
              <a:rPr kumimoji="0" lang="en-US" altLang="x-non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altLang="x-non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33" name="Text Box 1"/>
          <p:cNvSpPr txBox="1">
            <a:spLocks noGrp="1" noRot="1" noChangeAspect="1" noChangeArrowheads="1"/>
          </p:cNvSpPr>
          <p:nvPr>
            <p:ph type="sldImg"/>
          </p:nvPr>
        </p:nvSpPr>
        <p:spPr bwMode="auto">
          <a:xfrm>
            <a:off x="688975" y="1143000"/>
            <a:ext cx="5475288" cy="3081338"/>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sp>
      <p:sp>
        <p:nvSpPr>
          <p:cNvPr id="18434" name="Text Box 2"/>
          <p:cNvSpPr txBox="1">
            <a:spLocks noGrp="1" noChangeArrowheads="1"/>
          </p:cNvSpPr>
          <p:nvPr>
            <p:ph type="body" idx="1"/>
          </p:nvPr>
        </p:nvSpPr>
        <p:spPr bwMode="auto">
          <a:xfrm>
            <a:off x="685800" y="4400550"/>
            <a:ext cx="5481638" cy="3595688"/>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x-none" altLang="x-none" dirty="0"/>
          </a:p>
        </p:txBody>
      </p:sp>
    </p:spTree>
    <p:extLst>
      <p:ext uri="{BB962C8B-B14F-4D97-AF65-F5344CB8AC3E}">
        <p14:creationId xmlns:p14="http://schemas.microsoft.com/office/powerpoint/2010/main" val="20392424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rgbClr val="FF0000"/>
                </a:solidFill>
              </a:rPr>
              <a:t>Move adv serverless to the top</a:t>
            </a:r>
          </a:p>
          <a:p>
            <a:r>
              <a:rPr lang="en-US" dirty="0">
                <a:solidFill>
                  <a:srgbClr val="FF0000"/>
                </a:solidFill>
              </a:rPr>
              <a:t>Move Ref 360, Customer360 last</a:t>
            </a:r>
          </a:p>
          <a:p>
            <a:endParaRPr lang="en-US" dirty="0">
              <a:solidFill>
                <a:srgbClr val="FF0000"/>
              </a:solidFill>
            </a:endParaRPr>
          </a:p>
        </p:txBody>
      </p:sp>
      <p:sp>
        <p:nvSpPr>
          <p:cNvPr id="4" name="Slide Number Placeholder 3"/>
          <p:cNvSpPr>
            <a:spLocks noGrp="1"/>
          </p:cNvSpPr>
          <p:nvPr>
            <p:ph type="sldNum" sz="quarter" idx="5"/>
          </p:nvPr>
        </p:nvSpPr>
        <p:spPr/>
        <p:txBody>
          <a:bodyPr/>
          <a:lstStyle/>
          <a:p>
            <a:fld id="{4B9A8B04-59C6-4476-9B83-8806D24CC38B}" type="slidenum">
              <a:rPr lang="en-US" smtClean="0"/>
              <a:pPr/>
              <a:t>22</a:t>
            </a:fld>
            <a:endParaRPr lang="en-US" dirty="0"/>
          </a:p>
        </p:txBody>
      </p:sp>
    </p:spTree>
    <p:extLst>
      <p:ext uri="{BB962C8B-B14F-4D97-AF65-F5344CB8AC3E}">
        <p14:creationId xmlns:p14="http://schemas.microsoft.com/office/powerpoint/2010/main" val="148896684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7BD35B7-DAF1-5B4D-94FA-36B61FD74AC4}" type="slidenum">
              <a:rPr kumimoji="0" lang="en-US" altLang="x-non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altLang="x-non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33" name="Text Box 1"/>
          <p:cNvSpPr txBox="1">
            <a:spLocks noGrp="1" noRot="1" noChangeAspect="1" noChangeArrowheads="1"/>
          </p:cNvSpPr>
          <p:nvPr>
            <p:ph type="sldImg"/>
          </p:nvPr>
        </p:nvSpPr>
        <p:spPr bwMode="auto">
          <a:xfrm>
            <a:off x="688975" y="1143000"/>
            <a:ext cx="5475288" cy="3081338"/>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sp>
      <p:sp>
        <p:nvSpPr>
          <p:cNvPr id="18434" name="Text Box 2"/>
          <p:cNvSpPr txBox="1">
            <a:spLocks noGrp="1" noChangeArrowheads="1"/>
          </p:cNvSpPr>
          <p:nvPr>
            <p:ph type="body" idx="1"/>
          </p:nvPr>
        </p:nvSpPr>
        <p:spPr bwMode="auto">
          <a:xfrm>
            <a:off x="685800" y="4400550"/>
            <a:ext cx="5481638" cy="3595688"/>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r>
              <a:rPr lang="en-IN" altLang="x-none" dirty="0"/>
              <a:t> </a:t>
            </a:r>
            <a:endParaRPr lang="x-none" altLang="x-none" dirty="0"/>
          </a:p>
        </p:txBody>
      </p:sp>
    </p:spTree>
    <p:extLst>
      <p:ext uri="{BB962C8B-B14F-4D97-AF65-F5344CB8AC3E}">
        <p14:creationId xmlns:p14="http://schemas.microsoft.com/office/powerpoint/2010/main" val="22220290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7BD35B7-DAF1-5B4D-94FA-36B61FD74AC4}" type="slidenum">
              <a:rPr kumimoji="0" lang="en-US" altLang="x-non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altLang="x-non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33" name="Text Box 1"/>
          <p:cNvSpPr txBox="1">
            <a:spLocks noGrp="1" noRot="1" noChangeAspect="1" noChangeArrowheads="1"/>
          </p:cNvSpPr>
          <p:nvPr>
            <p:ph type="sldImg"/>
          </p:nvPr>
        </p:nvSpPr>
        <p:spPr bwMode="auto">
          <a:xfrm>
            <a:off x="688975" y="1143000"/>
            <a:ext cx="5475288" cy="3081338"/>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sp>
      <p:sp>
        <p:nvSpPr>
          <p:cNvPr id="18434" name="Text Box 2"/>
          <p:cNvSpPr txBox="1">
            <a:spLocks noGrp="1" noChangeArrowheads="1"/>
          </p:cNvSpPr>
          <p:nvPr>
            <p:ph type="body" idx="1"/>
          </p:nvPr>
        </p:nvSpPr>
        <p:spPr bwMode="auto">
          <a:xfrm>
            <a:off x="685800" y="4400550"/>
            <a:ext cx="5481638" cy="3595688"/>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r>
              <a:rPr lang="en-US" altLang="x-none" dirty="0"/>
              <a:t>1. Demo IPU using Cassini </a:t>
            </a:r>
          </a:p>
          <a:p>
            <a:r>
              <a:rPr lang="en-US" altLang="x-none" dirty="0"/>
              <a:t>2. Legal rules around IPU (??)</a:t>
            </a:r>
          </a:p>
          <a:p>
            <a:r>
              <a:rPr lang="en-US" altLang="x-none" dirty="0"/>
              <a:t>     We don’t do compliance stuff on IPU </a:t>
            </a:r>
            <a:r>
              <a:rPr lang="en-US" altLang="x-none" dirty="0" err="1"/>
              <a:t>Overusage</a:t>
            </a:r>
            <a:endParaRPr lang="en-US" altLang="x-none" dirty="0"/>
          </a:p>
          <a:p>
            <a:r>
              <a:rPr lang="en-US" altLang="x-none" dirty="0"/>
              <a:t>      </a:t>
            </a:r>
            <a:endParaRPr lang="x-none" altLang="x-none" dirty="0"/>
          </a:p>
        </p:txBody>
      </p:sp>
    </p:spTree>
    <p:extLst>
      <p:ext uri="{BB962C8B-B14F-4D97-AF65-F5344CB8AC3E}">
        <p14:creationId xmlns:p14="http://schemas.microsoft.com/office/powerpoint/2010/main" val="17128507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7BD35B7-DAF1-5B4D-94FA-36B61FD74AC4}" type="slidenum">
              <a:rPr kumimoji="0" lang="en-US" altLang="x-non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altLang="x-non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33" name="Text Box 1"/>
          <p:cNvSpPr txBox="1">
            <a:spLocks noGrp="1" noRot="1" noChangeAspect="1" noChangeArrowheads="1"/>
          </p:cNvSpPr>
          <p:nvPr>
            <p:ph type="sldImg"/>
          </p:nvPr>
        </p:nvSpPr>
        <p:spPr bwMode="auto">
          <a:xfrm>
            <a:off x="688975" y="1143000"/>
            <a:ext cx="5475288" cy="3081338"/>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sp>
      <p:sp>
        <p:nvSpPr>
          <p:cNvPr id="18434" name="Text Box 2"/>
          <p:cNvSpPr txBox="1">
            <a:spLocks noGrp="1" noChangeArrowheads="1"/>
          </p:cNvSpPr>
          <p:nvPr>
            <p:ph type="body" idx="1"/>
          </p:nvPr>
        </p:nvSpPr>
        <p:spPr bwMode="auto">
          <a:xfrm>
            <a:off x="685800" y="4400550"/>
            <a:ext cx="5481638" cy="3595688"/>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x-none" altLang="x-none" dirty="0"/>
          </a:p>
        </p:txBody>
      </p:sp>
    </p:spTree>
    <p:extLst>
      <p:ext uri="{BB962C8B-B14F-4D97-AF65-F5344CB8AC3E}">
        <p14:creationId xmlns:p14="http://schemas.microsoft.com/office/powerpoint/2010/main" val="31777841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Welcome to Informatica cloud platform; every cloud-native service you will ever need for data management. One cloud platform... INFA Cloud is industry's first and most comprehensive AI-powered data management platform.</a:t>
            </a:r>
          </a:p>
          <a:p>
            <a:r>
              <a:rPr lang="en-US" dirty="0"/>
              <a:t>Our customer can perform from discovery to democratization of data using our cloud services. Our home-grown CLAIRE helps in AI Powered metadata intelligence and automation services. We have the wide range of connectivity with our cloud and it’s the best in class..  Our </a:t>
            </a:r>
            <a:r>
              <a:rPr lang="en-US" dirty="0" err="1"/>
              <a:t>connetcors</a:t>
            </a:r>
            <a:r>
              <a:rPr lang="en-US" dirty="0"/>
              <a:t> can connect to the breadth and depth of all data sources available in the market. And if there is a niche source, customers can always build it with out kit or use existing common connectivity services like webservices, ODBC, JDBC, REST and the list goes 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78A04-F049-4B10-8168-E76CAC44B7E0}" type="slidenum">
              <a:rPr kumimoji="0" lang="en-US" sz="1200" b="0" i="0" u="none" strike="noStrike" kern="1200" cap="none" spc="0" normalizeH="0" baseline="0" noProof="0" smtClean="0">
                <a:ln>
                  <a:noFill/>
                </a:ln>
                <a:solidFill>
                  <a:prstClr val="black"/>
                </a:solidFill>
                <a:effectLst/>
                <a:uLnTx/>
                <a:uFillTx/>
                <a:latin typeface="Roboto" panose="02000000000000000000" pitchFamily="2" charset="0"/>
                <a:ea typeface="+mn-ea"/>
                <a:cs typeface="+mn-cs"/>
                <a:sym typeface="Helvetica Neue"/>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Roboto" panose="02000000000000000000" pitchFamily="2" charset="0"/>
              <a:ea typeface="+mn-ea"/>
              <a:cs typeface="+mn-cs"/>
              <a:sym typeface="Helvetica Neue"/>
            </a:endParaRPr>
          </a:p>
        </p:txBody>
      </p:sp>
    </p:spTree>
    <p:extLst>
      <p:ext uri="{BB962C8B-B14F-4D97-AF65-F5344CB8AC3E}">
        <p14:creationId xmlns:p14="http://schemas.microsoft.com/office/powerpoint/2010/main" val="7090499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did see there are numerous offerings available in our cloud but today we are going to deep-dive on the integration part. Why Integration or CDI in technical terms? </a:t>
            </a:r>
          </a:p>
          <a:p>
            <a:endParaRPr lang="en-US" dirty="0"/>
          </a:p>
          <a:p>
            <a:r>
              <a:rPr lang="en-US" dirty="0"/>
              <a:t>INFA has 2 major cloud journeys, the DW/DL journey and modernization journey. Have you every wondered what would be a common service used in ALL of our cloud journeys? Let’s figure out</a:t>
            </a:r>
          </a:p>
        </p:txBody>
      </p:sp>
      <p:sp>
        <p:nvSpPr>
          <p:cNvPr id="4" name="Slide Number Placeholder 3"/>
          <p:cNvSpPr>
            <a:spLocks noGrp="1"/>
          </p:cNvSpPr>
          <p:nvPr>
            <p:ph type="sldNum" sz="quarter" idx="5"/>
          </p:nvPr>
        </p:nvSpPr>
        <p:spPr/>
        <p:txBody>
          <a:bodyPr/>
          <a:lstStyle/>
          <a:p>
            <a:fld id="{4B9A8B04-59C6-4476-9B83-8806D24CC38B}" type="slidenum">
              <a:rPr lang="en-US" smtClean="0"/>
              <a:pPr/>
              <a:t>5</a:t>
            </a:fld>
            <a:endParaRPr lang="en-US" dirty="0"/>
          </a:p>
        </p:txBody>
      </p:sp>
    </p:spTree>
    <p:extLst>
      <p:ext uri="{BB962C8B-B14F-4D97-AF65-F5344CB8AC3E}">
        <p14:creationId xmlns:p14="http://schemas.microsoft.com/office/powerpoint/2010/main" val="30439886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CDW/ DL journey customers can these expectation </a:t>
            </a:r>
          </a:p>
          <a:p>
            <a:pPr marL="228600" indent="-228600">
              <a:buAutoNum type="arabicPeriod"/>
            </a:pPr>
            <a:r>
              <a:rPr lang="en-US" dirty="0"/>
              <a:t>I want to perform the tradition ETL</a:t>
            </a:r>
          </a:p>
          <a:p>
            <a:pPr marL="228600" indent="-228600">
              <a:buAutoNum type="arabicPeriod"/>
            </a:pPr>
            <a:r>
              <a:rPr lang="en-US" dirty="0"/>
              <a:t>I want to do heavy data processing in an elastic server, can you do it?</a:t>
            </a:r>
          </a:p>
          <a:p>
            <a:pPr marL="228600" indent="-228600">
              <a:buAutoNum type="arabicPeriod"/>
            </a:pPr>
            <a:r>
              <a:rPr lang="en-US" dirty="0"/>
              <a:t>I have a super powerful ecosystem already in place, can you make max use of it.</a:t>
            </a:r>
          </a:p>
          <a:p>
            <a:pPr marL="228600" indent="-228600">
              <a:buAutoNum type="arabicPeriod"/>
            </a:pPr>
            <a:endParaRPr lang="en-US" dirty="0"/>
          </a:p>
          <a:p>
            <a:pPr marL="0" indent="0">
              <a:buNone/>
            </a:pPr>
            <a:r>
              <a:rPr lang="en-US" dirty="0"/>
              <a:t>Now, from INFA Cloud who can perform all these operations?</a:t>
            </a:r>
          </a:p>
          <a:p>
            <a:pPr marL="0" indent="0">
              <a:buNone/>
            </a:pPr>
            <a:r>
              <a:rPr lang="en-US" dirty="0"/>
              <a:t>It’s simple our humble CDI. </a:t>
            </a:r>
          </a:p>
        </p:txBody>
      </p:sp>
      <p:sp>
        <p:nvSpPr>
          <p:cNvPr id="4" name="Slide Number Placeholder 3"/>
          <p:cNvSpPr>
            <a:spLocks noGrp="1"/>
          </p:cNvSpPr>
          <p:nvPr>
            <p:ph type="sldNum" sz="quarter" idx="5"/>
          </p:nvPr>
        </p:nvSpPr>
        <p:spPr/>
        <p:txBody>
          <a:bodyPr/>
          <a:lstStyle/>
          <a:p>
            <a:fld id="{08F174A2-5CB8-5143-9C66-DD5FA2E212B5}" type="slidenum">
              <a:rPr lang="en-IE" smtClean="0"/>
              <a:t>6</a:t>
            </a:fld>
            <a:endParaRPr lang="en-IE"/>
          </a:p>
        </p:txBody>
      </p:sp>
    </p:spTree>
    <p:extLst>
      <p:ext uri="{BB962C8B-B14F-4D97-AF65-F5344CB8AC3E}">
        <p14:creationId xmlns:p14="http://schemas.microsoft.com/office/powerpoint/2010/main" val="26334500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take the most popular journey among our long-time INFA customers – Modernization.</a:t>
            </a:r>
          </a:p>
          <a:p>
            <a:endParaRPr lang="en-US" dirty="0"/>
          </a:p>
          <a:p>
            <a:r>
              <a:rPr lang="en-US" dirty="0"/>
              <a:t>When customer’s think of modernization, they want to move their traditional ETL, Complete customer insight and their data quality solutions. Customers also prefer to start small in an area they are quite comfortable with or the area where the already have expertise or experts available. </a:t>
            </a:r>
          </a:p>
          <a:p>
            <a:endParaRPr lang="en-US" dirty="0"/>
          </a:p>
          <a:p>
            <a:r>
              <a:rPr lang="en-US" dirty="0"/>
              <a:t>DQ solution will move into our cloud DQ, Customer insight will move into our SaaS platform and finally the traditional integrations will move into our CDI. Now if you look closely, the ONLY common solution in all our journeys in CDI and that’s why we are deep diving on CDI today.</a:t>
            </a:r>
          </a:p>
          <a:p>
            <a:endParaRPr lang="en-US" dirty="0"/>
          </a:p>
          <a:p>
            <a:endParaRPr lang="en-US" dirty="0"/>
          </a:p>
          <a:p>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B9A8B04-59C6-4476-9B83-8806D24CC38B}" type="slidenum">
              <a:rPr kumimoji="0" lang="en-US" sz="1200" b="0" i="0" u="none" strike="noStrike" kern="1200" cap="none" spc="0" normalizeH="0" baseline="0" noProof="0" smtClean="0">
                <a:ln>
                  <a:noFill/>
                </a:ln>
                <a:solidFill>
                  <a:prstClr val="black"/>
                </a:solidFill>
                <a:effectLst/>
                <a:uLnTx/>
                <a:uFillTx/>
                <a:latin typeface="Roboto" panose="02000000000000000000" pitchFamily="2"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Roboto" panose="02000000000000000000" pitchFamily="2" charset="0"/>
              <a:ea typeface="+mn-ea"/>
              <a:cs typeface="+mn-cs"/>
            </a:endParaRPr>
          </a:p>
        </p:txBody>
      </p:sp>
    </p:spTree>
    <p:extLst>
      <p:ext uri="{BB962C8B-B14F-4D97-AF65-F5344CB8AC3E}">
        <p14:creationId xmlns:p14="http://schemas.microsoft.com/office/powerpoint/2010/main" val="36996485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refresh some of our basic terminologies / concepts before we do further</a:t>
            </a:r>
          </a:p>
        </p:txBody>
      </p:sp>
      <p:sp>
        <p:nvSpPr>
          <p:cNvPr id="4" name="Slide Number Placeholder 3"/>
          <p:cNvSpPr>
            <a:spLocks noGrp="1"/>
          </p:cNvSpPr>
          <p:nvPr>
            <p:ph type="sldNum" sz="quarter" idx="5"/>
          </p:nvPr>
        </p:nvSpPr>
        <p:spPr/>
        <p:txBody>
          <a:bodyPr/>
          <a:lstStyle/>
          <a:p>
            <a:fld id="{4B9A8B04-59C6-4476-9B83-8806D24CC38B}" type="slidenum">
              <a:rPr lang="en-US" smtClean="0"/>
              <a:pPr/>
              <a:t>8</a:t>
            </a:fld>
            <a:endParaRPr lang="en-US" dirty="0"/>
          </a:p>
        </p:txBody>
      </p:sp>
    </p:spTree>
    <p:extLst>
      <p:ext uri="{BB962C8B-B14F-4D97-AF65-F5344CB8AC3E}">
        <p14:creationId xmlns:p14="http://schemas.microsoft.com/office/powerpoint/2010/main" val="28613940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D – Point of Deployment which hosts the repository and all services of our cloud platform. </a:t>
            </a:r>
          </a:p>
          <a:p>
            <a:endParaRPr lang="en-US" dirty="0"/>
          </a:p>
          <a:p>
            <a:r>
              <a:rPr lang="en-US" dirty="0"/>
              <a:t>Org is a secured area specific to 1 customer. Org holds all of their licenses, assets created in IICS.</a:t>
            </a:r>
          </a:p>
          <a:p>
            <a:endParaRPr lang="en-US" dirty="0"/>
          </a:p>
          <a:p>
            <a:r>
              <a:rPr lang="en-US" dirty="0"/>
              <a:t>We support single tenant and multi-tenant. As the name suggests single tenant hosts only 1 customer. The Pod and org are specific to that customer. In multi- tenant architecture many customers of ours share the same POD. The org they hold is secured and accessible only by that customer,  customers in that POD are neither aware nor access others org. Single tenant is like your villa, multi-tenant is your apartment.</a:t>
            </a:r>
          </a:p>
          <a:p>
            <a:endParaRPr lang="en-US" dirty="0"/>
          </a:p>
          <a:p>
            <a:r>
              <a:rPr lang="en-US" dirty="0"/>
              <a:t>WW we have 16 POD’s, 10 in NA, 3 in EMEA and 3 in APAC.</a:t>
            </a:r>
          </a:p>
          <a:p>
            <a:endParaRPr lang="en-US" dirty="0"/>
          </a:p>
          <a:p>
            <a:r>
              <a:rPr lang="en-US" dirty="0"/>
              <a:t>We offer PODs on all cloud ecosystem like Azure, AWS and GCP</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4B9A8B04-59C6-4476-9B83-8806D24CC38B}" type="slidenum">
              <a:rPr lang="en-US" smtClean="0"/>
              <a:pPr/>
              <a:t>9</a:t>
            </a:fld>
            <a:endParaRPr lang="en-US" dirty="0"/>
          </a:p>
        </p:txBody>
      </p:sp>
    </p:spTree>
    <p:extLst>
      <p:ext uri="{BB962C8B-B14F-4D97-AF65-F5344CB8AC3E}">
        <p14:creationId xmlns:p14="http://schemas.microsoft.com/office/powerpoint/2010/main" val="38482508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7BD35B7-DAF1-5B4D-94FA-36B61FD74AC4}" type="slidenum">
              <a:rPr kumimoji="0" lang="en-US" altLang="x-non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altLang="x-non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33" name="Text Box 1"/>
          <p:cNvSpPr txBox="1">
            <a:spLocks noGrp="1" noRot="1" noChangeAspect="1" noChangeArrowheads="1"/>
          </p:cNvSpPr>
          <p:nvPr>
            <p:ph type="sldImg"/>
          </p:nvPr>
        </p:nvSpPr>
        <p:spPr bwMode="auto">
          <a:xfrm>
            <a:off x="688975" y="1143000"/>
            <a:ext cx="5475288" cy="3081338"/>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sp>
      <p:sp>
        <p:nvSpPr>
          <p:cNvPr id="18434" name="Text Box 2"/>
          <p:cNvSpPr txBox="1">
            <a:spLocks noGrp="1" noChangeArrowheads="1"/>
          </p:cNvSpPr>
          <p:nvPr>
            <p:ph type="body" idx="1"/>
          </p:nvPr>
        </p:nvSpPr>
        <p:spPr bwMode="auto">
          <a:xfrm>
            <a:off x="685800" y="4400550"/>
            <a:ext cx="5481638" cy="3595688"/>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r>
              <a:rPr lang="en-US" altLang="x-none" dirty="0"/>
              <a:t>Lets see how the Orgs were mapped in IICS licensing vs our new ICDM/IPU licensing</a:t>
            </a:r>
          </a:p>
          <a:p>
            <a:endParaRPr lang="en-US" altLang="x-none" dirty="0"/>
          </a:p>
          <a:p>
            <a:r>
              <a:rPr lang="en-US" altLang="x-none" dirty="0"/>
              <a:t>In IICS licensing the Orgs were in silos and in ICDM we have a clear hierarchy model for our customer orgs, this is required for metering</a:t>
            </a:r>
            <a:endParaRPr lang="x-none" altLang="x-none" dirty="0"/>
          </a:p>
        </p:txBody>
      </p:sp>
    </p:spTree>
    <p:extLst>
      <p:ext uri="{BB962C8B-B14F-4D97-AF65-F5344CB8AC3E}">
        <p14:creationId xmlns:p14="http://schemas.microsoft.com/office/powerpoint/2010/main" val="31228325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Master" Target="../slideMasters/slideMaster3.xml"/><Relationship Id="rId4" Type="http://schemas.openxmlformats.org/officeDocument/2006/relationships/image" Target="../media/image2.png"/></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8" Type="http://schemas.openxmlformats.org/officeDocument/2006/relationships/image" Target="../media/image19.png"/><Relationship Id="rId3" Type="http://schemas.microsoft.com/office/2007/relationships/hdphoto" Target="../media/hdphoto1.wdp"/><Relationship Id="rId7" Type="http://schemas.openxmlformats.org/officeDocument/2006/relationships/hyperlink" Target="https://www.linkedin.com/company/informatica/" TargetMode="External"/><Relationship Id="rId2" Type="http://schemas.openxmlformats.org/officeDocument/2006/relationships/image" Target="../media/image26.png"/><Relationship Id="rId1" Type="http://schemas.openxmlformats.org/officeDocument/2006/relationships/slideMaster" Target="../slideMasters/slideMaster3.xml"/><Relationship Id="rId6" Type="http://schemas.openxmlformats.org/officeDocument/2006/relationships/image" Target="../media/image18.png"/><Relationship Id="rId5" Type="http://schemas.openxmlformats.org/officeDocument/2006/relationships/hyperlink" Target="https://www.youtube.com/channel/UCvXtdT5kAsavz662XL7umvg" TargetMode="External"/><Relationship Id="rId10" Type="http://schemas.openxmlformats.org/officeDocument/2006/relationships/image" Target="../media/image20.png"/><Relationship Id="rId4" Type="http://schemas.openxmlformats.org/officeDocument/2006/relationships/image" Target="../media/image2.png"/><Relationship Id="rId9" Type="http://schemas.openxmlformats.org/officeDocument/2006/relationships/hyperlink" Target="http://twitter.com/Informatica" TargetMode="External"/></Relationships>
</file>

<file path=ppt/slideLayouts/_rels/slideLayout12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Master" Target="../slideMasters/slideMaster3.xml"/><Relationship Id="rId6" Type="http://schemas.openxmlformats.org/officeDocument/2006/relationships/image" Target="../media/image18.png"/><Relationship Id="rId5" Type="http://schemas.openxmlformats.org/officeDocument/2006/relationships/hyperlink" Target="https://www.youtube.com/channel/UCvXtdT5kAsavz662XL7umvg" TargetMode="External"/><Relationship Id="rId4" Type="http://schemas.openxmlformats.org/officeDocument/2006/relationships/image" Target="../media/image2.png"/></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2.png"/><Relationship Id="rId1" Type="http://schemas.openxmlformats.org/officeDocument/2006/relationships/slideMaster" Target="../slideMasters/slideMaster3.xml"/><Relationship Id="rId4" Type="http://schemas.openxmlformats.org/officeDocument/2006/relationships/image" Target="../media/image33.png"/></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jp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8" Type="http://schemas.openxmlformats.org/officeDocument/2006/relationships/hyperlink" Target="http://twitter.com/Informatica" TargetMode="External"/><Relationship Id="rId3" Type="http://schemas.openxmlformats.org/officeDocument/2006/relationships/image" Target="../media/image2.png"/><Relationship Id="rId7" Type="http://schemas.openxmlformats.org/officeDocument/2006/relationships/image" Target="../media/image19.png"/><Relationship Id="rId2" Type="http://schemas.openxmlformats.org/officeDocument/2006/relationships/image" Target="../media/image17.jpg"/><Relationship Id="rId1" Type="http://schemas.openxmlformats.org/officeDocument/2006/relationships/slideMaster" Target="../slideMasters/slideMaster1.xml"/><Relationship Id="rId6" Type="http://schemas.openxmlformats.org/officeDocument/2006/relationships/hyperlink" Target="https://www.linkedin.com/company/informatica/" TargetMode="External"/><Relationship Id="rId5" Type="http://schemas.openxmlformats.org/officeDocument/2006/relationships/image" Target="../media/image18.png"/><Relationship Id="rId4" Type="http://schemas.openxmlformats.org/officeDocument/2006/relationships/hyperlink" Target="https://www.youtube.com/channel/UCvXtdT5kAsavz662XL7umvg" TargetMode="External"/><Relationship Id="rId9" Type="http://schemas.openxmlformats.org/officeDocument/2006/relationships/image" Target="../media/image20.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jpg"/><Relationship Id="rId1" Type="http://schemas.openxmlformats.org/officeDocument/2006/relationships/slideMaster" Target="../slideMasters/slideMaster1.xml"/><Relationship Id="rId5" Type="http://schemas.openxmlformats.org/officeDocument/2006/relationships/image" Target="../media/image18.png"/><Relationship Id="rId4" Type="http://schemas.openxmlformats.org/officeDocument/2006/relationships/hyperlink" Target="https://www.youtube.com/channel/UCvXtdT5kAsavz662XL7umvg" TargetMode="Externa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19.png"/><Relationship Id="rId3" Type="http://schemas.microsoft.com/office/2007/relationships/hdphoto" Target="../media/hdphoto1.wdp"/><Relationship Id="rId7" Type="http://schemas.openxmlformats.org/officeDocument/2006/relationships/hyperlink" Target="https://www.linkedin.com/company/informatica/" TargetMode="External"/><Relationship Id="rId2" Type="http://schemas.openxmlformats.org/officeDocument/2006/relationships/image" Target="../media/image26.png"/><Relationship Id="rId1" Type="http://schemas.openxmlformats.org/officeDocument/2006/relationships/slideMaster" Target="../slideMasters/slideMaster2.xml"/><Relationship Id="rId6" Type="http://schemas.openxmlformats.org/officeDocument/2006/relationships/image" Target="../media/image18.png"/><Relationship Id="rId5" Type="http://schemas.openxmlformats.org/officeDocument/2006/relationships/hyperlink" Target="https://www.youtube.com/channel/UCvXtdT5kAsavz662XL7umvg" TargetMode="External"/><Relationship Id="rId10" Type="http://schemas.openxmlformats.org/officeDocument/2006/relationships/image" Target="../media/image20.png"/><Relationship Id="rId4" Type="http://schemas.openxmlformats.org/officeDocument/2006/relationships/image" Target="../media/image2.png"/><Relationship Id="rId9" Type="http://schemas.openxmlformats.org/officeDocument/2006/relationships/hyperlink" Target="http://twitter.com/Informatica" TargetMode="External"/></Relationships>
</file>

<file path=ppt/slideLayouts/_rels/slideLayout8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Master" Target="../slideMasters/slideMaster2.xml"/><Relationship Id="rId6" Type="http://schemas.openxmlformats.org/officeDocument/2006/relationships/image" Target="../media/image18.png"/><Relationship Id="rId5" Type="http://schemas.openxmlformats.org/officeDocument/2006/relationships/hyperlink" Target="https://www.youtube.com/channel/UCvXtdT5kAsavz662XL7umvg" TargetMode="External"/><Relationship Id="rId4" Type="http://schemas.openxmlformats.org/officeDocument/2006/relationships/image" Target="../media/image2.pn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3.xml"/><Relationship Id="rId4" Type="http://schemas.openxmlformats.org/officeDocument/2006/relationships/image" Target="../media/image2.png"/></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_option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ext Placeholder 16">
            <a:extLst>
              <a:ext uri="{FF2B5EF4-FFF2-40B4-BE49-F238E27FC236}">
                <a16:creationId xmlns:a16="http://schemas.microsoft.com/office/drawing/2014/main" id="{4B172E08-CDCC-2845-9F3E-1B39286DEDFF}"/>
              </a:ext>
            </a:extLst>
          </p:cNvPr>
          <p:cNvSpPr>
            <a:spLocks noGrp="1"/>
          </p:cNvSpPr>
          <p:nvPr>
            <p:ph type="body" sz="quarter" idx="10" hasCustomPrompt="1"/>
          </p:nvPr>
        </p:nvSpPr>
        <p:spPr bwMode="gray">
          <a:xfrm>
            <a:off x="1161225" y="1251522"/>
            <a:ext cx="6369780" cy="648398"/>
          </a:xfrm>
          <a:prstGeom prst="rect">
            <a:avLst/>
          </a:prstGeom>
        </p:spPr>
        <p:txBody>
          <a:bodyPr anchor="b" anchorCtr="0"/>
          <a:lstStyle>
            <a:lvl1pPr marL="0" indent="0">
              <a:lnSpc>
                <a:spcPct val="95000"/>
              </a:lnSpc>
              <a:spcBef>
                <a:spcPts val="0"/>
              </a:spcBef>
              <a:spcAft>
                <a:spcPts val="0"/>
              </a:spcAft>
              <a:buNone/>
              <a:defRPr sz="2400" b="0" i="0">
                <a:solidFill>
                  <a:schemeClr val="bg1"/>
                </a:solidFill>
                <a:latin typeface="+mj-lt"/>
                <a:ea typeface="Roboto" charset="0"/>
                <a:cs typeface="Roboto" charset="0"/>
              </a:defRPr>
            </a:lvl1pPr>
            <a:lvl2pPr marL="457108" indent="0">
              <a:buNone/>
              <a:defRPr/>
            </a:lvl2pPr>
            <a:lvl3pPr marL="914217" indent="0">
              <a:buNone/>
              <a:defRPr/>
            </a:lvl3pPr>
            <a:lvl4pPr marL="1371326" indent="0">
              <a:buNone/>
              <a:defRPr/>
            </a:lvl4pPr>
            <a:lvl5pPr marL="1828435" indent="0">
              <a:buNone/>
              <a:defRPr/>
            </a:lvl5pPr>
          </a:lstStyle>
          <a:p>
            <a:pPr lvl="0"/>
            <a:r>
              <a:rPr lang="en-US" dirty="0"/>
              <a:t>Date Roboto Light 20 Point</a:t>
            </a:r>
          </a:p>
        </p:txBody>
      </p:sp>
      <p:sp>
        <p:nvSpPr>
          <p:cNvPr id="15" name="Text Placeholder 23">
            <a:extLst>
              <a:ext uri="{FF2B5EF4-FFF2-40B4-BE49-F238E27FC236}">
                <a16:creationId xmlns:a16="http://schemas.microsoft.com/office/drawing/2014/main" id="{72E6729F-10D3-874C-B648-888F614371EF}"/>
              </a:ext>
            </a:extLst>
          </p:cNvPr>
          <p:cNvSpPr>
            <a:spLocks noGrp="1"/>
          </p:cNvSpPr>
          <p:nvPr>
            <p:ph type="body" sz="quarter" idx="11" hasCustomPrompt="1"/>
          </p:nvPr>
        </p:nvSpPr>
        <p:spPr bwMode="gray">
          <a:xfrm>
            <a:off x="1161225" y="2629671"/>
            <a:ext cx="9445816" cy="2102713"/>
          </a:xfrm>
          <a:prstGeom prst="rect">
            <a:avLst/>
          </a:prstGeom>
        </p:spPr>
        <p:txBody>
          <a:bodyPr anchor="ctr" anchorCtr="0"/>
          <a:lstStyle>
            <a:lvl1pPr marL="0" indent="0">
              <a:spcBef>
                <a:spcPts val="600"/>
              </a:spcBef>
              <a:buNone/>
              <a:defRPr sz="5400" b="0" i="0">
                <a:solidFill>
                  <a:schemeClr val="bg1"/>
                </a:solidFill>
                <a:latin typeface="+mj-lt"/>
                <a:ea typeface="Roboto Lt" charset="0"/>
                <a:cs typeface="Roboto Lt" charset="0"/>
              </a:defRPr>
            </a:lvl1pPr>
            <a:lvl2pPr marL="457108" indent="0">
              <a:buNone/>
              <a:defRPr/>
            </a:lvl2pPr>
            <a:lvl3pPr marL="914217" indent="0">
              <a:buNone/>
              <a:defRPr/>
            </a:lvl3pPr>
            <a:lvl4pPr marL="1371326" indent="0">
              <a:buNone/>
              <a:defRPr/>
            </a:lvl4pPr>
            <a:lvl5pPr marL="1828435" indent="0">
              <a:buNone/>
              <a:defRPr/>
            </a:lvl5pPr>
          </a:lstStyle>
          <a:p>
            <a:r>
              <a:rPr lang="en-US" dirty="0"/>
              <a:t>Title Goes Here Roboto Light 54 Point</a:t>
            </a:r>
          </a:p>
        </p:txBody>
      </p:sp>
      <p:sp>
        <p:nvSpPr>
          <p:cNvPr id="16" name="Text Placeholder 25">
            <a:extLst>
              <a:ext uri="{FF2B5EF4-FFF2-40B4-BE49-F238E27FC236}">
                <a16:creationId xmlns:a16="http://schemas.microsoft.com/office/drawing/2014/main" id="{646CD88F-0893-474C-8B77-C007ECB6A676}"/>
              </a:ext>
            </a:extLst>
          </p:cNvPr>
          <p:cNvSpPr>
            <a:spLocks noGrp="1"/>
          </p:cNvSpPr>
          <p:nvPr>
            <p:ph type="body" sz="quarter" idx="12" hasCustomPrompt="1"/>
          </p:nvPr>
        </p:nvSpPr>
        <p:spPr bwMode="gray">
          <a:xfrm>
            <a:off x="1161225" y="4908299"/>
            <a:ext cx="6393330" cy="289576"/>
          </a:xfrm>
          <a:prstGeom prst="rect">
            <a:avLst/>
          </a:prstGeom>
        </p:spPr>
        <p:txBody>
          <a:bodyPr/>
          <a:lstStyle>
            <a:lvl1pPr marL="0" indent="0">
              <a:buNone/>
              <a:defRPr b="0" i="0" baseline="0">
                <a:solidFill>
                  <a:schemeClr val="bg1"/>
                </a:solidFill>
                <a:latin typeface="Roboto" charset="0"/>
                <a:ea typeface="Roboto" charset="0"/>
                <a:cs typeface="Roboto" charset="0"/>
              </a:defRPr>
            </a:lvl1pPr>
            <a:lvl2pPr marL="457108" indent="0">
              <a:buNone/>
              <a:defRPr/>
            </a:lvl2pPr>
            <a:lvl3pPr marL="914217" indent="0">
              <a:buNone/>
              <a:defRPr/>
            </a:lvl3pPr>
            <a:lvl4pPr marL="1371326" indent="0">
              <a:buNone/>
              <a:defRPr/>
            </a:lvl4pPr>
            <a:lvl5pPr marL="1828435" indent="0">
              <a:buNone/>
              <a:defRPr/>
            </a:lvl5pPr>
          </a:lstStyle>
          <a:p>
            <a:pPr lvl="0"/>
            <a:r>
              <a:rPr lang="en-US" dirty="0"/>
              <a:t>Speaker Name, Roboto Regular 20 Point</a:t>
            </a:r>
          </a:p>
        </p:txBody>
      </p:sp>
      <p:sp>
        <p:nvSpPr>
          <p:cNvPr id="17" name="Text Placeholder 27">
            <a:extLst>
              <a:ext uri="{FF2B5EF4-FFF2-40B4-BE49-F238E27FC236}">
                <a16:creationId xmlns:a16="http://schemas.microsoft.com/office/drawing/2014/main" id="{2FE02546-0BBB-5E4F-8595-0FEDF2169431}"/>
              </a:ext>
            </a:extLst>
          </p:cNvPr>
          <p:cNvSpPr>
            <a:spLocks noGrp="1"/>
          </p:cNvSpPr>
          <p:nvPr>
            <p:ph type="body" sz="quarter" idx="13" hasCustomPrompt="1"/>
          </p:nvPr>
        </p:nvSpPr>
        <p:spPr bwMode="gray">
          <a:xfrm>
            <a:off x="1161225" y="5294969"/>
            <a:ext cx="6393330" cy="291041"/>
          </a:xfrm>
          <a:prstGeom prst="rect">
            <a:avLst/>
          </a:prstGeom>
        </p:spPr>
        <p:txBody>
          <a:bodyPr/>
          <a:lstStyle>
            <a:lvl1pPr marL="0" indent="0">
              <a:buNone/>
              <a:defRPr i="1" baseline="0">
                <a:solidFill>
                  <a:schemeClr val="bg1"/>
                </a:solidFill>
              </a:defRPr>
            </a:lvl1pPr>
            <a:lvl2pPr marL="457108" indent="0">
              <a:buNone/>
              <a:defRPr/>
            </a:lvl2pPr>
            <a:lvl3pPr marL="914217" indent="0">
              <a:buNone/>
              <a:defRPr/>
            </a:lvl3pPr>
            <a:lvl4pPr marL="1371326" indent="0">
              <a:buNone/>
              <a:defRPr/>
            </a:lvl4pPr>
            <a:lvl5pPr marL="1828435" indent="0">
              <a:buNone/>
              <a:defRPr/>
            </a:lvl5pPr>
          </a:lstStyle>
          <a:p>
            <a:pPr lvl="0"/>
            <a:r>
              <a:rPr lang="en-US" dirty="0"/>
              <a:t>Speaker Title or Email, Roboto Italic 20 Point</a:t>
            </a:r>
          </a:p>
        </p:txBody>
      </p:sp>
      <p:pic>
        <p:nvPicPr>
          <p:cNvPr id="14" name="Picture 13">
            <a:extLst>
              <a:ext uri="{FF2B5EF4-FFF2-40B4-BE49-F238E27FC236}">
                <a16:creationId xmlns:a16="http://schemas.microsoft.com/office/drawing/2014/main" id="{A1640658-5166-E943-BB94-DD403AE23C38}"/>
              </a:ext>
            </a:extLst>
          </p:cNvPr>
          <p:cNvPicPr>
            <a:picLocks noChangeAspect="1"/>
          </p:cNvPicPr>
          <p:nvPr userDrawn="1"/>
        </p:nvPicPr>
        <p:blipFill>
          <a:blip r:embed="rId3"/>
          <a:stretch>
            <a:fillRect/>
          </a:stretch>
        </p:blipFill>
        <p:spPr>
          <a:xfrm>
            <a:off x="9458461" y="6007608"/>
            <a:ext cx="2478024" cy="849901"/>
          </a:xfrm>
          <a:prstGeom prst="rect">
            <a:avLst/>
          </a:prstGeom>
        </p:spPr>
      </p:pic>
      <p:cxnSp>
        <p:nvCxnSpPr>
          <p:cNvPr id="21" name="Straight Connector 20">
            <a:extLst>
              <a:ext uri="{FF2B5EF4-FFF2-40B4-BE49-F238E27FC236}">
                <a16:creationId xmlns:a16="http://schemas.microsoft.com/office/drawing/2014/main" id="{91A2CB74-F2B8-EC4F-891D-D71836D5A4A1}"/>
              </a:ext>
            </a:extLst>
          </p:cNvPr>
          <p:cNvCxnSpPr>
            <a:cxnSpLocks/>
          </p:cNvCxnSpPr>
          <p:nvPr userDrawn="1"/>
        </p:nvCxnSpPr>
        <p:spPr>
          <a:xfrm>
            <a:off x="1173323" y="1956269"/>
            <a:ext cx="42201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1627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Sub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8FA70B36-FD85-46EB-9073-620538C6248E}"/>
              </a:ext>
            </a:extLst>
          </p:cNvPr>
          <p:cNvSpPr txBox="1"/>
          <p:nvPr userDrawn="1"/>
        </p:nvSpPr>
        <p:spPr>
          <a:xfrm>
            <a:off x="176868" y="6365106"/>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900" b="0" i="0" kern="1200" smtClean="0">
                <a:solidFill>
                  <a:schemeClr val="bg1"/>
                </a:solidFill>
                <a:latin typeface="Roboto" charset="0"/>
                <a:ea typeface="Roboto" charset="0"/>
                <a:cs typeface="Roboto" charset="0"/>
              </a:rPr>
              <a:pPr marL="0" lvl="0" algn="ctr" defTabSz="457200" rtl="0" eaLnBrk="1" latinLnBrk="0" hangingPunct="1"/>
              <a:t>‹#›</a:t>
            </a:fld>
            <a:endParaRPr lang="en-US" sz="900" b="0" i="0" kern="1200" dirty="0">
              <a:solidFill>
                <a:schemeClr val="bg1"/>
              </a:solidFill>
              <a:latin typeface="Roboto" charset="0"/>
              <a:ea typeface="Roboto" charset="0"/>
              <a:cs typeface="Roboto" charset="0"/>
            </a:endParaRPr>
          </a:p>
        </p:txBody>
      </p:sp>
      <p:sp>
        <p:nvSpPr>
          <p:cNvPr id="2" name="TextBox 1">
            <a:extLst>
              <a:ext uri="{FF2B5EF4-FFF2-40B4-BE49-F238E27FC236}">
                <a16:creationId xmlns:a16="http://schemas.microsoft.com/office/drawing/2014/main" id="{23179817-899D-4A7E-B58B-236E81BA41DD}"/>
              </a:ext>
            </a:extLst>
          </p:cNvPr>
          <p:cNvSpPr txBox="1"/>
          <p:nvPr userDrawn="1"/>
        </p:nvSpPr>
        <p:spPr>
          <a:xfrm>
            <a:off x="1023708"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dirty="0">
                <a:solidFill>
                  <a:schemeClr val="tx1"/>
                </a:solidFill>
                <a:latin typeface="Roboto" charset="0"/>
                <a:ea typeface="Roboto" charset="0"/>
                <a:cs typeface="Roboto" charset="0"/>
              </a:rPr>
              <a:t>© Informatica. Proprietary and Confidential.</a:t>
            </a:r>
          </a:p>
        </p:txBody>
      </p:sp>
      <p:pic>
        <p:nvPicPr>
          <p:cNvPr id="14" name="Picture 13">
            <a:extLst>
              <a:ext uri="{FF2B5EF4-FFF2-40B4-BE49-F238E27FC236}">
                <a16:creationId xmlns:a16="http://schemas.microsoft.com/office/drawing/2014/main" id="{E3830A18-1BA6-A441-91F2-379D124B21D2}"/>
              </a:ext>
            </a:extLst>
          </p:cNvPr>
          <p:cNvPicPr>
            <a:picLocks noChangeAspect="1"/>
          </p:cNvPicPr>
          <p:nvPr userDrawn="1"/>
        </p:nvPicPr>
        <p:blipFill>
          <a:blip r:embed="rId3"/>
          <a:stretch>
            <a:fillRect/>
          </a:stretch>
        </p:blipFill>
        <p:spPr>
          <a:xfrm>
            <a:off x="9743687" y="6098796"/>
            <a:ext cx="2040934" cy="699990"/>
          </a:xfrm>
          <a:prstGeom prst="rect">
            <a:avLst/>
          </a:prstGeom>
        </p:spPr>
      </p:pic>
      <p:sp>
        <p:nvSpPr>
          <p:cNvPr id="17" name="Title 1">
            <a:extLst>
              <a:ext uri="{FF2B5EF4-FFF2-40B4-BE49-F238E27FC236}">
                <a16:creationId xmlns:a16="http://schemas.microsoft.com/office/drawing/2014/main" id="{B1DF31CE-211F-1F45-9DB1-FDD585834DF4}"/>
              </a:ext>
            </a:extLst>
          </p:cNvPr>
          <p:cNvSpPr>
            <a:spLocks noGrp="1"/>
          </p:cNvSpPr>
          <p:nvPr>
            <p:ph type="title" hasCustomPrompt="1"/>
          </p:nvPr>
        </p:nvSpPr>
        <p:spPr>
          <a:xfrm>
            <a:off x="488950" y="482602"/>
            <a:ext cx="11188700" cy="562427"/>
          </a:xfrm>
          <a:prstGeom prst="rect">
            <a:avLst/>
          </a:prstGeom>
        </p:spPr>
        <p:txBody>
          <a:bodyPr lIns="0"/>
          <a:lstStyle>
            <a:lvl1pPr>
              <a:defRPr baseline="0">
                <a:solidFill>
                  <a:schemeClr val="tx1"/>
                </a:solidFill>
              </a:defRPr>
            </a:lvl1pPr>
          </a:lstStyle>
          <a:p>
            <a:r>
              <a:rPr lang="en-US" dirty="0"/>
              <a:t>Headline Goes Here, Roboto Light, 36 Points, 1 Line</a:t>
            </a:r>
          </a:p>
        </p:txBody>
      </p:sp>
      <p:sp>
        <p:nvSpPr>
          <p:cNvPr id="19" name="Text Placeholder 4">
            <a:extLst>
              <a:ext uri="{FF2B5EF4-FFF2-40B4-BE49-F238E27FC236}">
                <a16:creationId xmlns:a16="http://schemas.microsoft.com/office/drawing/2014/main" id="{2F144117-3EAE-3E46-A106-D053B66494CF}"/>
              </a:ext>
            </a:extLst>
          </p:cNvPr>
          <p:cNvSpPr>
            <a:spLocks noGrp="1"/>
          </p:cNvSpPr>
          <p:nvPr>
            <p:ph type="body" sz="quarter" idx="13" hasCustomPrompt="1"/>
          </p:nvPr>
        </p:nvSpPr>
        <p:spPr>
          <a:xfrm>
            <a:off x="488951" y="1043417"/>
            <a:ext cx="11193296" cy="331601"/>
          </a:xfrm>
        </p:spPr>
        <p:txBody>
          <a:bodyPr anchor="t"/>
          <a:lstStyle>
            <a:lvl1pPr marL="0" indent="0">
              <a:buNone/>
              <a:defRPr sz="2400" i="0">
                <a:solidFill>
                  <a:schemeClr val="bg1">
                    <a:lumMod val="50000"/>
                  </a:schemeClr>
                </a:solidFill>
              </a:defRPr>
            </a:lvl1pPr>
            <a:lvl2pPr marL="169863" indent="0">
              <a:buNone/>
              <a:defRPr/>
            </a:lvl2pPr>
            <a:lvl3pPr marL="344487" indent="0">
              <a:buNone/>
              <a:defRPr/>
            </a:lvl3pPr>
            <a:lvl4pPr marL="458788" indent="0">
              <a:buNone/>
              <a:defRPr/>
            </a:lvl4pPr>
            <a:lvl5pPr marL="630237" indent="0">
              <a:buNone/>
              <a:defRPr/>
            </a:lvl5pPr>
          </a:lstStyle>
          <a:p>
            <a:pPr lvl="0"/>
            <a:r>
              <a:rPr lang="en-US" dirty="0"/>
              <a:t>Subtitle goes here, </a:t>
            </a:r>
            <a:r>
              <a:rPr lang="en-US" dirty="0" err="1"/>
              <a:t>Roboto</a:t>
            </a:r>
            <a:r>
              <a:rPr lang="en-US" dirty="0"/>
              <a:t> Regular 24 point, no longer than one line</a:t>
            </a:r>
          </a:p>
        </p:txBody>
      </p:sp>
    </p:spTree>
    <p:extLst>
      <p:ext uri="{BB962C8B-B14F-4D97-AF65-F5344CB8AC3E}">
        <p14:creationId xmlns:p14="http://schemas.microsoft.com/office/powerpoint/2010/main" val="1349420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Only_Blank+Logo">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D625EBE-6EFB-4A48-B9E9-BB18863DFEC3}"/>
              </a:ext>
            </a:extLst>
          </p:cNvPr>
          <p:cNvSpPr txBox="1"/>
          <p:nvPr userDrawn="1"/>
        </p:nvSpPr>
        <p:spPr>
          <a:xfrm>
            <a:off x="176868" y="6365106"/>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900" b="0" i="0" kern="1200" smtClean="0">
                <a:solidFill>
                  <a:schemeClr val="tx1">
                    <a:lumMod val="20000"/>
                    <a:lumOff val="80000"/>
                  </a:schemeClr>
                </a:solidFill>
                <a:latin typeface="Roboto" panose="02000000000000000000" pitchFamily="2" charset="0"/>
                <a:ea typeface="Roboto" panose="02000000000000000000" pitchFamily="2" charset="0"/>
                <a:cs typeface="Roboto" charset="0"/>
              </a:rPr>
              <a:pPr marL="0" lvl="0" algn="ctr" defTabSz="457200" rtl="0" eaLnBrk="1" latinLnBrk="0" hangingPunct="1"/>
              <a:t>‹#›</a:t>
            </a:fld>
            <a:endParaRPr lang="en-US" sz="900" b="0" i="0" kern="1200">
              <a:solidFill>
                <a:schemeClr val="tx1">
                  <a:lumMod val="20000"/>
                  <a:lumOff val="80000"/>
                </a:schemeClr>
              </a:solidFill>
              <a:latin typeface="Roboto" panose="02000000000000000000" pitchFamily="2" charset="0"/>
              <a:ea typeface="Roboto" panose="02000000000000000000" pitchFamily="2" charset="0"/>
              <a:cs typeface="Roboto" charset="0"/>
            </a:endParaRPr>
          </a:p>
        </p:txBody>
      </p:sp>
      <p:sp>
        <p:nvSpPr>
          <p:cNvPr id="2" name="Title 1"/>
          <p:cNvSpPr>
            <a:spLocks noGrp="1"/>
          </p:cNvSpPr>
          <p:nvPr userDrawn="1">
            <p:ph type="title" hasCustomPrompt="1"/>
          </p:nvPr>
        </p:nvSpPr>
        <p:spPr>
          <a:xfrm>
            <a:off x="488950" y="482602"/>
            <a:ext cx="11188699" cy="1066798"/>
          </a:xfrm>
          <a:prstGeom prst="rect">
            <a:avLst/>
          </a:prstGeom>
        </p:spPr>
        <p:txBody>
          <a:bodyPr lIns="0"/>
          <a:lstStyle>
            <a:lvl1pPr>
              <a:defRPr baseline="0">
                <a:solidFill>
                  <a:schemeClr val="bg1"/>
                </a:solidFill>
              </a:defRPr>
            </a:lvl1pPr>
          </a:lstStyle>
          <a:p>
            <a:r>
              <a:rPr lang="en-US"/>
              <a:t>Headline Goes Here, Roboto Light, 36 Points, Can Span 2 Lines</a:t>
            </a:r>
          </a:p>
        </p:txBody>
      </p:sp>
      <p:sp>
        <p:nvSpPr>
          <p:cNvPr id="3" name="TextBox 2">
            <a:extLst>
              <a:ext uri="{FF2B5EF4-FFF2-40B4-BE49-F238E27FC236}">
                <a16:creationId xmlns:a16="http://schemas.microsoft.com/office/drawing/2014/main" id="{9E4B4709-7C2B-4FD8-9933-DAF4E15383F8}"/>
              </a:ext>
            </a:extLst>
          </p:cNvPr>
          <p:cNvSpPr txBox="1"/>
          <p:nvPr userDrawn="1"/>
        </p:nvSpPr>
        <p:spPr>
          <a:xfrm>
            <a:off x="1023708"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a:solidFill>
                  <a:schemeClr val="tx1">
                    <a:lumMod val="60000"/>
                    <a:lumOff val="40000"/>
                  </a:schemeClr>
                </a:solidFill>
                <a:latin typeface="Roboto" panose="02000000000000000000" pitchFamily="2" charset="0"/>
                <a:ea typeface="Roboto" panose="02000000000000000000" pitchFamily="2" charset="0"/>
                <a:cs typeface="Roboto" charset="0"/>
              </a:rPr>
              <a:t>© Informatica. Proprietary and Confidential.</a:t>
            </a:r>
          </a:p>
        </p:txBody>
      </p:sp>
      <p:pic>
        <p:nvPicPr>
          <p:cNvPr id="8" name="Picture 7">
            <a:extLst>
              <a:ext uri="{FF2B5EF4-FFF2-40B4-BE49-F238E27FC236}">
                <a16:creationId xmlns:a16="http://schemas.microsoft.com/office/drawing/2014/main" id="{F9B15683-6072-4877-B962-2555270CD195}"/>
              </a:ext>
            </a:extLst>
          </p:cNvPr>
          <p:cNvPicPr>
            <a:picLocks noChangeAspect="1"/>
          </p:cNvPicPr>
          <p:nvPr userDrawn="1"/>
        </p:nvPicPr>
        <p:blipFill>
          <a:blip r:embed="rId2"/>
          <a:stretch>
            <a:fillRect/>
          </a:stretch>
        </p:blipFill>
        <p:spPr>
          <a:xfrm>
            <a:off x="9742965" y="6094698"/>
            <a:ext cx="2041656" cy="704088"/>
          </a:xfrm>
          <a:prstGeom prst="rect">
            <a:avLst/>
          </a:prstGeom>
        </p:spPr>
      </p:pic>
    </p:spTree>
    <p:extLst>
      <p:ext uri="{BB962C8B-B14F-4D97-AF65-F5344CB8AC3E}">
        <p14:creationId xmlns:p14="http://schemas.microsoft.com/office/powerpoint/2010/main" val="3872603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Content_option 2">
    <p:spTree>
      <p:nvGrpSpPr>
        <p:cNvPr id="1" name=""/>
        <p:cNvGrpSpPr/>
        <p:nvPr/>
      </p:nvGrpSpPr>
      <p:grpSpPr>
        <a:xfrm>
          <a:off x="0" y="0"/>
          <a:ext cx="0" cy="0"/>
          <a:chOff x="0" y="0"/>
          <a:chExt cx="0" cy="0"/>
        </a:xfrm>
      </p:grpSpPr>
      <p:sp>
        <p:nvSpPr>
          <p:cNvPr id="10" name="Right Triangle 9">
            <a:extLst>
              <a:ext uri="{FF2B5EF4-FFF2-40B4-BE49-F238E27FC236}">
                <a16:creationId xmlns:a16="http://schemas.microsoft.com/office/drawing/2014/main" id="{305657F6-864B-40E2-A0B1-E5E5C88D05EC}"/>
              </a:ext>
            </a:extLst>
          </p:cNvPr>
          <p:cNvSpPr/>
          <p:nvPr userDrawn="1"/>
        </p:nvSpPr>
        <p:spPr>
          <a:xfrm>
            <a:off x="0" y="2761950"/>
            <a:ext cx="702453" cy="4096050"/>
          </a:xfrm>
          <a:prstGeom prst="r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12" name="Right Triangle 11">
            <a:extLst>
              <a:ext uri="{FF2B5EF4-FFF2-40B4-BE49-F238E27FC236}">
                <a16:creationId xmlns:a16="http://schemas.microsoft.com/office/drawing/2014/main" id="{883C04E1-43E6-4A85-BD16-2905CB4D336E}"/>
              </a:ext>
            </a:extLst>
          </p:cNvPr>
          <p:cNvSpPr/>
          <p:nvPr userDrawn="1"/>
        </p:nvSpPr>
        <p:spPr>
          <a:xfrm>
            <a:off x="1" y="2761950"/>
            <a:ext cx="590764" cy="4096050"/>
          </a:xfrm>
          <a:prstGeom prst="rtTriangle">
            <a:avLst/>
          </a:prstGeom>
          <a:gradFill>
            <a:gsLst>
              <a:gs pos="0">
                <a:schemeClr val="accent2"/>
              </a:gs>
              <a:gs pos="76000">
                <a:srgbClr val="FF6500"/>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rIns="137160" bIns="91440" rtlCol="0" anchor="ctr">
            <a:noAutofit/>
          </a:bodyPr>
          <a:lstStyle/>
          <a:p>
            <a:pPr lvl="0"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23" name="TextBox 22">
            <a:extLst>
              <a:ext uri="{FF2B5EF4-FFF2-40B4-BE49-F238E27FC236}">
                <a16:creationId xmlns:a16="http://schemas.microsoft.com/office/drawing/2014/main" id="{BCF260CE-EC9E-49A9-9345-D0C73BFC8564}"/>
              </a:ext>
            </a:extLst>
          </p:cNvPr>
          <p:cNvSpPr txBox="1"/>
          <p:nvPr userDrawn="1"/>
        </p:nvSpPr>
        <p:spPr>
          <a:xfrm>
            <a:off x="176868" y="6365106"/>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900" b="0" i="0" kern="1200" smtClean="0">
                <a:solidFill>
                  <a:schemeClr val="bg1"/>
                </a:solidFill>
                <a:latin typeface="Roboto" panose="02000000000000000000" pitchFamily="2" charset="0"/>
                <a:ea typeface="Roboto" panose="02000000000000000000" pitchFamily="2" charset="0"/>
                <a:cs typeface="Roboto" charset="0"/>
              </a:rPr>
              <a:pPr marL="0" lvl="0" algn="ctr" defTabSz="457200" rtl="0" eaLnBrk="1" latinLnBrk="0" hangingPunct="1"/>
              <a:t>‹#›</a:t>
            </a:fld>
            <a:endParaRPr lang="en-US" sz="900" b="0" i="0" kern="1200">
              <a:solidFill>
                <a:schemeClr val="bg1"/>
              </a:solidFill>
              <a:latin typeface="Roboto" panose="02000000000000000000" pitchFamily="2" charset="0"/>
              <a:ea typeface="Roboto" panose="02000000000000000000" pitchFamily="2" charset="0"/>
              <a:cs typeface="Roboto" charset="0"/>
            </a:endParaRPr>
          </a:p>
        </p:txBody>
      </p:sp>
      <p:sp>
        <p:nvSpPr>
          <p:cNvPr id="3" name="TextBox 2">
            <a:extLst>
              <a:ext uri="{FF2B5EF4-FFF2-40B4-BE49-F238E27FC236}">
                <a16:creationId xmlns:a16="http://schemas.microsoft.com/office/drawing/2014/main" id="{8FE6C657-C7BA-4DE2-8E6E-209687CFF525}"/>
              </a:ext>
            </a:extLst>
          </p:cNvPr>
          <p:cNvSpPr txBox="1"/>
          <p:nvPr userDrawn="1"/>
        </p:nvSpPr>
        <p:spPr>
          <a:xfrm>
            <a:off x="1023708"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a:solidFill>
                  <a:schemeClr val="tx1">
                    <a:lumMod val="60000"/>
                    <a:lumOff val="40000"/>
                  </a:schemeClr>
                </a:solidFill>
                <a:latin typeface="Roboto" panose="02000000000000000000" pitchFamily="2" charset="0"/>
                <a:ea typeface="Roboto" panose="02000000000000000000" pitchFamily="2" charset="0"/>
                <a:cs typeface="Roboto" charset="0"/>
              </a:rPr>
              <a:t>© Informatica. Proprietary and Confidential.</a:t>
            </a:r>
          </a:p>
        </p:txBody>
      </p:sp>
      <p:sp>
        <p:nvSpPr>
          <p:cNvPr id="15" name="Title 1">
            <a:extLst>
              <a:ext uri="{FF2B5EF4-FFF2-40B4-BE49-F238E27FC236}">
                <a16:creationId xmlns:a16="http://schemas.microsoft.com/office/drawing/2014/main" id="{EA9FF02E-07BD-8C42-8DB3-7F3EBA36F422}"/>
              </a:ext>
            </a:extLst>
          </p:cNvPr>
          <p:cNvSpPr>
            <a:spLocks noGrp="1"/>
          </p:cNvSpPr>
          <p:nvPr userDrawn="1">
            <p:ph type="title" hasCustomPrompt="1"/>
          </p:nvPr>
        </p:nvSpPr>
        <p:spPr>
          <a:xfrm>
            <a:off x="493714" y="482602"/>
            <a:ext cx="11188532" cy="562427"/>
          </a:xfrm>
          <a:prstGeom prst="rect">
            <a:avLst/>
          </a:prstGeom>
        </p:spPr>
        <p:txBody>
          <a:bodyPr lIns="0"/>
          <a:lstStyle>
            <a:lvl1pPr>
              <a:defRPr baseline="0">
                <a:solidFill>
                  <a:schemeClr val="bg1"/>
                </a:solidFill>
              </a:defRPr>
            </a:lvl1pPr>
          </a:lstStyle>
          <a:p>
            <a:r>
              <a:rPr lang="en-US"/>
              <a:t>Headline Goes Here, Roboto Light, 36 Points, Can Span 2 Lines</a:t>
            </a:r>
          </a:p>
        </p:txBody>
      </p:sp>
      <p:pic>
        <p:nvPicPr>
          <p:cNvPr id="9" name="Picture 8">
            <a:extLst>
              <a:ext uri="{FF2B5EF4-FFF2-40B4-BE49-F238E27FC236}">
                <a16:creationId xmlns:a16="http://schemas.microsoft.com/office/drawing/2014/main" id="{AD7BC26A-261D-884F-A9D2-61B266D20938}"/>
              </a:ext>
            </a:extLst>
          </p:cNvPr>
          <p:cNvPicPr>
            <a:picLocks noChangeAspect="1"/>
          </p:cNvPicPr>
          <p:nvPr userDrawn="1"/>
        </p:nvPicPr>
        <p:blipFill>
          <a:blip r:embed="rId2"/>
          <a:srcRect/>
          <a:stretch/>
        </p:blipFill>
        <p:spPr>
          <a:xfrm>
            <a:off x="9747647" y="6098796"/>
            <a:ext cx="2033013" cy="699990"/>
          </a:xfrm>
          <a:prstGeom prst="rect">
            <a:avLst/>
          </a:prstGeom>
        </p:spPr>
      </p:pic>
      <p:sp>
        <p:nvSpPr>
          <p:cNvPr id="13" name="Content Placeholder 5">
            <a:extLst>
              <a:ext uri="{FF2B5EF4-FFF2-40B4-BE49-F238E27FC236}">
                <a16:creationId xmlns:a16="http://schemas.microsoft.com/office/drawing/2014/main" id="{94D1F131-29E3-D441-9CBA-0FEDB6502D42}"/>
              </a:ext>
            </a:extLst>
          </p:cNvPr>
          <p:cNvSpPr>
            <a:spLocks noGrp="1"/>
          </p:cNvSpPr>
          <p:nvPr>
            <p:ph sz="quarter" idx="14" hasCustomPrompt="1"/>
          </p:nvPr>
        </p:nvSpPr>
        <p:spPr>
          <a:xfrm>
            <a:off x="934125" y="1854200"/>
            <a:ext cx="10650537" cy="4165600"/>
          </a:xfrm>
          <a:prstGeom prst="rect">
            <a:avLst/>
          </a:prstGeom>
        </p:spPr>
        <p:txBody>
          <a:bodyPr vert="horz" lIns="0" tIns="0" rIns="0" bIns="0" rtlCol="0">
            <a:noAutofit/>
          </a:bodyPr>
          <a:lstStyle>
            <a:lvl1pPr>
              <a:spcBef>
                <a:spcPts val="1200"/>
              </a:spcBef>
              <a:defRPr lang="en-US" dirty="0">
                <a:latin typeface="Roboto" panose="02000000000000000000" pitchFamily="2" charset="0"/>
                <a:ea typeface="Roboto" panose="02000000000000000000" pitchFamily="2" charset="0"/>
              </a:defRPr>
            </a:lvl1pPr>
            <a:lvl2pPr>
              <a:spcBef>
                <a:spcPts val="600"/>
              </a:spcBef>
              <a:defRPr lang="en-US" dirty="0">
                <a:latin typeface="Roboto" panose="02000000000000000000" pitchFamily="2" charset="0"/>
                <a:ea typeface="Roboto" panose="02000000000000000000" pitchFamily="2" charset="0"/>
              </a:defRPr>
            </a:lvl2pPr>
            <a:lvl3pPr>
              <a:spcBef>
                <a:spcPts val="600"/>
              </a:spcBef>
              <a:defRPr lang="en-US" dirty="0">
                <a:latin typeface="Roboto" panose="02000000000000000000" pitchFamily="2" charset="0"/>
                <a:ea typeface="Roboto" panose="02000000000000000000" pitchFamily="2" charset="0"/>
              </a:defRPr>
            </a:lvl3pPr>
          </a:lstStyle>
          <a:p>
            <a:pPr lvl="0"/>
            <a:r>
              <a:rPr lang="en-US"/>
              <a:t>First bullet, Roboto Regular 20 point</a:t>
            </a:r>
          </a:p>
          <a:p>
            <a:pPr lvl="1"/>
            <a:r>
              <a:rPr lang="en-US"/>
              <a:t>Second bullet, </a:t>
            </a:r>
            <a:r>
              <a:rPr lang="en-US" err="1"/>
              <a:t>Roboto</a:t>
            </a:r>
            <a:r>
              <a:rPr lang="en-US"/>
              <a:t> Regular 18 point</a:t>
            </a:r>
          </a:p>
          <a:p>
            <a:pPr lvl="2"/>
            <a:r>
              <a:rPr lang="en-US"/>
              <a:t>Third bullet, </a:t>
            </a:r>
            <a:r>
              <a:rPr lang="en-US" err="1"/>
              <a:t>Roboto</a:t>
            </a:r>
            <a:r>
              <a:rPr lang="en-US"/>
              <a:t> Regular 16 point</a:t>
            </a:r>
          </a:p>
        </p:txBody>
      </p:sp>
    </p:spTree>
    <p:extLst>
      <p:ext uri="{BB962C8B-B14F-4D97-AF65-F5344CB8AC3E}">
        <p14:creationId xmlns:p14="http://schemas.microsoft.com/office/powerpoint/2010/main" val="1848333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Content No Corner/Logo DARK">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494340A0-560A-4547-9570-D5F0A59ED648}"/>
              </a:ext>
            </a:extLst>
          </p:cNvPr>
          <p:cNvSpPr>
            <a:spLocks noGrp="1"/>
          </p:cNvSpPr>
          <p:nvPr>
            <p:ph type="title" hasCustomPrompt="1"/>
          </p:nvPr>
        </p:nvSpPr>
        <p:spPr>
          <a:xfrm>
            <a:off x="493714" y="482602"/>
            <a:ext cx="11188532" cy="562427"/>
          </a:xfrm>
          <a:prstGeom prst="rect">
            <a:avLst/>
          </a:prstGeom>
        </p:spPr>
        <p:txBody>
          <a:bodyPr lIns="0"/>
          <a:lstStyle>
            <a:lvl1pPr>
              <a:defRPr baseline="0">
                <a:solidFill>
                  <a:schemeClr val="bg1"/>
                </a:solidFill>
              </a:defRPr>
            </a:lvl1pPr>
          </a:lstStyle>
          <a:p>
            <a:r>
              <a:rPr lang="en-US"/>
              <a:t>Headline Goes Here, Roboto Light, 36 Points, Can Span 2 Lines</a:t>
            </a:r>
          </a:p>
        </p:txBody>
      </p:sp>
      <p:sp>
        <p:nvSpPr>
          <p:cNvPr id="7" name="TextBox 6">
            <a:extLst>
              <a:ext uri="{FF2B5EF4-FFF2-40B4-BE49-F238E27FC236}">
                <a16:creationId xmlns:a16="http://schemas.microsoft.com/office/drawing/2014/main" id="{8CC97F05-09BC-4E73-930D-6A839EE9C6AC}"/>
              </a:ext>
            </a:extLst>
          </p:cNvPr>
          <p:cNvSpPr txBox="1"/>
          <p:nvPr userDrawn="1"/>
        </p:nvSpPr>
        <p:spPr>
          <a:xfrm>
            <a:off x="176868" y="6365106"/>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900" b="0" i="0" kern="1200" smtClean="0">
                <a:solidFill>
                  <a:schemeClr val="tx1">
                    <a:lumMod val="20000"/>
                    <a:lumOff val="80000"/>
                  </a:schemeClr>
                </a:solidFill>
                <a:latin typeface="Roboto" panose="02000000000000000000" pitchFamily="2" charset="0"/>
                <a:ea typeface="Roboto" panose="02000000000000000000" pitchFamily="2" charset="0"/>
                <a:cs typeface="Roboto" charset="0"/>
              </a:rPr>
              <a:pPr marL="0" lvl="0" algn="ctr" defTabSz="457200" rtl="0" eaLnBrk="1" latinLnBrk="0" hangingPunct="1"/>
              <a:t>‹#›</a:t>
            </a:fld>
            <a:endParaRPr lang="en-US" sz="900" b="0" i="0" kern="1200">
              <a:solidFill>
                <a:schemeClr val="tx1">
                  <a:lumMod val="20000"/>
                  <a:lumOff val="80000"/>
                </a:schemeClr>
              </a:solidFill>
              <a:latin typeface="Roboto" panose="02000000000000000000" pitchFamily="2" charset="0"/>
              <a:ea typeface="Roboto" panose="02000000000000000000" pitchFamily="2" charset="0"/>
              <a:cs typeface="Roboto" charset="0"/>
            </a:endParaRPr>
          </a:p>
        </p:txBody>
      </p:sp>
      <p:sp>
        <p:nvSpPr>
          <p:cNvPr id="8" name="TextBox 7">
            <a:extLst>
              <a:ext uri="{FF2B5EF4-FFF2-40B4-BE49-F238E27FC236}">
                <a16:creationId xmlns:a16="http://schemas.microsoft.com/office/drawing/2014/main" id="{0638C255-6912-45B3-B5C8-F8DD0C6CACED}"/>
              </a:ext>
            </a:extLst>
          </p:cNvPr>
          <p:cNvSpPr txBox="1"/>
          <p:nvPr userDrawn="1"/>
        </p:nvSpPr>
        <p:spPr>
          <a:xfrm>
            <a:off x="1023708"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a:solidFill>
                  <a:schemeClr val="tx1">
                    <a:lumMod val="60000"/>
                    <a:lumOff val="40000"/>
                  </a:schemeClr>
                </a:solidFill>
                <a:latin typeface="Roboto" panose="02000000000000000000" pitchFamily="2" charset="0"/>
                <a:ea typeface="Roboto" panose="02000000000000000000" pitchFamily="2" charset="0"/>
                <a:cs typeface="Roboto" charset="0"/>
              </a:rPr>
              <a:t>© Informatica. Proprietary and Confidential.</a:t>
            </a:r>
          </a:p>
        </p:txBody>
      </p:sp>
      <p:sp>
        <p:nvSpPr>
          <p:cNvPr id="10" name="Content Placeholder 5">
            <a:extLst>
              <a:ext uri="{FF2B5EF4-FFF2-40B4-BE49-F238E27FC236}">
                <a16:creationId xmlns:a16="http://schemas.microsoft.com/office/drawing/2014/main" id="{A91D8C56-AEFD-BE42-A4DC-D7B05306987F}"/>
              </a:ext>
            </a:extLst>
          </p:cNvPr>
          <p:cNvSpPr>
            <a:spLocks noGrp="1"/>
          </p:cNvSpPr>
          <p:nvPr>
            <p:ph sz="quarter" idx="14" hasCustomPrompt="1"/>
          </p:nvPr>
        </p:nvSpPr>
        <p:spPr>
          <a:xfrm>
            <a:off x="934125" y="1854200"/>
            <a:ext cx="10650537" cy="4165600"/>
          </a:xfrm>
          <a:prstGeom prst="rect">
            <a:avLst/>
          </a:prstGeom>
        </p:spPr>
        <p:txBody>
          <a:bodyPr vert="horz" lIns="0" tIns="0" rIns="0" bIns="0" rtlCol="0">
            <a:noAutofit/>
          </a:bodyPr>
          <a:lstStyle>
            <a:lvl1pPr>
              <a:spcBef>
                <a:spcPts val="1200"/>
              </a:spcBef>
              <a:defRPr lang="en-US" dirty="0">
                <a:latin typeface="Roboto" panose="02000000000000000000" pitchFamily="2" charset="0"/>
                <a:ea typeface="Roboto" panose="02000000000000000000" pitchFamily="2" charset="0"/>
              </a:defRPr>
            </a:lvl1pPr>
            <a:lvl2pPr>
              <a:spcBef>
                <a:spcPts val="600"/>
              </a:spcBef>
              <a:defRPr lang="en-US" dirty="0">
                <a:latin typeface="Roboto" panose="02000000000000000000" pitchFamily="2" charset="0"/>
                <a:ea typeface="Roboto" panose="02000000000000000000" pitchFamily="2" charset="0"/>
              </a:defRPr>
            </a:lvl2pPr>
            <a:lvl3pPr>
              <a:spcBef>
                <a:spcPts val="600"/>
              </a:spcBef>
              <a:defRPr lang="en-US" dirty="0">
                <a:latin typeface="Roboto" panose="02000000000000000000" pitchFamily="2" charset="0"/>
                <a:ea typeface="Roboto" panose="02000000000000000000" pitchFamily="2" charset="0"/>
              </a:defRPr>
            </a:lvl3pPr>
          </a:lstStyle>
          <a:p>
            <a:pPr lvl="0"/>
            <a:r>
              <a:rPr lang="en-US"/>
              <a:t>First bullet, Roboto Regular 20 point</a:t>
            </a:r>
          </a:p>
          <a:p>
            <a:pPr lvl="1"/>
            <a:r>
              <a:rPr lang="en-US"/>
              <a:t>Second bullet, </a:t>
            </a:r>
            <a:r>
              <a:rPr lang="en-US" err="1"/>
              <a:t>Roboto</a:t>
            </a:r>
            <a:r>
              <a:rPr lang="en-US"/>
              <a:t> Regular 18 point</a:t>
            </a:r>
          </a:p>
          <a:p>
            <a:pPr lvl="2"/>
            <a:r>
              <a:rPr lang="en-US"/>
              <a:t>Third bullet, </a:t>
            </a:r>
            <a:r>
              <a:rPr lang="en-US" err="1"/>
              <a:t>Roboto</a:t>
            </a:r>
            <a:r>
              <a:rPr lang="en-US"/>
              <a:t> Regular 16 point</a:t>
            </a:r>
          </a:p>
        </p:txBody>
      </p:sp>
    </p:spTree>
    <p:extLst>
      <p:ext uri="{BB962C8B-B14F-4D97-AF65-F5344CB8AC3E}">
        <p14:creationId xmlns:p14="http://schemas.microsoft.com/office/powerpoint/2010/main" val="2440521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Content_option 3">
    <p:spTree>
      <p:nvGrpSpPr>
        <p:cNvPr id="1" name=""/>
        <p:cNvGrpSpPr/>
        <p:nvPr/>
      </p:nvGrpSpPr>
      <p:grpSpPr>
        <a:xfrm>
          <a:off x="0" y="0"/>
          <a:ext cx="0" cy="0"/>
          <a:chOff x="0" y="0"/>
          <a:chExt cx="0" cy="0"/>
        </a:xfrm>
      </p:grpSpPr>
      <p:sp>
        <p:nvSpPr>
          <p:cNvPr id="23" name="TextBox 22">
            <a:extLst>
              <a:ext uri="{FF2B5EF4-FFF2-40B4-BE49-F238E27FC236}">
                <a16:creationId xmlns:a16="http://schemas.microsoft.com/office/drawing/2014/main" id="{BCF260CE-EC9E-49A9-9345-D0C73BFC8564}"/>
              </a:ext>
            </a:extLst>
          </p:cNvPr>
          <p:cNvSpPr txBox="1"/>
          <p:nvPr userDrawn="1"/>
        </p:nvSpPr>
        <p:spPr>
          <a:xfrm>
            <a:off x="176868" y="6365106"/>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900" b="0" i="0" kern="1200" smtClean="0">
                <a:solidFill>
                  <a:schemeClr val="tx1">
                    <a:lumMod val="20000"/>
                    <a:lumOff val="80000"/>
                  </a:schemeClr>
                </a:solidFill>
                <a:latin typeface="Roboto" panose="02000000000000000000" pitchFamily="2" charset="0"/>
                <a:ea typeface="Roboto" panose="02000000000000000000" pitchFamily="2" charset="0"/>
                <a:cs typeface="Roboto" charset="0"/>
              </a:rPr>
              <a:pPr marL="0" lvl="0" algn="ctr" defTabSz="457200" rtl="0" eaLnBrk="1" latinLnBrk="0" hangingPunct="1"/>
              <a:t>‹#›</a:t>
            </a:fld>
            <a:endParaRPr lang="en-US" sz="900" b="0" i="0" kern="1200">
              <a:solidFill>
                <a:schemeClr val="tx1">
                  <a:lumMod val="20000"/>
                  <a:lumOff val="80000"/>
                </a:schemeClr>
              </a:solidFill>
              <a:latin typeface="Roboto" panose="02000000000000000000" pitchFamily="2" charset="0"/>
              <a:ea typeface="Roboto" panose="02000000000000000000" pitchFamily="2" charset="0"/>
              <a:cs typeface="Roboto" charset="0"/>
            </a:endParaRPr>
          </a:p>
        </p:txBody>
      </p:sp>
      <p:sp>
        <p:nvSpPr>
          <p:cNvPr id="3" name="TextBox 2">
            <a:extLst>
              <a:ext uri="{FF2B5EF4-FFF2-40B4-BE49-F238E27FC236}">
                <a16:creationId xmlns:a16="http://schemas.microsoft.com/office/drawing/2014/main" id="{8FE6C657-C7BA-4DE2-8E6E-209687CFF525}"/>
              </a:ext>
            </a:extLst>
          </p:cNvPr>
          <p:cNvSpPr txBox="1"/>
          <p:nvPr userDrawn="1"/>
        </p:nvSpPr>
        <p:spPr>
          <a:xfrm>
            <a:off x="1023708"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a:solidFill>
                  <a:schemeClr val="tx1">
                    <a:lumMod val="60000"/>
                    <a:lumOff val="40000"/>
                  </a:schemeClr>
                </a:solidFill>
                <a:latin typeface="Roboto" panose="02000000000000000000" pitchFamily="2" charset="0"/>
                <a:ea typeface="Roboto" panose="02000000000000000000" pitchFamily="2" charset="0"/>
                <a:cs typeface="Roboto" charset="0"/>
              </a:rPr>
              <a:t>© Informatica. Proprietary and Confidential.</a:t>
            </a:r>
          </a:p>
        </p:txBody>
      </p:sp>
      <p:sp>
        <p:nvSpPr>
          <p:cNvPr id="15" name="Title 1">
            <a:extLst>
              <a:ext uri="{FF2B5EF4-FFF2-40B4-BE49-F238E27FC236}">
                <a16:creationId xmlns:a16="http://schemas.microsoft.com/office/drawing/2014/main" id="{EA9FF02E-07BD-8C42-8DB3-7F3EBA36F422}"/>
              </a:ext>
            </a:extLst>
          </p:cNvPr>
          <p:cNvSpPr>
            <a:spLocks noGrp="1"/>
          </p:cNvSpPr>
          <p:nvPr>
            <p:ph type="title" hasCustomPrompt="1"/>
          </p:nvPr>
        </p:nvSpPr>
        <p:spPr>
          <a:xfrm>
            <a:off x="493714" y="482602"/>
            <a:ext cx="11188532" cy="562427"/>
          </a:xfrm>
          <a:prstGeom prst="rect">
            <a:avLst/>
          </a:prstGeom>
        </p:spPr>
        <p:txBody>
          <a:bodyPr lIns="0"/>
          <a:lstStyle>
            <a:lvl1pPr>
              <a:defRPr baseline="0">
                <a:solidFill>
                  <a:schemeClr val="bg1"/>
                </a:solidFill>
              </a:defRPr>
            </a:lvl1pPr>
          </a:lstStyle>
          <a:p>
            <a:r>
              <a:rPr lang="en-US"/>
              <a:t>Headline Goes Here, Roboto Light, 36 Points, Can Span 2 Lines</a:t>
            </a:r>
          </a:p>
        </p:txBody>
      </p:sp>
      <p:pic>
        <p:nvPicPr>
          <p:cNvPr id="9" name="Picture 8">
            <a:extLst>
              <a:ext uri="{FF2B5EF4-FFF2-40B4-BE49-F238E27FC236}">
                <a16:creationId xmlns:a16="http://schemas.microsoft.com/office/drawing/2014/main" id="{AD7BC26A-261D-884F-A9D2-61B266D20938}"/>
              </a:ext>
            </a:extLst>
          </p:cNvPr>
          <p:cNvPicPr>
            <a:picLocks noChangeAspect="1"/>
          </p:cNvPicPr>
          <p:nvPr userDrawn="1"/>
        </p:nvPicPr>
        <p:blipFill>
          <a:blip r:embed="rId2"/>
          <a:srcRect/>
          <a:stretch/>
        </p:blipFill>
        <p:spPr>
          <a:xfrm>
            <a:off x="9747647" y="6098796"/>
            <a:ext cx="2033013" cy="699990"/>
          </a:xfrm>
          <a:prstGeom prst="rect">
            <a:avLst/>
          </a:prstGeom>
        </p:spPr>
      </p:pic>
      <p:sp>
        <p:nvSpPr>
          <p:cNvPr id="8" name="Content Placeholder 5">
            <a:extLst>
              <a:ext uri="{FF2B5EF4-FFF2-40B4-BE49-F238E27FC236}">
                <a16:creationId xmlns:a16="http://schemas.microsoft.com/office/drawing/2014/main" id="{DED3E5F5-D822-2649-A909-BE0A5F74CE65}"/>
              </a:ext>
            </a:extLst>
          </p:cNvPr>
          <p:cNvSpPr>
            <a:spLocks noGrp="1"/>
          </p:cNvSpPr>
          <p:nvPr>
            <p:ph sz="quarter" idx="14" hasCustomPrompt="1"/>
          </p:nvPr>
        </p:nvSpPr>
        <p:spPr>
          <a:xfrm>
            <a:off x="934125" y="1854200"/>
            <a:ext cx="10650537" cy="4165600"/>
          </a:xfrm>
          <a:prstGeom prst="rect">
            <a:avLst/>
          </a:prstGeom>
        </p:spPr>
        <p:txBody>
          <a:bodyPr vert="horz" lIns="0" tIns="0" rIns="0" bIns="0" rtlCol="0">
            <a:noAutofit/>
          </a:bodyPr>
          <a:lstStyle>
            <a:lvl1pPr>
              <a:spcBef>
                <a:spcPts val="1200"/>
              </a:spcBef>
              <a:defRPr lang="en-US" dirty="0">
                <a:latin typeface="Roboto" panose="02000000000000000000" pitchFamily="2" charset="0"/>
                <a:ea typeface="Roboto" panose="02000000000000000000" pitchFamily="2" charset="0"/>
              </a:defRPr>
            </a:lvl1pPr>
            <a:lvl2pPr>
              <a:spcBef>
                <a:spcPts val="600"/>
              </a:spcBef>
              <a:defRPr lang="en-US" dirty="0">
                <a:latin typeface="Roboto" panose="02000000000000000000" pitchFamily="2" charset="0"/>
                <a:ea typeface="Roboto" panose="02000000000000000000" pitchFamily="2" charset="0"/>
              </a:defRPr>
            </a:lvl2pPr>
            <a:lvl3pPr>
              <a:spcBef>
                <a:spcPts val="600"/>
              </a:spcBef>
              <a:defRPr lang="en-US" dirty="0">
                <a:latin typeface="Roboto" panose="02000000000000000000" pitchFamily="2" charset="0"/>
                <a:ea typeface="Roboto" panose="02000000000000000000" pitchFamily="2" charset="0"/>
              </a:defRPr>
            </a:lvl3pPr>
          </a:lstStyle>
          <a:p>
            <a:pPr lvl="0"/>
            <a:r>
              <a:rPr lang="en-US"/>
              <a:t>First bullet, Roboto Regular 20 point</a:t>
            </a:r>
          </a:p>
          <a:p>
            <a:pPr lvl="1"/>
            <a:r>
              <a:rPr lang="en-US"/>
              <a:t>Second bullet, </a:t>
            </a:r>
            <a:r>
              <a:rPr lang="en-US" err="1"/>
              <a:t>Roboto</a:t>
            </a:r>
            <a:r>
              <a:rPr lang="en-US"/>
              <a:t> Regular 18 point</a:t>
            </a:r>
          </a:p>
          <a:p>
            <a:pPr lvl="2"/>
            <a:r>
              <a:rPr lang="en-US"/>
              <a:t>Third bullet, </a:t>
            </a:r>
            <a:r>
              <a:rPr lang="en-US" err="1"/>
              <a:t>Roboto</a:t>
            </a:r>
            <a:r>
              <a:rPr lang="en-US"/>
              <a:t> Regular 16 point</a:t>
            </a:r>
          </a:p>
        </p:txBody>
      </p:sp>
    </p:spTree>
    <p:extLst>
      <p:ext uri="{BB962C8B-B14F-4D97-AF65-F5344CB8AC3E}">
        <p14:creationId xmlns:p14="http://schemas.microsoft.com/office/powerpoint/2010/main" val="1889292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Subtitle ORANGE 1">
    <p:bg>
      <p:bgPr>
        <a:solidFill>
          <a:schemeClr val="accent2"/>
        </a:solidFill>
        <a:effectLst/>
      </p:bgPr>
    </p:bg>
    <p:spTree>
      <p:nvGrpSpPr>
        <p:cNvPr id="1" name=""/>
        <p:cNvGrpSpPr/>
        <p:nvPr/>
      </p:nvGrpSpPr>
      <p:grpSpPr>
        <a:xfrm>
          <a:off x="0" y="0"/>
          <a:ext cx="0" cy="0"/>
          <a:chOff x="0" y="0"/>
          <a:chExt cx="0" cy="0"/>
        </a:xfrm>
      </p:grpSpPr>
      <p:sp>
        <p:nvSpPr>
          <p:cNvPr id="8" name="Right Triangle 7">
            <a:extLst>
              <a:ext uri="{FF2B5EF4-FFF2-40B4-BE49-F238E27FC236}">
                <a16:creationId xmlns:a16="http://schemas.microsoft.com/office/drawing/2014/main" id="{669F07CB-6CE7-9244-9FCC-C8B28C951A65}"/>
              </a:ext>
            </a:extLst>
          </p:cNvPr>
          <p:cNvSpPr/>
          <p:nvPr userDrawn="1"/>
        </p:nvSpPr>
        <p:spPr>
          <a:xfrm rot="5400000" flipH="1">
            <a:off x="3831485" y="912771"/>
            <a:ext cx="2123832" cy="9786801"/>
          </a:xfrm>
          <a:prstGeom prst="rtTriangle">
            <a:avLst/>
          </a:prstGeom>
          <a:solidFill>
            <a:srgbClr val="FF8A1A"/>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95" name="Title 1">
            <a:extLst>
              <a:ext uri="{FF2B5EF4-FFF2-40B4-BE49-F238E27FC236}">
                <a16:creationId xmlns:a16="http://schemas.microsoft.com/office/drawing/2014/main" id="{48E5717B-9E58-49D2-9749-1479F91EEFDC}"/>
              </a:ext>
            </a:extLst>
          </p:cNvPr>
          <p:cNvSpPr>
            <a:spLocks noGrp="1"/>
          </p:cNvSpPr>
          <p:nvPr userDrawn="1">
            <p:ph type="title" hasCustomPrompt="1"/>
          </p:nvPr>
        </p:nvSpPr>
        <p:spPr>
          <a:xfrm>
            <a:off x="488950" y="482602"/>
            <a:ext cx="9670033" cy="562427"/>
          </a:xfrm>
          <a:prstGeom prst="rect">
            <a:avLst/>
          </a:prstGeom>
        </p:spPr>
        <p:txBody>
          <a:bodyPr lIns="0"/>
          <a:lstStyle>
            <a:lvl1pPr>
              <a:defRPr baseline="0">
                <a:solidFill>
                  <a:schemeClr val="bg1"/>
                </a:solidFill>
              </a:defRPr>
            </a:lvl1pPr>
          </a:lstStyle>
          <a:p>
            <a:r>
              <a:rPr lang="en-US"/>
              <a:t>Roboto Light, 36 Points, 1 Line</a:t>
            </a:r>
          </a:p>
        </p:txBody>
      </p:sp>
      <p:sp>
        <p:nvSpPr>
          <p:cNvPr id="2" name="TextBox 1">
            <a:extLst>
              <a:ext uri="{FF2B5EF4-FFF2-40B4-BE49-F238E27FC236}">
                <a16:creationId xmlns:a16="http://schemas.microsoft.com/office/drawing/2014/main" id="{9AC38ECF-A1CC-43FD-9E95-4F7D1897BA7B}"/>
              </a:ext>
            </a:extLst>
          </p:cNvPr>
          <p:cNvSpPr txBox="1"/>
          <p:nvPr userDrawn="1"/>
        </p:nvSpPr>
        <p:spPr>
          <a:xfrm>
            <a:off x="176868" y="6365106"/>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900" b="0" i="0" kern="1200" smtClean="0">
                <a:solidFill>
                  <a:schemeClr val="bg1"/>
                </a:solidFill>
                <a:latin typeface="Roboto" panose="02000000000000000000" pitchFamily="2" charset="0"/>
                <a:ea typeface="Roboto" panose="02000000000000000000" pitchFamily="2" charset="0"/>
                <a:cs typeface="Roboto" charset="0"/>
              </a:rPr>
              <a:pPr marL="0" lvl="0" algn="ctr" defTabSz="457200" rtl="0" eaLnBrk="1" latinLnBrk="0" hangingPunct="1"/>
              <a:t>‹#›</a:t>
            </a:fld>
            <a:endParaRPr lang="en-US" sz="900" b="0" i="0" kern="1200">
              <a:solidFill>
                <a:schemeClr val="bg1"/>
              </a:solidFill>
              <a:latin typeface="Roboto" panose="02000000000000000000" pitchFamily="2" charset="0"/>
              <a:ea typeface="Roboto" panose="02000000000000000000" pitchFamily="2" charset="0"/>
              <a:cs typeface="Roboto" charset="0"/>
            </a:endParaRPr>
          </a:p>
        </p:txBody>
      </p:sp>
      <p:sp>
        <p:nvSpPr>
          <p:cNvPr id="6" name="TextBox 5">
            <a:extLst>
              <a:ext uri="{FF2B5EF4-FFF2-40B4-BE49-F238E27FC236}">
                <a16:creationId xmlns:a16="http://schemas.microsoft.com/office/drawing/2014/main" id="{52025EE9-C26E-4F56-B597-3021BADF9185}"/>
              </a:ext>
            </a:extLst>
          </p:cNvPr>
          <p:cNvSpPr txBox="1"/>
          <p:nvPr userDrawn="1"/>
        </p:nvSpPr>
        <p:spPr>
          <a:xfrm>
            <a:off x="1023708"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a:solidFill>
                  <a:schemeClr val="bg1"/>
                </a:solidFill>
                <a:latin typeface="Roboto" panose="02000000000000000000" pitchFamily="2" charset="0"/>
                <a:ea typeface="Roboto" panose="02000000000000000000" pitchFamily="2" charset="0"/>
                <a:cs typeface="Roboto" charset="0"/>
              </a:rPr>
              <a:t>© Informatica. Proprietary and Confidential.</a:t>
            </a:r>
          </a:p>
        </p:txBody>
      </p:sp>
      <p:sp>
        <p:nvSpPr>
          <p:cNvPr id="12" name="Right Triangle 11">
            <a:extLst>
              <a:ext uri="{FF2B5EF4-FFF2-40B4-BE49-F238E27FC236}">
                <a16:creationId xmlns:a16="http://schemas.microsoft.com/office/drawing/2014/main" id="{8C0DFA46-A4E3-BE4B-A31A-9C5F2A9F4CC4}"/>
              </a:ext>
            </a:extLst>
          </p:cNvPr>
          <p:cNvSpPr/>
          <p:nvPr userDrawn="1"/>
        </p:nvSpPr>
        <p:spPr>
          <a:xfrm rot="5400000" flipH="1" flipV="1">
            <a:off x="8079706" y="2758965"/>
            <a:ext cx="2123830" cy="6094413"/>
          </a:xfrm>
          <a:prstGeom prst="r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13" name="Right Triangle 12">
            <a:extLst>
              <a:ext uri="{FF2B5EF4-FFF2-40B4-BE49-F238E27FC236}">
                <a16:creationId xmlns:a16="http://schemas.microsoft.com/office/drawing/2014/main" id="{C645F251-41CA-1946-A312-E71DF4CB94F7}"/>
              </a:ext>
            </a:extLst>
          </p:cNvPr>
          <p:cNvSpPr/>
          <p:nvPr userDrawn="1"/>
        </p:nvSpPr>
        <p:spPr>
          <a:xfrm rot="5400000" flipH="1" flipV="1">
            <a:off x="8199800" y="2879061"/>
            <a:ext cx="1883641" cy="6094413"/>
          </a:xfrm>
          <a:prstGeom prst="rtTriangle">
            <a:avLst/>
          </a:prstGeom>
          <a:solidFill>
            <a:srgbClr val="070606"/>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pic>
        <p:nvPicPr>
          <p:cNvPr id="16" name="Picture 15">
            <a:extLst>
              <a:ext uri="{FF2B5EF4-FFF2-40B4-BE49-F238E27FC236}">
                <a16:creationId xmlns:a16="http://schemas.microsoft.com/office/drawing/2014/main" id="{F29DC8F1-D155-A04E-A1DF-0741A96BCDBD}"/>
              </a:ext>
            </a:extLst>
          </p:cNvPr>
          <p:cNvPicPr>
            <a:picLocks noChangeAspect="1"/>
          </p:cNvPicPr>
          <p:nvPr userDrawn="1"/>
        </p:nvPicPr>
        <p:blipFill>
          <a:blip r:embed="rId2"/>
          <a:stretch>
            <a:fillRect/>
          </a:stretch>
        </p:blipFill>
        <p:spPr>
          <a:xfrm>
            <a:off x="9742965" y="6094698"/>
            <a:ext cx="2041656" cy="704088"/>
          </a:xfrm>
          <a:prstGeom prst="rect">
            <a:avLst/>
          </a:prstGeom>
        </p:spPr>
      </p:pic>
      <p:sp>
        <p:nvSpPr>
          <p:cNvPr id="11" name="Text Placeholder 4">
            <a:extLst>
              <a:ext uri="{FF2B5EF4-FFF2-40B4-BE49-F238E27FC236}">
                <a16:creationId xmlns:a16="http://schemas.microsoft.com/office/drawing/2014/main" id="{9C16CCB3-7DB5-D145-B13C-1E1945A4D41C}"/>
              </a:ext>
            </a:extLst>
          </p:cNvPr>
          <p:cNvSpPr>
            <a:spLocks noGrp="1"/>
          </p:cNvSpPr>
          <p:nvPr>
            <p:ph type="body" sz="quarter" idx="13" hasCustomPrompt="1"/>
          </p:nvPr>
        </p:nvSpPr>
        <p:spPr>
          <a:xfrm>
            <a:off x="493714" y="1058899"/>
            <a:ext cx="9692640" cy="331601"/>
          </a:xfrm>
          <a:prstGeom prst="rect">
            <a:avLst/>
          </a:prstGeom>
        </p:spPr>
        <p:txBody>
          <a:bodyPr lIns="0" anchor="t"/>
          <a:lstStyle>
            <a:lvl1pPr marL="0" indent="0">
              <a:buNone/>
              <a:defRPr sz="2400" i="0">
                <a:solidFill>
                  <a:schemeClr val="bg1"/>
                </a:solidFill>
                <a:latin typeface="Roboto" panose="02000000000000000000" pitchFamily="2" charset="0"/>
                <a:ea typeface="Roboto" panose="02000000000000000000" pitchFamily="2" charset="0"/>
              </a:defRPr>
            </a:lvl1pPr>
            <a:lvl2pPr marL="169863" indent="0">
              <a:buNone/>
              <a:defRPr/>
            </a:lvl2pPr>
            <a:lvl3pPr marL="344487" indent="0">
              <a:buNone/>
              <a:defRPr/>
            </a:lvl3pPr>
            <a:lvl4pPr marL="458788" indent="0">
              <a:buNone/>
              <a:defRPr/>
            </a:lvl4pPr>
            <a:lvl5pPr marL="630237" indent="0">
              <a:buNone/>
              <a:defRPr/>
            </a:lvl5pPr>
          </a:lstStyle>
          <a:p>
            <a:pPr lvl="0"/>
            <a:r>
              <a:rPr lang="en-US"/>
              <a:t>Subtitle goes here, </a:t>
            </a:r>
            <a:r>
              <a:rPr lang="en-US" err="1"/>
              <a:t>Roboto</a:t>
            </a:r>
            <a:r>
              <a:rPr lang="en-US"/>
              <a:t> Regular 24 point, no longer than one line</a:t>
            </a:r>
          </a:p>
        </p:txBody>
      </p:sp>
    </p:spTree>
    <p:extLst>
      <p:ext uri="{BB962C8B-B14F-4D97-AF65-F5344CB8AC3E}">
        <p14:creationId xmlns:p14="http://schemas.microsoft.com/office/powerpoint/2010/main" val="1831770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DARK">
    <p:spTree>
      <p:nvGrpSpPr>
        <p:cNvPr id="1" name=""/>
        <p:cNvGrpSpPr/>
        <p:nvPr/>
      </p:nvGrpSpPr>
      <p:grpSpPr>
        <a:xfrm>
          <a:off x="0" y="0"/>
          <a:ext cx="0" cy="0"/>
          <a:chOff x="0" y="0"/>
          <a:chExt cx="0" cy="0"/>
        </a:xfrm>
      </p:grpSpPr>
      <p:sp>
        <p:nvSpPr>
          <p:cNvPr id="7" name="Right Triangle 6">
            <a:extLst>
              <a:ext uri="{FF2B5EF4-FFF2-40B4-BE49-F238E27FC236}">
                <a16:creationId xmlns:a16="http://schemas.microsoft.com/office/drawing/2014/main" id="{AEA81D97-3134-482F-8B85-DBAD6E963C4A}"/>
              </a:ext>
            </a:extLst>
          </p:cNvPr>
          <p:cNvSpPr/>
          <p:nvPr userDrawn="1"/>
        </p:nvSpPr>
        <p:spPr>
          <a:xfrm>
            <a:off x="0" y="2761950"/>
            <a:ext cx="702453" cy="4096050"/>
          </a:xfrm>
          <a:prstGeom prst="r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3" name="TextBox 2">
            <a:extLst>
              <a:ext uri="{FF2B5EF4-FFF2-40B4-BE49-F238E27FC236}">
                <a16:creationId xmlns:a16="http://schemas.microsoft.com/office/drawing/2014/main" id="{9E4B4709-7C2B-4FD8-9933-DAF4E15383F8}"/>
              </a:ext>
            </a:extLst>
          </p:cNvPr>
          <p:cNvSpPr txBox="1"/>
          <p:nvPr userDrawn="1"/>
        </p:nvSpPr>
        <p:spPr>
          <a:xfrm>
            <a:off x="1023708"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a:solidFill>
                  <a:schemeClr val="tx1">
                    <a:lumMod val="60000"/>
                    <a:lumOff val="40000"/>
                  </a:schemeClr>
                </a:solidFill>
                <a:latin typeface="Roboto" panose="02000000000000000000" pitchFamily="2" charset="0"/>
                <a:ea typeface="Roboto" panose="02000000000000000000" pitchFamily="2" charset="0"/>
                <a:cs typeface="Roboto" charset="0"/>
              </a:rPr>
              <a:t>© Informatica. Proprietary and Confidential.</a:t>
            </a:r>
          </a:p>
        </p:txBody>
      </p:sp>
      <p:pic>
        <p:nvPicPr>
          <p:cNvPr id="8" name="Picture 7">
            <a:extLst>
              <a:ext uri="{FF2B5EF4-FFF2-40B4-BE49-F238E27FC236}">
                <a16:creationId xmlns:a16="http://schemas.microsoft.com/office/drawing/2014/main" id="{F9B15683-6072-4877-B962-2555270CD195}"/>
              </a:ext>
            </a:extLst>
          </p:cNvPr>
          <p:cNvPicPr>
            <a:picLocks noChangeAspect="1"/>
          </p:cNvPicPr>
          <p:nvPr userDrawn="1"/>
        </p:nvPicPr>
        <p:blipFill>
          <a:blip r:embed="rId2"/>
          <a:stretch>
            <a:fillRect/>
          </a:stretch>
        </p:blipFill>
        <p:spPr>
          <a:xfrm>
            <a:off x="9742965" y="6094698"/>
            <a:ext cx="2041656" cy="704088"/>
          </a:xfrm>
          <a:prstGeom prst="rect">
            <a:avLst/>
          </a:prstGeom>
        </p:spPr>
      </p:pic>
      <p:sp>
        <p:nvSpPr>
          <p:cNvPr id="10" name="Right Triangle 9">
            <a:extLst>
              <a:ext uri="{FF2B5EF4-FFF2-40B4-BE49-F238E27FC236}">
                <a16:creationId xmlns:a16="http://schemas.microsoft.com/office/drawing/2014/main" id="{F3323126-CA08-4244-A95C-D79788E99143}"/>
              </a:ext>
            </a:extLst>
          </p:cNvPr>
          <p:cNvSpPr/>
          <p:nvPr userDrawn="1"/>
        </p:nvSpPr>
        <p:spPr>
          <a:xfrm>
            <a:off x="1" y="2761950"/>
            <a:ext cx="590764" cy="4096050"/>
          </a:xfrm>
          <a:prstGeom prst="rtTriangle">
            <a:avLst/>
          </a:prstGeom>
          <a:gradFill>
            <a:gsLst>
              <a:gs pos="0">
                <a:schemeClr val="accent2"/>
              </a:gs>
              <a:gs pos="76000">
                <a:srgbClr val="FF6500"/>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rIns="137160" bIns="91440" rtlCol="0" anchor="ctr">
            <a:noAutofit/>
          </a:bodyPr>
          <a:lstStyle/>
          <a:p>
            <a:pPr lvl="0"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5" name="TextBox 4">
            <a:extLst>
              <a:ext uri="{FF2B5EF4-FFF2-40B4-BE49-F238E27FC236}">
                <a16:creationId xmlns:a16="http://schemas.microsoft.com/office/drawing/2014/main" id="{3D625EBE-6EFB-4A48-B9E9-BB18863DFEC3}"/>
              </a:ext>
            </a:extLst>
          </p:cNvPr>
          <p:cNvSpPr txBox="1"/>
          <p:nvPr userDrawn="1"/>
        </p:nvSpPr>
        <p:spPr>
          <a:xfrm>
            <a:off x="176868" y="6365106"/>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900" b="0" i="0" kern="1200" smtClean="0">
                <a:solidFill>
                  <a:schemeClr val="bg1"/>
                </a:solidFill>
                <a:latin typeface="Roboto" panose="02000000000000000000" pitchFamily="2" charset="0"/>
                <a:ea typeface="Roboto" panose="02000000000000000000" pitchFamily="2" charset="0"/>
                <a:cs typeface="Roboto" charset="0"/>
              </a:rPr>
              <a:pPr marL="0" lvl="0" algn="ctr" defTabSz="457200" rtl="0" eaLnBrk="1" latinLnBrk="0" hangingPunct="1"/>
              <a:t>‹#›</a:t>
            </a:fld>
            <a:endParaRPr lang="en-US" sz="900" b="0" i="0" kern="1200">
              <a:solidFill>
                <a:schemeClr val="bg1"/>
              </a:solidFill>
              <a:latin typeface="Roboto" panose="02000000000000000000" pitchFamily="2" charset="0"/>
              <a:ea typeface="Roboto" panose="02000000000000000000" pitchFamily="2" charset="0"/>
              <a:cs typeface="Roboto" charset="0"/>
            </a:endParaRPr>
          </a:p>
        </p:txBody>
      </p:sp>
    </p:spTree>
    <p:extLst>
      <p:ext uri="{BB962C8B-B14F-4D97-AF65-F5344CB8AC3E}">
        <p14:creationId xmlns:p14="http://schemas.microsoft.com/office/powerpoint/2010/main" val="182314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w/ clouds">
    <p:spTree>
      <p:nvGrpSpPr>
        <p:cNvPr id="1" name=""/>
        <p:cNvGrpSpPr/>
        <p:nvPr/>
      </p:nvGrpSpPr>
      <p:grpSpPr>
        <a:xfrm>
          <a:off x="0" y="0"/>
          <a:ext cx="0" cy="0"/>
          <a:chOff x="0" y="0"/>
          <a:chExt cx="0" cy="0"/>
        </a:xfrm>
      </p:grpSpPr>
      <p:sp>
        <p:nvSpPr>
          <p:cNvPr id="7" name="Freeform 6">
            <a:extLst>
              <a:ext uri="{FF2B5EF4-FFF2-40B4-BE49-F238E27FC236}">
                <a16:creationId xmlns:a16="http://schemas.microsoft.com/office/drawing/2014/main" id="{37D64DD1-13FA-0945-A691-2EB35B59E3E3}"/>
              </a:ext>
            </a:extLst>
          </p:cNvPr>
          <p:cNvSpPr/>
          <p:nvPr userDrawn="1"/>
        </p:nvSpPr>
        <p:spPr>
          <a:xfrm>
            <a:off x="7407017" y="4547198"/>
            <a:ext cx="4785372" cy="2310802"/>
          </a:xfrm>
          <a:custGeom>
            <a:avLst/>
            <a:gdLst>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16268 w 4717029"/>
              <a:gd name="connsiteY12" fmla="*/ 1924881 h 2310802"/>
              <a:gd name="connsiteX13" fmla="*/ 537304 w 4717029"/>
              <a:gd name="connsiteY13" fmla="*/ 1927002 h 2310802"/>
              <a:gd name="connsiteX14" fmla="*/ 555320 w 4717029"/>
              <a:gd name="connsiteY14" fmla="*/ 1748290 h 2310802"/>
              <a:gd name="connsiteX15" fmla="*/ 1458267 w 4717029"/>
              <a:gd name="connsiteY15" fmla="*/ 1012367 h 2310802"/>
              <a:gd name="connsiteX16" fmla="*/ 2307510 w 4717029"/>
              <a:gd name="connsiteY16" fmla="*/ 1575283 h 2310802"/>
              <a:gd name="connsiteX17" fmla="*/ 2359658 w 4717029"/>
              <a:gd name="connsiteY17" fmla="*/ 1743278 h 2310802"/>
              <a:gd name="connsiteX18" fmla="*/ 2697671 w 4717029"/>
              <a:gd name="connsiteY18" fmla="*/ 1743278 h 2310802"/>
              <a:gd name="connsiteX19" fmla="*/ 2691684 w 4717029"/>
              <a:gd name="connsiteY19" fmla="*/ 1683894 h 2310802"/>
              <a:gd name="connsiteX20" fmla="*/ 3479644 w 4717029"/>
              <a:gd name="connsiteY20" fmla="*/ 895934 h 2310802"/>
              <a:gd name="connsiteX21" fmla="*/ 3555657 w 4717029"/>
              <a:gd name="connsiteY21" fmla="*/ 899772 h 2310802"/>
              <a:gd name="connsiteX22" fmla="*/ 3556684 w 4717029"/>
              <a:gd name="connsiteY22" fmla="*/ 889585 h 2310802"/>
              <a:gd name="connsiteX23" fmla="*/ 4648168 w 4717029"/>
              <a:gd name="connsiteY23"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16268 w 4717029"/>
              <a:gd name="connsiteY12" fmla="*/ 1924881 h 2310802"/>
              <a:gd name="connsiteX13" fmla="*/ 555320 w 4717029"/>
              <a:gd name="connsiteY13" fmla="*/ 1748290 h 2310802"/>
              <a:gd name="connsiteX14" fmla="*/ 1458267 w 4717029"/>
              <a:gd name="connsiteY14" fmla="*/ 1012367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55320 w 4717029"/>
              <a:gd name="connsiteY13" fmla="*/ 1748290 h 2310802"/>
              <a:gd name="connsiteX14" fmla="*/ 1458267 w 4717029"/>
              <a:gd name="connsiteY14" fmla="*/ 1012367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55320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55320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55320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73608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73608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73608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479620 w 4717029"/>
              <a:gd name="connsiteY14" fmla="*/ 1020114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6903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76504 w 4745365"/>
              <a:gd name="connsiteY0" fmla="*/ 0 h 2310802"/>
              <a:gd name="connsiteX1" fmla="*/ 4745365 w 4745365"/>
              <a:gd name="connsiteY1" fmla="*/ 3477 h 2310802"/>
              <a:gd name="connsiteX2" fmla="*/ 4745365 w 4745365"/>
              <a:gd name="connsiteY2" fmla="*/ 2224761 h 2310802"/>
              <a:gd name="connsiteX3" fmla="*/ 4676504 w 4745365"/>
              <a:gd name="connsiteY3" fmla="*/ 2228238 h 2310802"/>
              <a:gd name="connsiteX4" fmla="*/ 4193487 w 4745365"/>
              <a:gd name="connsiteY4" fmla="*/ 2118374 h 2310802"/>
              <a:gd name="connsiteX5" fmla="*/ 4171520 w 4745365"/>
              <a:gd name="connsiteY5" fmla="*/ 2105748 h 2310802"/>
              <a:gd name="connsiteX6" fmla="*/ 4161369 w 4745365"/>
              <a:gd name="connsiteY6" fmla="*/ 2124450 h 2310802"/>
              <a:gd name="connsiteX7" fmla="*/ 4065152 w 4745365"/>
              <a:gd name="connsiteY7" fmla="*/ 2241066 h 2310802"/>
              <a:gd name="connsiteX8" fmla="*/ 3986221 w 4745365"/>
              <a:gd name="connsiteY8" fmla="*/ 2306190 h 2310802"/>
              <a:gd name="connsiteX9" fmla="*/ 3986221 w 4745365"/>
              <a:gd name="connsiteY9" fmla="*/ 2310802 h 2310802"/>
              <a:gd name="connsiteX10" fmla="*/ 0 w 4745365"/>
              <a:gd name="connsiteY10" fmla="*/ 2310802 h 2310802"/>
              <a:gd name="connsiteX11" fmla="*/ 45422 w 4745365"/>
              <a:gd name="connsiteY11" fmla="*/ 2255761 h 2310802"/>
              <a:gd name="connsiteX12" fmla="*/ 551119 w 4745365"/>
              <a:gd name="connsiteY12" fmla="*/ 1890083 h 2310802"/>
              <a:gd name="connsiteX13" fmla="*/ 575332 w 4745365"/>
              <a:gd name="connsiteY13" fmla="*/ 1748290 h 2310802"/>
              <a:gd name="connsiteX14" fmla="*/ 1504807 w 4745365"/>
              <a:gd name="connsiteY14" fmla="*/ 1035989 h 2310802"/>
              <a:gd name="connsiteX15" fmla="*/ 2335846 w 4745365"/>
              <a:gd name="connsiteY15" fmla="*/ 1575283 h 2310802"/>
              <a:gd name="connsiteX16" fmla="*/ 2387994 w 4745365"/>
              <a:gd name="connsiteY16" fmla="*/ 1743278 h 2310802"/>
              <a:gd name="connsiteX17" fmla="*/ 2726007 w 4745365"/>
              <a:gd name="connsiteY17" fmla="*/ 1743278 h 2310802"/>
              <a:gd name="connsiteX18" fmla="*/ 2720020 w 4745365"/>
              <a:gd name="connsiteY18" fmla="*/ 1683894 h 2310802"/>
              <a:gd name="connsiteX19" fmla="*/ 3507980 w 4745365"/>
              <a:gd name="connsiteY19" fmla="*/ 895934 h 2310802"/>
              <a:gd name="connsiteX20" fmla="*/ 3583993 w 4745365"/>
              <a:gd name="connsiteY20" fmla="*/ 899772 h 2310802"/>
              <a:gd name="connsiteX21" fmla="*/ 3585020 w 4745365"/>
              <a:gd name="connsiteY21" fmla="*/ 889585 h 2310802"/>
              <a:gd name="connsiteX22" fmla="*/ 4676504 w 4745365"/>
              <a:gd name="connsiteY22" fmla="*/ 0 h 2310802"/>
              <a:gd name="connsiteX0" fmla="*/ 4676504 w 4745365"/>
              <a:gd name="connsiteY0" fmla="*/ 0 h 2310802"/>
              <a:gd name="connsiteX1" fmla="*/ 4745365 w 4745365"/>
              <a:gd name="connsiteY1" fmla="*/ 3477 h 2310802"/>
              <a:gd name="connsiteX2" fmla="*/ 4745365 w 4745365"/>
              <a:gd name="connsiteY2" fmla="*/ 2224761 h 2310802"/>
              <a:gd name="connsiteX3" fmla="*/ 4676504 w 4745365"/>
              <a:gd name="connsiteY3" fmla="*/ 2228238 h 2310802"/>
              <a:gd name="connsiteX4" fmla="*/ 4193487 w 4745365"/>
              <a:gd name="connsiteY4" fmla="*/ 2118374 h 2310802"/>
              <a:gd name="connsiteX5" fmla="*/ 4171520 w 4745365"/>
              <a:gd name="connsiteY5" fmla="*/ 2105748 h 2310802"/>
              <a:gd name="connsiteX6" fmla="*/ 4161369 w 4745365"/>
              <a:gd name="connsiteY6" fmla="*/ 2124450 h 2310802"/>
              <a:gd name="connsiteX7" fmla="*/ 4065152 w 4745365"/>
              <a:gd name="connsiteY7" fmla="*/ 2241066 h 2310802"/>
              <a:gd name="connsiteX8" fmla="*/ 3986221 w 4745365"/>
              <a:gd name="connsiteY8" fmla="*/ 2306190 h 2310802"/>
              <a:gd name="connsiteX9" fmla="*/ 3986221 w 4745365"/>
              <a:gd name="connsiteY9" fmla="*/ 2310802 h 2310802"/>
              <a:gd name="connsiteX10" fmla="*/ 0 w 4745365"/>
              <a:gd name="connsiteY10" fmla="*/ 2310802 h 2310802"/>
              <a:gd name="connsiteX11" fmla="*/ 35977 w 4745365"/>
              <a:gd name="connsiteY11" fmla="*/ 2249411 h 2310802"/>
              <a:gd name="connsiteX12" fmla="*/ 551119 w 4745365"/>
              <a:gd name="connsiteY12" fmla="*/ 1890083 h 2310802"/>
              <a:gd name="connsiteX13" fmla="*/ 575332 w 4745365"/>
              <a:gd name="connsiteY13" fmla="*/ 1748290 h 2310802"/>
              <a:gd name="connsiteX14" fmla="*/ 1504807 w 4745365"/>
              <a:gd name="connsiteY14" fmla="*/ 1035989 h 2310802"/>
              <a:gd name="connsiteX15" fmla="*/ 2335846 w 4745365"/>
              <a:gd name="connsiteY15" fmla="*/ 1575283 h 2310802"/>
              <a:gd name="connsiteX16" fmla="*/ 2387994 w 4745365"/>
              <a:gd name="connsiteY16" fmla="*/ 1743278 h 2310802"/>
              <a:gd name="connsiteX17" fmla="*/ 2726007 w 4745365"/>
              <a:gd name="connsiteY17" fmla="*/ 1743278 h 2310802"/>
              <a:gd name="connsiteX18" fmla="*/ 2720020 w 4745365"/>
              <a:gd name="connsiteY18" fmla="*/ 1683894 h 2310802"/>
              <a:gd name="connsiteX19" fmla="*/ 3507980 w 4745365"/>
              <a:gd name="connsiteY19" fmla="*/ 895934 h 2310802"/>
              <a:gd name="connsiteX20" fmla="*/ 3583993 w 4745365"/>
              <a:gd name="connsiteY20" fmla="*/ 899772 h 2310802"/>
              <a:gd name="connsiteX21" fmla="*/ 3585020 w 4745365"/>
              <a:gd name="connsiteY21" fmla="*/ 889585 h 2310802"/>
              <a:gd name="connsiteX22" fmla="*/ 4676504 w 4745365"/>
              <a:gd name="connsiteY22" fmla="*/ 0 h 2310802"/>
              <a:gd name="connsiteX0" fmla="*/ 4676504 w 4745365"/>
              <a:gd name="connsiteY0" fmla="*/ 0 h 2310802"/>
              <a:gd name="connsiteX1" fmla="*/ 4745365 w 4745365"/>
              <a:gd name="connsiteY1" fmla="*/ 3477 h 2310802"/>
              <a:gd name="connsiteX2" fmla="*/ 4745365 w 4745365"/>
              <a:gd name="connsiteY2" fmla="*/ 2224761 h 2310802"/>
              <a:gd name="connsiteX3" fmla="*/ 4676504 w 4745365"/>
              <a:gd name="connsiteY3" fmla="*/ 2228238 h 2310802"/>
              <a:gd name="connsiteX4" fmla="*/ 4193487 w 4745365"/>
              <a:gd name="connsiteY4" fmla="*/ 2118374 h 2310802"/>
              <a:gd name="connsiteX5" fmla="*/ 4171520 w 4745365"/>
              <a:gd name="connsiteY5" fmla="*/ 2105748 h 2310802"/>
              <a:gd name="connsiteX6" fmla="*/ 4161369 w 4745365"/>
              <a:gd name="connsiteY6" fmla="*/ 2124450 h 2310802"/>
              <a:gd name="connsiteX7" fmla="*/ 4065152 w 4745365"/>
              <a:gd name="connsiteY7" fmla="*/ 2241066 h 2310802"/>
              <a:gd name="connsiteX8" fmla="*/ 3986221 w 4745365"/>
              <a:gd name="connsiteY8" fmla="*/ 2306190 h 2310802"/>
              <a:gd name="connsiteX9" fmla="*/ 3986221 w 4745365"/>
              <a:gd name="connsiteY9" fmla="*/ 2310802 h 2310802"/>
              <a:gd name="connsiteX10" fmla="*/ 0 w 4745365"/>
              <a:gd name="connsiteY10" fmla="*/ 2310802 h 2310802"/>
              <a:gd name="connsiteX11" fmla="*/ 35977 w 4745365"/>
              <a:gd name="connsiteY11" fmla="*/ 2249411 h 2310802"/>
              <a:gd name="connsiteX12" fmla="*/ 551119 w 4745365"/>
              <a:gd name="connsiteY12" fmla="*/ 1890083 h 2310802"/>
              <a:gd name="connsiteX13" fmla="*/ 575332 w 4745365"/>
              <a:gd name="connsiteY13" fmla="*/ 1748290 h 2310802"/>
              <a:gd name="connsiteX14" fmla="*/ 1504807 w 4745365"/>
              <a:gd name="connsiteY14" fmla="*/ 1035989 h 2310802"/>
              <a:gd name="connsiteX15" fmla="*/ 2335846 w 4745365"/>
              <a:gd name="connsiteY15" fmla="*/ 1575283 h 2310802"/>
              <a:gd name="connsiteX16" fmla="*/ 2387994 w 4745365"/>
              <a:gd name="connsiteY16" fmla="*/ 1743278 h 2310802"/>
              <a:gd name="connsiteX17" fmla="*/ 2726007 w 4745365"/>
              <a:gd name="connsiteY17" fmla="*/ 1743278 h 2310802"/>
              <a:gd name="connsiteX18" fmla="*/ 2720020 w 4745365"/>
              <a:gd name="connsiteY18" fmla="*/ 1683894 h 2310802"/>
              <a:gd name="connsiteX19" fmla="*/ 3507980 w 4745365"/>
              <a:gd name="connsiteY19" fmla="*/ 895934 h 2310802"/>
              <a:gd name="connsiteX20" fmla="*/ 3583993 w 4745365"/>
              <a:gd name="connsiteY20" fmla="*/ 899772 h 2310802"/>
              <a:gd name="connsiteX21" fmla="*/ 3585020 w 4745365"/>
              <a:gd name="connsiteY21" fmla="*/ 889585 h 2310802"/>
              <a:gd name="connsiteX22" fmla="*/ 4676504 w 4745365"/>
              <a:gd name="connsiteY22" fmla="*/ 0 h 2310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45365" h="2310802">
                <a:moveTo>
                  <a:pt x="4676504" y="0"/>
                </a:moveTo>
                <a:lnTo>
                  <a:pt x="4745365" y="3477"/>
                </a:lnTo>
                <a:lnTo>
                  <a:pt x="4745365" y="2224761"/>
                </a:lnTo>
                <a:lnTo>
                  <a:pt x="4676504" y="2228238"/>
                </a:lnTo>
                <a:cubicBezTo>
                  <a:pt x="4503447" y="2228238"/>
                  <a:pt x="4339607" y="2188782"/>
                  <a:pt x="4193487" y="2118374"/>
                </a:cubicBezTo>
                <a:lnTo>
                  <a:pt x="4171520" y="2105748"/>
                </a:lnTo>
                <a:lnTo>
                  <a:pt x="4161369" y="2124450"/>
                </a:lnTo>
                <a:cubicBezTo>
                  <a:pt x="4133048" y="2166370"/>
                  <a:pt x="4100800" y="2205418"/>
                  <a:pt x="4065152" y="2241066"/>
                </a:cubicBezTo>
                <a:lnTo>
                  <a:pt x="3986221" y="2306190"/>
                </a:lnTo>
                <a:lnTo>
                  <a:pt x="3986221" y="2310802"/>
                </a:lnTo>
                <a:lnTo>
                  <a:pt x="0" y="2310802"/>
                </a:lnTo>
                <a:lnTo>
                  <a:pt x="35977" y="2249411"/>
                </a:lnTo>
                <a:cubicBezTo>
                  <a:pt x="146556" y="2054967"/>
                  <a:pt x="326716" y="1890083"/>
                  <a:pt x="551119" y="1890083"/>
                </a:cubicBezTo>
                <a:cubicBezTo>
                  <a:pt x="553569" y="1819535"/>
                  <a:pt x="576031" y="1793438"/>
                  <a:pt x="575332" y="1748290"/>
                </a:cubicBezTo>
                <a:cubicBezTo>
                  <a:pt x="699055" y="1334650"/>
                  <a:pt x="1082288" y="1035078"/>
                  <a:pt x="1504807" y="1035989"/>
                </a:cubicBezTo>
                <a:cubicBezTo>
                  <a:pt x="1865747" y="1036767"/>
                  <a:pt x="2195928" y="1244481"/>
                  <a:pt x="2335846" y="1575283"/>
                </a:cubicBezTo>
                <a:lnTo>
                  <a:pt x="2387994" y="1743278"/>
                </a:lnTo>
                <a:lnTo>
                  <a:pt x="2726007" y="1743278"/>
                </a:lnTo>
                <a:lnTo>
                  <a:pt x="2720020" y="1683894"/>
                </a:lnTo>
                <a:cubicBezTo>
                  <a:pt x="2720020" y="1248716"/>
                  <a:pt x="3072802" y="895934"/>
                  <a:pt x="3507980" y="895934"/>
                </a:cubicBezTo>
                <a:lnTo>
                  <a:pt x="3583993" y="899772"/>
                </a:lnTo>
                <a:cubicBezTo>
                  <a:pt x="3584335" y="896376"/>
                  <a:pt x="3584678" y="892981"/>
                  <a:pt x="3585020" y="889585"/>
                </a:cubicBezTo>
                <a:cubicBezTo>
                  <a:pt x="3688907" y="381900"/>
                  <a:pt x="4138107" y="0"/>
                  <a:pt x="467650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rIns="137160" bIns="91440" rtlCol="0" anchor="ctr">
            <a:noAutofit/>
          </a:bodyP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9" name="Freeform 8">
            <a:extLst>
              <a:ext uri="{FF2B5EF4-FFF2-40B4-BE49-F238E27FC236}">
                <a16:creationId xmlns:a16="http://schemas.microsoft.com/office/drawing/2014/main" id="{B9F3D152-7B4C-7246-81AF-EC41C2C2E771}"/>
              </a:ext>
            </a:extLst>
          </p:cNvPr>
          <p:cNvSpPr/>
          <p:nvPr userDrawn="1"/>
        </p:nvSpPr>
        <p:spPr>
          <a:xfrm>
            <a:off x="7727999" y="4675235"/>
            <a:ext cx="4461444" cy="2182765"/>
          </a:xfrm>
          <a:custGeom>
            <a:avLst/>
            <a:gdLst>
              <a:gd name="connsiteX0" fmla="*/ 4461444 w 4461444"/>
              <a:gd name="connsiteY0" fmla="*/ 0 h 2182765"/>
              <a:gd name="connsiteX1" fmla="*/ 4461444 w 4461444"/>
              <a:gd name="connsiteY1" fmla="*/ 2182765 h 2182765"/>
              <a:gd name="connsiteX2" fmla="*/ 0 w 4461444"/>
              <a:gd name="connsiteY2" fmla="*/ 2182765 h 2182765"/>
              <a:gd name="connsiteX3" fmla="*/ 24342 w 4461444"/>
              <a:gd name="connsiteY3" fmla="*/ 2153263 h 2182765"/>
              <a:gd name="connsiteX4" fmla="*/ 481037 w 4461444"/>
              <a:gd name="connsiteY4" fmla="*/ 1964093 h 2182765"/>
              <a:gd name="connsiteX5" fmla="*/ 732436 w 4461444"/>
              <a:gd name="connsiteY5" fmla="*/ 2014848 h 2182765"/>
              <a:gd name="connsiteX6" fmla="*/ 787285 w 4461444"/>
              <a:gd name="connsiteY6" fmla="*/ 2044619 h 2182765"/>
              <a:gd name="connsiteX7" fmla="*/ 809805 w 4461444"/>
              <a:gd name="connsiteY7" fmla="*/ 1961250 h 2182765"/>
              <a:gd name="connsiteX8" fmla="*/ 1286315 w 4461444"/>
              <a:gd name="connsiteY8" fmla="*/ 1550577 h 2182765"/>
              <a:gd name="connsiteX9" fmla="*/ 1321466 w 4461444"/>
              <a:gd name="connsiteY9" fmla="*/ 1547033 h 2182765"/>
              <a:gd name="connsiteX10" fmla="*/ 1323271 w 4461444"/>
              <a:gd name="connsiteY10" fmla="*/ 1529127 h 2182765"/>
              <a:gd name="connsiteX11" fmla="*/ 2205095 w 4461444"/>
              <a:gd name="connsiteY11" fmla="*/ 810420 h 2182765"/>
              <a:gd name="connsiteX12" fmla="*/ 2708356 w 4461444"/>
              <a:gd name="connsiteY12" fmla="*/ 964145 h 2182765"/>
              <a:gd name="connsiteX13" fmla="*/ 2798296 w 4461444"/>
              <a:gd name="connsiteY13" fmla="*/ 1038353 h 2182765"/>
              <a:gd name="connsiteX14" fmla="*/ 2868637 w 4461444"/>
              <a:gd name="connsiteY14" fmla="*/ 1020266 h 2182765"/>
              <a:gd name="connsiteX15" fmla="*/ 3050041 w 4461444"/>
              <a:gd name="connsiteY15" fmla="*/ 1001979 h 2182765"/>
              <a:gd name="connsiteX16" fmla="*/ 3231445 w 4461444"/>
              <a:gd name="connsiteY16" fmla="*/ 1020266 h 2182765"/>
              <a:gd name="connsiteX17" fmla="*/ 3245588 w 4461444"/>
              <a:gd name="connsiteY17" fmla="*/ 1023903 h 2182765"/>
              <a:gd name="connsiteX18" fmla="*/ 3297823 w 4461444"/>
              <a:gd name="connsiteY18" fmla="*/ 960592 h 2182765"/>
              <a:gd name="connsiteX19" fmla="*/ 3934298 w 4461444"/>
              <a:gd name="connsiteY19" fmla="*/ 696956 h 2182765"/>
              <a:gd name="connsiteX20" fmla="*/ 4115702 w 4461444"/>
              <a:gd name="connsiteY20" fmla="*/ 715243 h 2182765"/>
              <a:gd name="connsiteX21" fmla="*/ 4127211 w 4461444"/>
              <a:gd name="connsiteY21" fmla="*/ 718203 h 2182765"/>
              <a:gd name="connsiteX22" fmla="*/ 4126073 w 4461444"/>
              <a:gd name="connsiteY22" fmla="*/ 695661 h 2182765"/>
              <a:gd name="connsiteX23" fmla="*/ 4389709 w 4461444"/>
              <a:gd name="connsiteY23" fmla="*/ 59186 h 2182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461444" h="2182765">
                <a:moveTo>
                  <a:pt x="4461444" y="0"/>
                </a:moveTo>
                <a:lnTo>
                  <a:pt x="4461444" y="2182765"/>
                </a:lnTo>
                <a:lnTo>
                  <a:pt x="0" y="2182765"/>
                </a:lnTo>
                <a:lnTo>
                  <a:pt x="24342" y="2153263"/>
                </a:lnTo>
                <a:cubicBezTo>
                  <a:pt x="141221" y="2036384"/>
                  <a:pt x="302687" y="1964093"/>
                  <a:pt x="481037" y="1964093"/>
                </a:cubicBezTo>
                <a:cubicBezTo>
                  <a:pt x="570212" y="1964093"/>
                  <a:pt x="655166" y="1982166"/>
                  <a:pt x="732436" y="2014848"/>
                </a:cubicBezTo>
                <a:lnTo>
                  <a:pt x="787285" y="2044619"/>
                </a:lnTo>
                <a:lnTo>
                  <a:pt x="809805" y="1961250"/>
                </a:lnTo>
                <a:cubicBezTo>
                  <a:pt x="885867" y="1753515"/>
                  <a:pt x="1065582" y="1595745"/>
                  <a:pt x="1286315" y="1550577"/>
                </a:cubicBezTo>
                <a:lnTo>
                  <a:pt x="1321466" y="1547033"/>
                </a:lnTo>
                <a:lnTo>
                  <a:pt x="1323271" y="1529127"/>
                </a:lnTo>
                <a:cubicBezTo>
                  <a:pt x="1407203" y="1118962"/>
                  <a:pt x="1770117" y="810420"/>
                  <a:pt x="2205095" y="810420"/>
                </a:cubicBezTo>
                <a:cubicBezTo>
                  <a:pt x="2391514" y="810420"/>
                  <a:pt x="2564697" y="867091"/>
                  <a:pt x="2708356" y="964145"/>
                </a:cubicBezTo>
                <a:lnTo>
                  <a:pt x="2798296" y="1038353"/>
                </a:lnTo>
                <a:lnTo>
                  <a:pt x="2868637" y="1020266"/>
                </a:lnTo>
                <a:cubicBezTo>
                  <a:pt x="2927232" y="1008276"/>
                  <a:pt x="2987901" y="1001979"/>
                  <a:pt x="3050041" y="1001979"/>
                </a:cubicBezTo>
                <a:cubicBezTo>
                  <a:pt x="3112181" y="1001979"/>
                  <a:pt x="3172850" y="1008276"/>
                  <a:pt x="3231445" y="1020266"/>
                </a:cubicBezTo>
                <a:lnTo>
                  <a:pt x="3245588" y="1023903"/>
                </a:lnTo>
                <a:lnTo>
                  <a:pt x="3297823" y="960592"/>
                </a:lnTo>
                <a:cubicBezTo>
                  <a:pt x="3460711" y="797704"/>
                  <a:pt x="3685739" y="696956"/>
                  <a:pt x="3934298" y="696956"/>
                </a:cubicBezTo>
                <a:cubicBezTo>
                  <a:pt x="3996438" y="696956"/>
                  <a:pt x="4057107" y="703253"/>
                  <a:pt x="4115702" y="715243"/>
                </a:cubicBezTo>
                <a:lnTo>
                  <a:pt x="4127211" y="718203"/>
                </a:lnTo>
                <a:lnTo>
                  <a:pt x="4126073" y="695661"/>
                </a:lnTo>
                <a:cubicBezTo>
                  <a:pt x="4126073" y="447102"/>
                  <a:pt x="4226821" y="222074"/>
                  <a:pt x="4389709" y="59186"/>
                </a:cubicBezTo>
                <a:close/>
              </a:path>
            </a:pathLst>
          </a:custGeom>
          <a:solidFill>
            <a:schemeClr val="bg1"/>
          </a:solidFill>
          <a:ln>
            <a:noFill/>
          </a:ln>
          <a:effectLst>
            <a:outerShdw blurRad="279400" dist="76200" dir="13800000"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37160" tIns="91440" rIns="137160" bIns="91440" rtlCol="0" anchor="ctr">
            <a:noAutofit/>
          </a:bodyPr>
          <a:lstStyle/>
          <a:p>
            <a:pPr lvl="0"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5" name="TextBox 4">
            <a:extLst>
              <a:ext uri="{FF2B5EF4-FFF2-40B4-BE49-F238E27FC236}">
                <a16:creationId xmlns:a16="http://schemas.microsoft.com/office/drawing/2014/main" id="{3D625EBE-6EFB-4A48-B9E9-BB18863DFEC3}"/>
              </a:ext>
            </a:extLst>
          </p:cNvPr>
          <p:cNvSpPr txBox="1"/>
          <p:nvPr userDrawn="1"/>
        </p:nvSpPr>
        <p:spPr>
          <a:xfrm>
            <a:off x="176868" y="6365106"/>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900" b="0" i="0" kern="1200" smtClean="0">
                <a:solidFill>
                  <a:schemeClr val="tx1">
                    <a:lumMod val="20000"/>
                    <a:lumOff val="80000"/>
                  </a:schemeClr>
                </a:solidFill>
                <a:latin typeface="Roboto" panose="02000000000000000000" pitchFamily="2" charset="0"/>
                <a:ea typeface="Roboto" panose="02000000000000000000" pitchFamily="2" charset="0"/>
                <a:cs typeface="Roboto" charset="0"/>
              </a:rPr>
              <a:pPr marL="0" lvl="0" algn="ctr" defTabSz="457200" rtl="0" eaLnBrk="1" latinLnBrk="0" hangingPunct="1"/>
              <a:t>‹#›</a:t>
            </a:fld>
            <a:endParaRPr lang="en-US" sz="900" b="0" i="0" kern="1200">
              <a:solidFill>
                <a:schemeClr val="tx1">
                  <a:lumMod val="20000"/>
                  <a:lumOff val="80000"/>
                </a:schemeClr>
              </a:solidFill>
              <a:latin typeface="Roboto" panose="02000000000000000000" pitchFamily="2" charset="0"/>
              <a:ea typeface="Roboto" panose="02000000000000000000" pitchFamily="2" charset="0"/>
              <a:cs typeface="Roboto" charset="0"/>
            </a:endParaRPr>
          </a:p>
        </p:txBody>
      </p:sp>
      <p:sp>
        <p:nvSpPr>
          <p:cNvPr id="3" name="TextBox 2">
            <a:extLst>
              <a:ext uri="{FF2B5EF4-FFF2-40B4-BE49-F238E27FC236}">
                <a16:creationId xmlns:a16="http://schemas.microsoft.com/office/drawing/2014/main" id="{9E4B4709-7C2B-4FD8-9933-DAF4E15383F8}"/>
              </a:ext>
            </a:extLst>
          </p:cNvPr>
          <p:cNvSpPr txBox="1"/>
          <p:nvPr userDrawn="1"/>
        </p:nvSpPr>
        <p:spPr>
          <a:xfrm>
            <a:off x="1023708"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a:solidFill>
                  <a:schemeClr val="tx1">
                    <a:lumMod val="60000"/>
                    <a:lumOff val="40000"/>
                  </a:schemeClr>
                </a:solidFill>
                <a:latin typeface="Roboto" panose="02000000000000000000" pitchFamily="2" charset="0"/>
                <a:ea typeface="Roboto" panose="02000000000000000000" pitchFamily="2" charset="0"/>
                <a:cs typeface="Roboto" charset="0"/>
              </a:rPr>
              <a:t>© Informatica. Proprietary and Confidential.</a:t>
            </a:r>
          </a:p>
        </p:txBody>
      </p:sp>
      <p:pic>
        <p:nvPicPr>
          <p:cNvPr id="10" name="Picture 9">
            <a:extLst>
              <a:ext uri="{FF2B5EF4-FFF2-40B4-BE49-F238E27FC236}">
                <a16:creationId xmlns:a16="http://schemas.microsoft.com/office/drawing/2014/main" id="{3E3458F1-298B-0F43-91E6-232EAFFB3B35}"/>
              </a:ext>
            </a:extLst>
          </p:cNvPr>
          <p:cNvPicPr>
            <a:picLocks noChangeAspect="1"/>
          </p:cNvPicPr>
          <p:nvPr userDrawn="1"/>
        </p:nvPicPr>
        <p:blipFill>
          <a:blip r:embed="rId2"/>
          <a:stretch>
            <a:fillRect/>
          </a:stretch>
        </p:blipFill>
        <p:spPr>
          <a:xfrm>
            <a:off x="9743687" y="6098796"/>
            <a:ext cx="2040934" cy="699990"/>
          </a:xfrm>
          <a:prstGeom prst="rect">
            <a:avLst/>
          </a:prstGeom>
        </p:spPr>
      </p:pic>
    </p:spTree>
    <p:extLst>
      <p:ext uri="{BB962C8B-B14F-4D97-AF65-F5344CB8AC3E}">
        <p14:creationId xmlns:p14="http://schemas.microsoft.com/office/powerpoint/2010/main" val="2225649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D625EBE-6EFB-4A48-B9E9-BB18863DFEC3}"/>
              </a:ext>
            </a:extLst>
          </p:cNvPr>
          <p:cNvSpPr txBox="1"/>
          <p:nvPr userDrawn="1"/>
        </p:nvSpPr>
        <p:spPr>
          <a:xfrm>
            <a:off x="176868" y="6365106"/>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900" b="0" i="0" kern="1200" smtClean="0">
                <a:solidFill>
                  <a:schemeClr val="tx1">
                    <a:lumMod val="20000"/>
                    <a:lumOff val="80000"/>
                  </a:schemeClr>
                </a:solidFill>
                <a:latin typeface="Roboto" panose="02000000000000000000" pitchFamily="2" charset="0"/>
                <a:ea typeface="Roboto" panose="02000000000000000000" pitchFamily="2" charset="0"/>
                <a:cs typeface="Roboto" charset="0"/>
              </a:rPr>
              <a:pPr marL="0" lvl="0" algn="ctr" defTabSz="457200" rtl="0" eaLnBrk="1" latinLnBrk="0" hangingPunct="1"/>
              <a:t>‹#›</a:t>
            </a:fld>
            <a:endParaRPr lang="en-US" sz="900" b="0" i="0" kern="1200">
              <a:solidFill>
                <a:schemeClr val="tx1">
                  <a:lumMod val="20000"/>
                  <a:lumOff val="80000"/>
                </a:schemeClr>
              </a:solidFill>
              <a:latin typeface="Roboto" panose="02000000000000000000" pitchFamily="2" charset="0"/>
              <a:ea typeface="Roboto" panose="02000000000000000000" pitchFamily="2" charset="0"/>
              <a:cs typeface="Roboto" charset="0"/>
            </a:endParaRPr>
          </a:p>
        </p:txBody>
      </p:sp>
      <p:sp>
        <p:nvSpPr>
          <p:cNvPr id="3" name="TextBox 2">
            <a:extLst>
              <a:ext uri="{FF2B5EF4-FFF2-40B4-BE49-F238E27FC236}">
                <a16:creationId xmlns:a16="http://schemas.microsoft.com/office/drawing/2014/main" id="{9E4B4709-7C2B-4FD8-9933-DAF4E15383F8}"/>
              </a:ext>
            </a:extLst>
          </p:cNvPr>
          <p:cNvSpPr txBox="1"/>
          <p:nvPr userDrawn="1"/>
        </p:nvSpPr>
        <p:spPr>
          <a:xfrm>
            <a:off x="1023708"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a:solidFill>
                  <a:schemeClr val="tx1">
                    <a:lumMod val="60000"/>
                    <a:lumOff val="40000"/>
                  </a:schemeClr>
                </a:solidFill>
                <a:latin typeface="Roboto" panose="02000000000000000000" pitchFamily="2" charset="0"/>
                <a:ea typeface="Roboto" panose="02000000000000000000" pitchFamily="2" charset="0"/>
                <a:cs typeface="Roboto" charset="0"/>
              </a:rPr>
              <a:t>© Informatica. Proprietary and Confidential.</a:t>
            </a:r>
          </a:p>
        </p:txBody>
      </p:sp>
    </p:spTree>
    <p:extLst>
      <p:ext uri="{BB962C8B-B14F-4D97-AF65-F5344CB8AC3E}">
        <p14:creationId xmlns:p14="http://schemas.microsoft.com/office/powerpoint/2010/main" val="3506299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3_Half Page Image/Content">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B478BEA-4903-4298-BEE0-9D44347BD4FE}"/>
              </a:ext>
            </a:extLst>
          </p:cNvPr>
          <p:cNvSpPr txBox="1"/>
          <p:nvPr userDrawn="1"/>
        </p:nvSpPr>
        <p:spPr>
          <a:xfrm>
            <a:off x="1023708"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a:solidFill>
                  <a:schemeClr val="tx1">
                    <a:lumMod val="60000"/>
                    <a:lumOff val="40000"/>
                  </a:schemeClr>
                </a:solidFill>
                <a:latin typeface="Roboto" panose="02000000000000000000" pitchFamily="2" charset="0"/>
                <a:ea typeface="Roboto" panose="02000000000000000000" pitchFamily="2" charset="0"/>
                <a:cs typeface="Roboto" charset="0"/>
              </a:rPr>
              <a:t>© Informatica. Proprietary and Confidential.</a:t>
            </a:r>
          </a:p>
        </p:txBody>
      </p:sp>
      <p:pic>
        <p:nvPicPr>
          <p:cNvPr id="16" name="Picture 15">
            <a:extLst>
              <a:ext uri="{FF2B5EF4-FFF2-40B4-BE49-F238E27FC236}">
                <a16:creationId xmlns:a16="http://schemas.microsoft.com/office/drawing/2014/main" id="{3D50B40B-C569-8D4D-BEC0-84E7834A2025}"/>
              </a:ext>
            </a:extLst>
          </p:cNvPr>
          <p:cNvPicPr>
            <a:picLocks noChangeAspect="1"/>
          </p:cNvPicPr>
          <p:nvPr userDrawn="1"/>
        </p:nvPicPr>
        <p:blipFill>
          <a:blip r:embed="rId2"/>
          <a:srcRect/>
          <a:stretch/>
        </p:blipFill>
        <p:spPr>
          <a:xfrm>
            <a:off x="9744604" y="6098796"/>
            <a:ext cx="2039100" cy="699990"/>
          </a:xfrm>
          <a:prstGeom prst="rect">
            <a:avLst/>
          </a:prstGeom>
        </p:spPr>
      </p:pic>
      <p:sp>
        <p:nvSpPr>
          <p:cNvPr id="55" name="TextBox 54">
            <a:extLst>
              <a:ext uri="{FF2B5EF4-FFF2-40B4-BE49-F238E27FC236}">
                <a16:creationId xmlns:a16="http://schemas.microsoft.com/office/drawing/2014/main" id="{4E04ED03-EA9F-4368-A83A-01E9195C1AF3}"/>
              </a:ext>
            </a:extLst>
          </p:cNvPr>
          <p:cNvSpPr txBox="1"/>
          <p:nvPr userDrawn="1"/>
        </p:nvSpPr>
        <p:spPr>
          <a:xfrm>
            <a:off x="176868" y="6365106"/>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900" b="0" i="0" kern="1200" smtClean="0">
                <a:solidFill>
                  <a:schemeClr val="bg1"/>
                </a:solidFill>
                <a:latin typeface="Roboto" panose="02000000000000000000" pitchFamily="2" charset="0"/>
                <a:ea typeface="Roboto" panose="02000000000000000000" pitchFamily="2" charset="0"/>
                <a:cs typeface="Roboto" charset="0"/>
              </a:rPr>
              <a:pPr marL="0" lvl="0" algn="ctr" defTabSz="457200" rtl="0" eaLnBrk="1" latinLnBrk="0" hangingPunct="1"/>
              <a:t>‹#›</a:t>
            </a:fld>
            <a:endParaRPr lang="en-US" sz="900" b="0" i="0" kern="1200">
              <a:solidFill>
                <a:schemeClr val="bg1"/>
              </a:solidFill>
              <a:latin typeface="Roboto" panose="02000000000000000000" pitchFamily="2" charset="0"/>
              <a:ea typeface="Roboto" panose="02000000000000000000" pitchFamily="2" charset="0"/>
              <a:cs typeface="Roboto" charset="0"/>
            </a:endParaRPr>
          </a:p>
        </p:txBody>
      </p:sp>
      <p:sp>
        <p:nvSpPr>
          <p:cNvPr id="17" name="Rectangle 16">
            <a:extLst>
              <a:ext uri="{FF2B5EF4-FFF2-40B4-BE49-F238E27FC236}">
                <a16:creationId xmlns:a16="http://schemas.microsoft.com/office/drawing/2014/main" id="{1546333C-7CB8-C54C-9380-E53F609F9A65}"/>
              </a:ext>
            </a:extLst>
          </p:cNvPr>
          <p:cNvSpPr/>
          <p:nvPr userDrawn="1"/>
        </p:nvSpPr>
        <p:spPr>
          <a:xfrm>
            <a:off x="0" y="0"/>
            <a:ext cx="12188825" cy="247578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Roboto" panose="02000000000000000000" pitchFamily="2" charset="0"/>
            </a:endParaRPr>
          </a:p>
        </p:txBody>
      </p:sp>
      <p:sp>
        <p:nvSpPr>
          <p:cNvPr id="20" name="Title 1">
            <a:extLst>
              <a:ext uri="{FF2B5EF4-FFF2-40B4-BE49-F238E27FC236}">
                <a16:creationId xmlns:a16="http://schemas.microsoft.com/office/drawing/2014/main" id="{918C02E4-2F09-2044-8DF0-6941A17A40F6}"/>
              </a:ext>
            </a:extLst>
          </p:cNvPr>
          <p:cNvSpPr>
            <a:spLocks noGrp="1"/>
          </p:cNvSpPr>
          <p:nvPr>
            <p:ph type="title" hasCustomPrompt="1"/>
          </p:nvPr>
        </p:nvSpPr>
        <p:spPr>
          <a:xfrm>
            <a:off x="488950" y="482602"/>
            <a:ext cx="11188701" cy="562427"/>
          </a:xfrm>
        </p:spPr>
        <p:txBody>
          <a:bodyPr/>
          <a:lstStyle>
            <a:lvl1pPr>
              <a:defRPr baseline="0">
                <a:solidFill>
                  <a:schemeClr val="bg1"/>
                </a:solidFill>
              </a:defRPr>
            </a:lvl1pPr>
          </a:lstStyle>
          <a:p>
            <a:r>
              <a:rPr lang="en-US"/>
              <a:t>Section presenter slide</a:t>
            </a:r>
          </a:p>
        </p:txBody>
      </p:sp>
      <p:sp>
        <p:nvSpPr>
          <p:cNvPr id="23" name="Diamond 22">
            <a:extLst>
              <a:ext uri="{FF2B5EF4-FFF2-40B4-BE49-F238E27FC236}">
                <a16:creationId xmlns:a16="http://schemas.microsoft.com/office/drawing/2014/main" id="{53E2FE92-4B10-2443-A244-BEC9823236A3}"/>
              </a:ext>
            </a:extLst>
          </p:cNvPr>
          <p:cNvSpPr/>
          <p:nvPr userDrawn="1"/>
        </p:nvSpPr>
        <p:spPr>
          <a:xfrm>
            <a:off x="1798380" y="1730618"/>
            <a:ext cx="2476500" cy="2476500"/>
          </a:xfrm>
          <a:prstGeom prst="diamond">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algn="ctr"/>
            <a:endParaRPr lang="en-US">
              <a:latin typeface="Roboto" panose="02000000000000000000" pitchFamily="2" charset="0"/>
              <a:ea typeface="Roboto" panose="02000000000000000000" pitchFamily="2" charset="0"/>
              <a:cs typeface="Roboto" charset="0"/>
            </a:endParaRPr>
          </a:p>
        </p:txBody>
      </p:sp>
      <p:sp>
        <p:nvSpPr>
          <p:cNvPr id="24" name="Diamond 23">
            <a:extLst>
              <a:ext uri="{FF2B5EF4-FFF2-40B4-BE49-F238E27FC236}">
                <a16:creationId xmlns:a16="http://schemas.microsoft.com/office/drawing/2014/main" id="{5FE2587E-7B4B-3C46-9806-DCE446CA9753}"/>
              </a:ext>
            </a:extLst>
          </p:cNvPr>
          <p:cNvSpPr/>
          <p:nvPr userDrawn="1"/>
        </p:nvSpPr>
        <p:spPr>
          <a:xfrm>
            <a:off x="4868943" y="1730618"/>
            <a:ext cx="2476500" cy="2476500"/>
          </a:xfrm>
          <a:prstGeom prst="diamond">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algn="ctr"/>
            <a:endParaRPr lang="en-US">
              <a:latin typeface="Roboto" panose="02000000000000000000" pitchFamily="2" charset="0"/>
              <a:ea typeface="Roboto" panose="02000000000000000000" pitchFamily="2" charset="0"/>
              <a:cs typeface="Roboto" charset="0"/>
            </a:endParaRPr>
          </a:p>
        </p:txBody>
      </p:sp>
      <p:sp>
        <p:nvSpPr>
          <p:cNvPr id="25" name="Diamond 24">
            <a:extLst>
              <a:ext uri="{FF2B5EF4-FFF2-40B4-BE49-F238E27FC236}">
                <a16:creationId xmlns:a16="http://schemas.microsoft.com/office/drawing/2014/main" id="{3F7FACC4-CE65-9446-82B2-CAC428CFD8CE}"/>
              </a:ext>
            </a:extLst>
          </p:cNvPr>
          <p:cNvSpPr/>
          <p:nvPr userDrawn="1"/>
        </p:nvSpPr>
        <p:spPr>
          <a:xfrm>
            <a:off x="7939506" y="1730618"/>
            <a:ext cx="2476500" cy="2476500"/>
          </a:xfrm>
          <a:prstGeom prst="diamond">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algn="ctr"/>
            <a:endParaRPr lang="en-US">
              <a:latin typeface="Roboto" panose="02000000000000000000" pitchFamily="2" charset="0"/>
              <a:ea typeface="Roboto" panose="02000000000000000000" pitchFamily="2" charset="0"/>
              <a:cs typeface="Roboto" charset="0"/>
            </a:endParaRPr>
          </a:p>
        </p:txBody>
      </p:sp>
      <p:sp>
        <p:nvSpPr>
          <p:cNvPr id="26" name="Picture Placeholder 6">
            <a:extLst>
              <a:ext uri="{FF2B5EF4-FFF2-40B4-BE49-F238E27FC236}">
                <a16:creationId xmlns:a16="http://schemas.microsoft.com/office/drawing/2014/main" id="{D9554876-1092-AF46-88CA-6F2B11C7EBF1}"/>
              </a:ext>
            </a:extLst>
          </p:cNvPr>
          <p:cNvSpPr>
            <a:spLocks noGrp="1"/>
          </p:cNvSpPr>
          <p:nvPr>
            <p:ph type="pic" sz="quarter" idx="15" hasCustomPrompt="1"/>
          </p:nvPr>
        </p:nvSpPr>
        <p:spPr>
          <a:xfrm>
            <a:off x="1807073" y="1575170"/>
            <a:ext cx="2459114" cy="2457450"/>
          </a:xfrm>
          <a:prstGeom prst="diamond">
            <a:avLst/>
          </a:prstGeom>
          <a:solidFill>
            <a:schemeClr val="bg1">
              <a:lumMod val="95000"/>
            </a:schemeClr>
          </a:solidFill>
          <a:ln w="38100">
            <a:solidFill>
              <a:schemeClr val="bg1"/>
            </a:solidFill>
          </a:ln>
        </p:spPr>
        <p:txBody>
          <a:bodyPr vert="horz" lIns="0" tIns="0" rIns="0" bIns="0" rtlCol="0" anchor="ctr">
            <a:noAutofit/>
          </a:bodyPr>
          <a:lstStyle>
            <a:lvl1pPr>
              <a:defRPr lang="en-US" dirty="0">
                <a:latin typeface="Roboto" panose="02000000000000000000" pitchFamily="2" charset="0"/>
                <a:ea typeface="Roboto" panose="02000000000000000000" pitchFamily="2" charset="0"/>
              </a:defRPr>
            </a:lvl1pPr>
          </a:lstStyle>
          <a:p>
            <a:pPr marL="0" lvl="0" indent="0" algn="ctr">
              <a:buNone/>
            </a:pPr>
            <a:r>
              <a:rPr lang="en-US"/>
              <a:t>CLICK TO INSERT IMAGE</a:t>
            </a:r>
          </a:p>
        </p:txBody>
      </p:sp>
      <p:sp>
        <p:nvSpPr>
          <p:cNvPr id="27" name="Picture Placeholder 6">
            <a:extLst>
              <a:ext uri="{FF2B5EF4-FFF2-40B4-BE49-F238E27FC236}">
                <a16:creationId xmlns:a16="http://schemas.microsoft.com/office/drawing/2014/main" id="{2BA9AC3D-A377-AD4E-A3A4-5478A4625483}"/>
              </a:ext>
            </a:extLst>
          </p:cNvPr>
          <p:cNvSpPr>
            <a:spLocks noGrp="1"/>
          </p:cNvSpPr>
          <p:nvPr>
            <p:ph type="pic" sz="quarter" idx="16" hasCustomPrompt="1"/>
          </p:nvPr>
        </p:nvSpPr>
        <p:spPr>
          <a:xfrm>
            <a:off x="4877636" y="1575170"/>
            <a:ext cx="2459114" cy="2457450"/>
          </a:xfrm>
          <a:prstGeom prst="diamond">
            <a:avLst/>
          </a:prstGeom>
          <a:solidFill>
            <a:schemeClr val="bg1">
              <a:lumMod val="95000"/>
            </a:schemeClr>
          </a:solidFill>
          <a:ln w="38100">
            <a:solidFill>
              <a:schemeClr val="bg1"/>
            </a:solidFill>
          </a:ln>
        </p:spPr>
        <p:txBody>
          <a:bodyPr vert="horz" lIns="0" tIns="0" rIns="0" bIns="0" rtlCol="0" anchor="ctr">
            <a:noAutofit/>
          </a:bodyPr>
          <a:lstStyle>
            <a:lvl1pPr>
              <a:defRPr lang="en-US" dirty="0">
                <a:latin typeface="Roboto" panose="02000000000000000000" pitchFamily="2" charset="0"/>
                <a:ea typeface="Roboto" panose="02000000000000000000" pitchFamily="2" charset="0"/>
              </a:defRPr>
            </a:lvl1pPr>
          </a:lstStyle>
          <a:p>
            <a:pPr marL="0" lvl="0" indent="0" algn="ctr">
              <a:buNone/>
            </a:pPr>
            <a:r>
              <a:rPr lang="en-US"/>
              <a:t>CLICK TO INSERT IMAGE</a:t>
            </a:r>
          </a:p>
        </p:txBody>
      </p:sp>
      <p:sp>
        <p:nvSpPr>
          <p:cNvPr id="28" name="Picture Placeholder 6">
            <a:extLst>
              <a:ext uri="{FF2B5EF4-FFF2-40B4-BE49-F238E27FC236}">
                <a16:creationId xmlns:a16="http://schemas.microsoft.com/office/drawing/2014/main" id="{9367CF0A-0405-D640-9389-5907F92BFEB4}"/>
              </a:ext>
            </a:extLst>
          </p:cNvPr>
          <p:cNvSpPr>
            <a:spLocks noGrp="1"/>
          </p:cNvSpPr>
          <p:nvPr>
            <p:ph type="pic" sz="quarter" idx="17" hasCustomPrompt="1"/>
          </p:nvPr>
        </p:nvSpPr>
        <p:spPr>
          <a:xfrm>
            <a:off x="7948199" y="1575170"/>
            <a:ext cx="2459114" cy="2457450"/>
          </a:xfrm>
          <a:prstGeom prst="diamond">
            <a:avLst/>
          </a:prstGeom>
          <a:solidFill>
            <a:schemeClr val="bg1">
              <a:lumMod val="95000"/>
            </a:schemeClr>
          </a:solidFill>
          <a:ln w="38100">
            <a:solidFill>
              <a:schemeClr val="bg1"/>
            </a:solidFill>
          </a:ln>
        </p:spPr>
        <p:txBody>
          <a:bodyPr vert="horz" lIns="0" tIns="0" rIns="0" bIns="0" rtlCol="0" anchor="ctr">
            <a:noAutofit/>
          </a:bodyPr>
          <a:lstStyle>
            <a:lvl1pPr>
              <a:defRPr lang="en-US" dirty="0">
                <a:latin typeface="Roboto" panose="02000000000000000000" pitchFamily="2" charset="0"/>
                <a:ea typeface="Roboto" panose="02000000000000000000" pitchFamily="2" charset="0"/>
              </a:defRPr>
            </a:lvl1pPr>
          </a:lstStyle>
          <a:p>
            <a:pPr marL="0" lvl="0" indent="0" algn="ctr">
              <a:buNone/>
            </a:pPr>
            <a:r>
              <a:rPr lang="en-US"/>
              <a:t>CLICK TO INSERT IMAGE</a:t>
            </a:r>
          </a:p>
        </p:txBody>
      </p:sp>
      <p:sp>
        <p:nvSpPr>
          <p:cNvPr id="29" name="Text Placeholder 2">
            <a:extLst>
              <a:ext uri="{FF2B5EF4-FFF2-40B4-BE49-F238E27FC236}">
                <a16:creationId xmlns:a16="http://schemas.microsoft.com/office/drawing/2014/main" id="{A610BCEF-16B3-0F4B-9673-70D81731B637}"/>
              </a:ext>
            </a:extLst>
          </p:cNvPr>
          <p:cNvSpPr>
            <a:spLocks noGrp="1"/>
          </p:cNvSpPr>
          <p:nvPr>
            <p:ph type="body" idx="1" hasCustomPrompt="1"/>
          </p:nvPr>
        </p:nvSpPr>
        <p:spPr>
          <a:xfrm>
            <a:off x="1700406" y="4375550"/>
            <a:ext cx="2689223" cy="436563"/>
          </a:xfrm>
          <a:prstGeom prst="rect">
            <a:avLst/>
          </a:prstGeom>
        </p:spPr>
        <p:txBody>
          <a:bodyPr anchor="t"/>
          <a:lstStyle>
            <a:lvl1pPr marL="0" indent="0" algn="ctr">
              <a:buNone/>
              <a:defRPr sz="1800" b="1" baseline="0">
                <a:solidFill>
                  <a:schemeClr val="accent5"/>
                </a:solidFill>
                <a:latin typeface="Roboto" panose="02000000000000000000" pitchFamily="2" charset="0"/>
                <a:ea typeface="Roboto" panose="02000000000000000000" pitchFamily="2" charset="0"/>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2" indent="0">
              <a:buNone/>
              <a:defRPr sz="1600" b="1"/>
            </a:lvl6pPr>
            <a:lvl7pPr marL="2742651" indent="0">
              <a:buNone/>
              <a:defRPr sz="1600" b="1"/>
            </a:lvl7pPr>
            <a:lvl8pPr marL="3199760" indent="0">
              <a:buNone/>
              <a:defRPr sz="1600" b="1"/>
            </a:lvl8pPr>
            <a:lvl9pPr marL="3656869" indent="0">
              <a:buNone/>
              <a:defRPr sz="1600" b="1"/>
            </a:lvl9pPr>
          </a:lstStyle>
          <a:p>
            <a:pPr lvl="0"/>
            <a:r>
              <a:rPr lang="en-US"/>
              <a:t>Speaker Name</a:t>
            </a:r>
          </a:p>
        </p:txBody>
      </p:sp>
      <p:sp>
        <p:nvSpPr>
          <p:cNvPr id="30" name="Text Placeholder 2">
            <a:extLst>
              <a:ext uri="{FF2B5EF4-FFF2-40B4-BE49-F238E27FC236}">
                <a16:creationId xmlns:a16="http://schemas.microsoft.com/office/drawing/2014/main" id="{D74ED082-F666-0442-9DA5-074489213C1E}"/>
              </a:ext>
            </a:extLst>
          </p:cNvPr>
          <p:cNvSpPr>
            <a:spLocks noGrp="1"/>
          </p:cNvSpPr>
          <p:nvPr>
            <p:ph type="body" idx="27" hasCustomPrompt="1"/>
          </p:nvPr>
        </p:nvSpPr>
        <p:spPr>
          <a:xfrm>
            <a:off x="4776451" y="4375550"/>
            <a:ext cx="2689223" cy="436563"/>
          </a:xfrm>
          <a:prstGeom prst="rect">
            <a:avLst/>
          </a:prstGeom>
        </p:spPr>
        <p:txBody>
          <a:bodyPr anchor="t"/>
          <a:lstStyle>
            <a:lvl1pPr marL="0" indent="0" algn="ctr">
              <a:buNone/>
              <a:defRPr sz="1800" b="1" baseline="0">
                <a:solidFill>
                  <a:schemeClr val="accent5"/>
                </a:solidFill>
                <a:latin typeface="Roboto" panose="02000000000000000000" pitchFamily="2" charset="0"/>
                <a:ea typeface="Roboto" panose="02000000000000000000" pitchFamily="2" charset="0"/>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2" indent="0">
              <a:buNone/>
              <a:defRPr sz="1600" b="1"/>
            </a:lvl6pPr>
            <a:lvl7pPr marL="2742651" indent="0">
              <a:buNone/>
              <a:defRPr sz="1600" b="1"/>
            </a:lvl7pPr>
            <a:lvl8pPr marL="3199760" indent="0">
              <a:buNone/>
              <a:defRPr sz="1600" b="1"/>
            </a:lvl8pPr>
            <a:lvl9pPr marL="3656869" indent="0">
              <a:buNone/>
              <a:defRPr sz="1600" b="1"/>
            </a:lvl9pPr>
          </a:lstStyle>
          <a:p>
            <a:pPr lvl="0"/>
            <a:r>
              <a:rPr lang="en-US"/>
              <a:t>Speaker Name</a:t>
            </a:r>
          </a:p>
        </p:txBody>
      </p:sp>
      <p:sp>
        <p:nvSpPr>
          <p:cNvPr id="31" name="Text Placeholder 2">
            <a:extLst>
              <a:ext uri="{FF2B5EF4-FFF2-40B4-BE49-F238E27FC236}">
                <a16:creationId xmlns:a16="http://schemas.microsoft.com/office/drawing/2014/main" id="{EC2BCD12-D1EF-4E49-BC42-A7A30AF4BFDE}"/>
              </a:ext>
            </a:extLst>
          </p:cNvPr>
          <p:cNvSpPr>
            <a:spLocks noGrp="1"/>
          </p:cNvSpPr>
          <p:nvPr>
            <p:ph type="body" idx="29" hasCustomPrompt="1"/>
          </p:nvPr>
        </p:nvSpPr>
        <p:spPr>
          <a:xfrm>
            <a:off x="7840316" y="4375550"/>
            <a:ext cx="2689223" cy="436563"/>
          </a:xfrm>
          <a:prstGeom prst="rect">
            <a:avLst/>
          </a:prstGeom>
        </p:spPr>
        <p:txBody>
          <a:bodyPr anchor="t"/>
          <a:lstStyle>
            <a:lvl1pPr marL="0" indent="0" algn="ctr">
              <a:buNone/>
              <a:defRPr sz="1800" b="1" baseline="0">
                <a:solidFill>
                  <a:schemeClr val="accent5"/>
                </a:solidFill>
                <a:latin typeface="Roboto" panose="02000000000000000000" pitchFamily="2" charset="0"/>
                <a:ea typeface="Roboto" panose="02000000000000000000" pitchFamily="2" charset="0"/>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2" indent="0">
              <a:buNone/>
              <a:defRPr sz="1600" b="1"/>
            </a:lvl6pPr>
            <a:lvl7pPr marL="2742651" indent="0">
              <a:buNone/>
              <a:defRPr sz="1600" b="1"/>
            </a:lvl7pPr>
            <a:lvl8pPr marL="3199760" indent="0">
              <a:buNone/>
              <a:defRPr sz="1600" b="1"/>
            </a:lvl8pPr>
            <a:lvl9pPr marL="3656869" indent="0">
              <a:buNone/>
              <a:defRPr sz="1600" b="1"/>
            </a:lvl9pPr>
          </a:lstStyle>
          <a:p>
            <a:pPr lvl="0"/>
            <a:r>
              <a:rPr lang="en-US"/>
              <a:t>Speaker Name</a:t>
            </a:r>
          </a:p>
        </p:txBody>
      </p:sp>
      <p:sp>
        <p:nvSpPr>
          <p:cNvPr id="32" name="Text Placeholder 3">
            <a:extLst>
              <a:ext uri="{FF2B5EF4-FFF2-40B4-BE49-F238E27FC236}">
                <a16:creationId xmlns:a16="http://schemas.microsoft.com/office/drawing/2014/main" id="{ABF07F46-21B2-EF45-B718-BA8449954C3A}"/>
              </a:ext>
            </a:extLst>
          </p:cNvPr>
          <p:cNvSpPr>
            <a:spLocks noGrp="1"/>
          </p:cNvSpPr>
          <p:nvPr>
            <p:ph type="body" sz="quarter" idx="32"/>
          </p:nvPr>
        </p:nvSpPr>
        <p:spPr>
          <a:xfrm>
            <a:off x="1782161" y="4813475"/>
            <a:ext cx="2525712" cy="455613"/>
          </a:xfrm>
          <a:prstGeom prst="rect">
            <a:avLst/>
          </a:prstGeom>
        </p:spPr>
        <p:txBody>
          <a:bodyPr/>
          <a:lstStyle>
            <a:lvl1pPr marL="0" indent="0" algn="ctr">
              <a:buNone/>
              <a:defRPr sz="1400">
                <a:latin typeface="Roboto" panose="02000000000000000000" pitchFamily="2" charset="0"/>
                <a:ea typeface="Roboto" panose="02000000000000000000" pitchFamily="2" charset="0"/>
              </a:defRPr>
            </a:lvl1pPr>
          </a:lstStyle>
          <a:p>
            <a:pPr lvl="0"/>
            <a:r>
              <a:rPr lang="en-US"/>
              <a:t>Click to edit Master text styles</a:t>
            </a:r>
          </a:p>
        </p:txBody>
      </p:sp>
      <p:sp>
        <p:nvSpPr>
          <p:cNvPr id="33" name="Text Placeholder 3">
            <a:extLst>
              <a:ext uri="{FF2B5EF4-FFF2-40B4-BE49-F238E27FC236}">
                <a16:creationId xmlns:a16="http://schemas.microsoft.com/office/drawing/2014/main" id="{EE8D720B-622E-7645-9FF0-1219E299970D}"/>
              </a:ext>
            </a:extLst>
          </p:cNvPr>
          <p:cNvSpPr>
            <a:spLocks noGrp="1"/>
          </p:cNvSpPr>
          <p:nvPr>
            <p:ph type="body" sz="quarter" idx="33"/>
          </p:nvPr>
        </p:nvSpPr>
        <p:spPr>
          <a:xfrm>
            <a:off x="4858206" y="4813475"/>
            <a:ext cx="2525712" cy="455613"/>
          </a:xfrm>
          <a:prstGeom prst="rect">
            <a:avLst/>
          </a:prstGeom>
        </p:spPr>
        <p:txBody>
          <a:bodyPr/>
          <a:lstStyle>
            <a:lvl1pPr marL="0" indent="0" algn="ctr">
              <a:buNone/>
              <a:defRPr sz="1400">
                <a:latin typeface="Roboto" panose="02000000000000000000" pitchFamily="2" charset="0"/>
                <a:ea typeface="Roboto" panose="02000000000000000000" pitchFamily="2" charset="0"/>
              </a:defRPr>
            </a:lvl1pPr>
          </a:lstStyle>
          <a:p>
            <a:pPr lvl="0"/>
            <a:r>
              <a:rPr lang="en-US"/>
              <a:t>Click to edit Master text styles</a:t>
            </a:r>
          </a:p>
        </p:txBody>
      </p:sp>
      <p:sp>
        <p:nvSpPr>
          <p:cNvPr id="34" name="Text Placeholder 3">
            <a:extLst>
              <a:ext uri="{FF2B5EF4-FFF2-40B4-BE49-F238E27FC236}">
                <a16:creationId xmlns:a16="http://schemas.microsoft.com/office/drawing/2014/main" id="{CFA2DA9C-9E08-404E-9A99-E05FE7A30976}"/>
              </a:ext>
            </a:extLst>
          </p:cNvPr>
          <p:cNvSpPr>
            <a:spLocks noGrp="1"/>
          </p:cNvSpPr>
          <p:nvPr>
            <p:ph type="body" sz="quarter" idx="34"/>
          </p:nvPr>
        </p:nvSpPr>
        <p:spPr>
          <a:xfrm>
            <a:off x="7922071" y="4813475"/>
            <a:ext cx="2525712" cy="455613"/>
          </a:xfrm>
          <a:prstGeom prst="rect">
            <a:avLst/>
          </a:prstGeom>
        </p:spPr>
        <p:txBody>
          <a:bodyPr/>
          <a:lstStyle>
            <a:lvl1pPr marL="0" indent="0" algn="ctr">
              <a:buNone/>
              <a:defRPr sz="1400">
                <a:latin typeface="Roboto" panose="02000000000000000000" pitchFamily="2" charset="0"/>
                <a:ea typeface="Roboto" panose="02000000000000000000" pitchFamily="2" charset="0"/>
              </a:defRPr>
            </a:lvl1pPr>
          </a:lstStyle>
          <a:p>
            <a:pPr lvl="0"/>
            <a:r>
              <a:rPr lang="en-US"/>
              <a:t>Click to edit Master text styles</a:t>
            </a:r>
          </a:p>
        </p:txBody>
      </p:sp>
    </p:spTree>
    <p:extLst>
      <p:ext uri="{BB962C8B-B14F-4D97-AF65-F5344CB8AC3E}">
        <p14:creationId xmlns:p14="http://schemas.microsoft.com/office/powerpoint/2010/main" val="1973321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4_Half Page Image/Content">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B478BEA-4903-4298-BEE0-9D44347BD4FE}"/>
              </a:ext>
            </a:extLst>
          </p:cNvPr>
          <p:cNvSpPr txBox="1"/>
          <p:nvPr userDrawn="1"/>
        </p:nvSpPr>
        <p:spPr>
          <a:xfrm>
            <a:off x="1023708"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a:solidFill>
                  <a:schemeClr val="tx1">
                    <a:lumMod val="60000"/>
                    <a:lumOff val="40000"/>
                  </a:schemeClr>
                </a:solidFill>
                <a:latin typeface="Roboto" panose="02000000000000000000" pitchFamily="2" charset="0"/>
                <a:ea typeface="Roboto" panose="02000000000000000000" pitchFamily="2" charset="0"/>
                <a:cs typeface="Roboto" charset="0"/>
              </a:rPr>
              <a:t>© Informatica. Proprietary and Confidential.</a:t>
            </a:r>
          </a:p>
        </p:txBody>
      </p:sp>
      <p:pic>
        <p:nvPicPr>
          <p:cNvPr id="16" name="Picture 15">
            <a:extLst>
              <a:ext uri="{FF2B5EF4-FFF2-40B4-BE49-F238E27FC236}">
                <a16:creationId xmlns:a16="http://schemas.microsoft.com/office/drawing/2014/main" id="{3D50B40B-C569-8D4D-BEC0-84E7834A2025}"/>
              </a:ext>
            </a:extLst>
          </p:cNvPr>
          <p:cNvPicPr>
            <a:picLocks noChangeAspect="1"/>
          </p:cNvPicPr>
          <p:nvPr userDrawn="1"/>
        </p:nvPicPr>
        <p:blipFill>
          <a:blip r:embed="rId2"/>
          <a:srcRect/>
          <a:stretch/>
        </p:blipFill>
        <p:spPr>
          <a:xfrm>
            <a:off x="9744604" y="6098796"/>
            <a:ext cx="2039100" cy="699990"/>
          </a:xfrm>
          <a:prstGeom prst="rect">
            <a:avLst/>
          </a:prstGeom>
        </p:spPr>
      </p:pic>
      <p:sp>
        <p:nvSpPr>
          <p:cNvPr id="55" name="TextBox 54">
            <a:extLst>
              <a:ext uri="{FF2B5EF4-FFF2-40B4-BE49-F238E27FC236}">
                <a16:creationId xmlns:a16="http://schemas.microsoft.com/office/drawing/2014/main" id="{4E04ED03-EA9F-4368-A83A-01E9195C1AF3}"/>
              </a:ext>
            </a:extLst>
          </p:cNvPr>
          <p:cNvSpPr txBox="1"/>
          <p:nvPr userDrawn="1"/>
        </p:nvSpPr>
        <p:spPr>
          <a:xfrm>
            <a:off x="176868" y="6365106"/>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900" b="0" i="0" kern="1200" smtClean="0">
                <a:solidFill>
                  <a:schemeClr val="bg1"/>
                </a:solidFill>
                <a:latin typeface="Roboto" panose="02000000000000000000" pitchFamily="2" charset="0"/>
                <a:ea typeface="Roboto" panose="02000000000000000000" pitchFamily="2" charset="0"/>
                <a:cs typeface="Roboto" charset="0"/>
              </a:rPr>
              <a:pPr marL="0" lvl="0" algn="ctr" defTabSz="457200" rtl="0" eaLnBrk="1" latinLnBrk="0" hangingPunct="1"/>
              <a:t>‹#›</a:t>
            </a:fld>
            <a:endParaRPr lang="en-US" sz="900" b="0" i="0" kern="1200">
              <a:solidFill>
                <a:schemeClr val="bg1"/>
              </a:solidFill>
              <a:latin typeface="Roboto" panose="02000000000000000000" pitchFamily="2" charset="0"/>
              <a:ea typeface="Roboto" panose="02000000000000000000" pitchFamily="2" charset="0"/>
              <a:cs typeface="Roboto" charset="0"/>
            </a:endParaRPr>
          </a:p>
        </p:txBody>
      </p:sp>
      <p:sp>
        <p:nvSpPr>
          <p:cNvPr id="17" name="Rectangle 16">
            <a:extLst>
              <a:ext uri="{FF2B5EF4-FFF2-40B4-BE49-F238E27FC236}">
                <a16:creationId xmlns:a16="http://schemas.microsoft.com/office/drawing/2014/main" id="{1546333C-7CB8-C54C-9380-E53F609F9A65}"/>
              </a:ext>
            </a:extLst>
          </p:cNvPr>
          <p:cNvSpPr/>
          <p:nvPr userDrawn="1"/>
        </p:nvSpPr>
        <p:spPr>
          <a:xfrm>
            <a:off x="0" y="0"/>
            <a:ext cx="12188825" cy="247578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Roboto" panose="02000000000000000000" pitchFamily="2" charset="0"/>
            </a:endParaRPr>
          </a:p>
        </p:txBody>
      </p:sp>
      <p:sp>
        <p:nvSpPr>
          <p:cNvPr id="20" name="Title 1">
            <a:extLst>
              <a:ext uri="{FF2B5EF4-FFF2-40B4-BE49-F238E27FC236}">
                <a16:creationId xmlns:a16="http://schemas.microsoft.com/office/drawing/2014/main" id="{918C02E4-2F09-2044-8DF0-6941A17A40F6}"/>
              </a:ext>
            </a:extLst>
          </p:cNvPr>
          <p:cNvSpPr>
            <a:spLocks noGrp="1"/>
          </p:cNvSpPr>
          <p:nvPr>
            <p:ph type="title" hasCustomPrompt="1"/>
          </p:nvPr>
        </p:nvSpPr>
        <p:spPr>
          <a:xfrm>
            <a:off x="488950" y="482602"/>
            <a:ext cx="11188701" cy="562427"/>
          </a:xfrm>
        </p:spPr>
        <p:txBody>
          <a:bodyPr/>
          <a:lstStyle>
            <a:lvl1pPr>
              <a:defRPr baseline="0">
                <a:solidFill>
                  <a:schemeClr val="bg1"/>
                </a:solidFill>
              </a:defRPr>
            </a:lvl1pPr>
          </a:lstStyle>
          <a:p>
            <a:r>
              <a:rPr lang="en-US"/>
              <a:t>Section presenter slide</a:t>
            </a:r>
          </a:p>
        </p:txBody>
      </p:sp>
      <p:sp>
        <p:nvSpPr>
          <p:cNvPr id="19" name="Text Placeholder 2">
            <a:extLst>
              <a:ext uri="{FF2B5EF4-FFF2-40B4-BE49-F238E27FC236}">
                <a16:creationId xmlns:a16="http://schemas.microsoft.com/office/drawing/2014/main" id="{1394912F-AA4E-4746-B040-A7E40EB61FAF}"/>
              </a:ext>
            </a:extLst>
          </p:cNvPr>
          <p:cNvSpPr>
            <a:spLocks noGrp="1"/>
          </p:cNvSpPr>
          <p:nvPr>
            <p:ph type="body" idx="1" hasCustomPrompt="1"/>
          </p:nvPr>
        </p:nvSpPr>
        <p:spPr>
          <a:xfrm>
            <a:off x="511176" y="4375550"/>
            <a:ext cx="2689223" cy="436563"/>
          </a:xfrm>
          <a:prstGeom prst="rect">
            <a:avLst/>
          </a:prstGeom>
        </p:spPr>
        <p:txBody>
          <a:bodyPr anchor="t"/>
          <a:lstStyle>
            <a:lvl1pPr marL="0" indent="0" algn="ctr">
              <a:buNone/>
              <a:defRPr sz="1800" b="1" baseline="0">
                <a:solidFill>
                  <a:schemeClr val="accent5"/>
                </a:solidFill>
                <a:latin typeface="Roboto" panose="02000000000000000000" pitchFamily="2" charset="0"/>
                <a:ea typeface="Roboto" panose="02000000000000000000" pitchFamily="2" charset="0"/>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2" indent="0">
              <a:buNone/>
              <a:defRPr sz="1600" b="1"/>
            </a:lvl6pPr>
            <a:lvl7pPr marL="2742651" indent="0">
              <a:buNone/>
              <a:defRPr sz="1600" b="1"/>
            </a:lvl7pPr>
            <a:lvl8pPr marL="3199760" indent="0">
              <a:buNone/>
              <a:defRPr sz="1600" b="1"/>
            </a:lvl8pPr>
            <a:lvl9pPr marL="3656869" indent="0">
              <a:buNone/>
              <a:defRPr sz="1600" b="1"/>
            </a:lvl9pPr>
          </a:lstStyle>
          <a:p>
            <a:pPr lvl="0"/>
            <a:r>
              <a:rPr lang="en-US"/>
              <a:t>Speaker Name</a:t>
            </a:r>
          </a:p>
        </p:txBody>
      </p:sp>
      <p:sp>
        <p:nvSpPr>
          <p:cNvPr id="21" name="Text Placeholder 2">
            <a:extLst>
              <a:ext uri="{FF2B5EF4-FFF2-40B4-BE49-F238E27FC236}">
                <a16:creationId xmlns:a16="http://schemas.microsoft.com/office/drawing/2014/main" id="{2FC7F7E4-4EA2-234A-8FEA-D8E7F67A5BC1}"/>
              </a:ext>
            </a:extLst>
          </p:cNvPr>
          <p:cNvSpPr>
            <a:spLocks noGrp="1"/>
          </p:cNvSpPr>
          <p:nvPr>
            <p:ph type="body" idx="27" hasCustomPrompt="1"/>
          </p:nvPr>
        </p:nvSpPr>
        <p:spPr>
          <a:xfrm>
            <a:off x="3358621" y="4375550"/>
            <a:ext cx="2689223" cy="436563"/>
          </a:xfrm>
          <a:prstGeom prst="rect">
            <a:avLst/>
          </a:prstGeom>
        </p:spPr>
        <p:txBody>
          <a:bodyPr anchor="t"/>
          <a:lstStyle>
            <a:lvl1pPr marL="0" indent="0" algn="ctr">
              <a:buNone/>
              <a:defRPr sz="1800" b="1" baseline="0">
                <a:solidFill>
                  <a:schemeClr val="accent5"/>
                </a:solidFill>
                <a:latin typeface="Roboto" panose="02000000000000000000" pitchFamily="2" charset="0"/>
                <a:ea typeface="Roboto" panose="02000000000000000000" pitchFamily="2" charset="0"/>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2" indent="0">
              <a:buNone/>
              <a:defRPr sz="1600" b="1"/>
            </a:lvl6pPr>
            <a:lvl7pPr marL="2742651" indent="0">
              <a:buNone/>
              <a:defRPr sz="1600" b="1"/>
            </a:lvl7pPr>
            <a:lvl8pPr marL="3199760" indent="0">
              <a:buNone/>
              <a:defRPr sz="1600" b="1"/>
            </a:lvl8pPr>
            <a:lvl9pPr marL="3656869" indent="0">
              <a:buNone/>
              <a:defRPr sz="1600" b="1"/>
            </a:lvl9pPr>
          </a:lstStyle>
          <a:p>
            <a:pPr lvl="0"/>
            <a:r>
              <a:rPr lang="en-US"/>
              <a:t>Speaker Name</a:t>
            </a:r>
          </a:p>
        </p:txBody>
      </p:sp>
      <p:sp>
        <p:nvSpPr>
          <p:cNvPr id="22" name="Text Placeholder 2">
            <a:extLst>
              <a:ext uri="{FF2B5EF4-FFF2-40B4-BE49-F238E27FC236}">
                <a16:creationId xmlns:a16="http://schemas.microsoft.com/office/drawing/2014/main" id="{1C76D1BC-8BF8-534F-BA22-8C63B615E05F}"/>
              </a:ext>
            </a:extLst>
          </p:cNvPr>
          <p:cNvSpPr>
            <a:spLocks noGrp="1"/>
          </p:cNvSpPr>
          <p:nvPr>
            <p:ph type="body" idx="29" hasCustomPrompt="1"/>
          </p:nvPr>
        </p:nvSpPr>
        <p:spPr>
          <a:xfrm>
            <a:off x="6171142" y="4375550"/>
            <a:ext cx="2689223" cy="436563"/>
          </a:xfrm>
          <a:prstGeom prst="rect">
            <a:avLst/>
          </a:prstGeom>
        </p:spPr>
        <p:txBody>
          <a:bodyPr anchor="t"/>
          <a:lstStyle>
            <a:lvl1pPr marL="0" indent="0" algn="ctr">
              <a:buNone/>
              <a:defRPr sz="1800" b="1" baseline="0">
                <a:solidFill>
                  <a:schemeClr val="accent5"/>
                </a:solidFill>
                <a:latin typeface="Roboto" panose="02000000000000000000" pitchFamily="2" charset="0"/>
                <a:ea typeface="Roboto" panose="02000000000000000000" pitchFamily="2" charset="0"/>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2" indent="0">
              <a:buNone/>
              <a:defRPr sz="1600" b="1"/>
            </a:lvl6pPr>
            <a:lvl7pPr marL="2742651" indent="0">
              <a:buNone/>
              <a:defRPr sz="1600" b="1"/>
            </a:lvl7pPr>
            <a:lvl8pPr marL="3199760" indent="0">
              <a:buNone/>
              <a:defRPr sz="1600" b="1"/>
            </a:lvl8pPr>
            <a:lvl9pPr marL="3656869" indent="0">
              <a:buNone/>
              <a:defRPr sz="1600" b="1"/>
            </a:lvl9pPr>
          </a:lstStyle>
          <a:p>
            <a:pPr lvl="0"/>
            <a:r>
              <a:rPr lang="en-US"/>
              <a:t>Speaker Name</a:t>
            </a:r>
          </a:p>
        </p:txBody>
      </p:sp>
      <p:sp>
        <p:nvSpPr>
          <p:cNvPr id="35" name="Text Placeholder 2">
            <a:extLst>
              <a:ext uri="{FF2B5EF4-FFF2-40B4-BE49-F238E27FC236}">
                <a16:creationId xmlns:a16="http://schemas.microsoft.com/office/drawing/2014/main" id="{867343B0-47C1-4744-BD95-3227C8CCD7C6}"/>
              </a:ext>
            </a:extLst>
          </p:cNvPr>
          <p:cNvSpPr>
            <a:spLocks noGrp="1"/>
          </p:cNvSpPr>
          <p:nvPr>
            <p:ph type="body" idx="31" hasCustomPrompt="1"/>
          </p:nvPr>
        </p:nvSpPr>
        <p:spPr>
          <a:xfrm>
            <a:off x="9018588" y="4375550"/>
            <a:ext cx="2689223" cy="436563"/>
          </a:xfrm>
          <a:prstGeom prst="rect">
            <a:avLst/>
          </a:prstGeom>
        </p:spPr>
        <p:txBody>
          <a:bodyPr anchor="t"/>
          <a:lstStyle>
            <a:lvl1pPr marL="0" indent="0" algn="ctr">
              <a:buNone/>
              <a:defRPr sz="1800" b="1" baseline="0">
                <a:solidFill>
                  <a:schemeClr val="accent5"/>
                </a:solidFill>
                <a:latin typeface="Roboto" panose="02000000000000000000" pitchFamily="2" charset="0"/>
                <a:ea typeface="Roboto" panose="02000000000000000000" pitchFamily="2" charset="0"/>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2" indent="0">
              <a:buNone/>
              <a:defRPr sz="1600" b="1"/>
            </a:lvl6pPr>
            <a:lvl7pPr marL="2742651" indent="0">
              <a:buNone/>
              <a:defRPr sz="1600" b="1"/>
            </a:lvl7pPr>
            <a:lvl8pPr marL="3199760" indent="0">
              <a:buNone/>
              <a:defRPr sz="1600" b="1"/>
            </a:lvl8pPr>
            <a:lvl9pPr marL="3656869" indent="0">
              <a:buNone/>
              <a:defRPr sz="1600" b="1"/>
            </a:lvl9pPr>
          </a:lstStyle>
          <a:p>
            <a:pPr lvl="0"/>
            <a:r>
              <a:rPr lang="en-US"/>
              <a:t>Speaker Name</a:t>
            </a:r>
          </a:p>
        </p:txBody>
      </p:sp>
      <p:sp>
        <p:nvSpPr>
          <p:cNvPr id="36" name="Diamond 35">
            <a:extLst>
              <a:ext uri="{FF2B5EF4-FFF2-40B4-BE49-F238E27FC236}">
                <a16:creationId xmlns:a16="http://schemas.microsoft.com/office/drawing/2014/main" id="{91A088DD-4084-8A4C-835A-43C900EFB079}"/>
              </a:ext>
            </a:extLst>
          </p:cNvPr>
          <p:cNvSpPr/>
          <p:nvPr userDrawn="1"/>
        </p:nvSpPr>
        <p:spPr>
          <a:xfrm>
            <a:off x="569655" y="1730618"/>
            <a:ext cx="2476500" cy="2476500"/>
          </a:xfrm>
          <a:prstGeom prst="diamond">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algn="ctr"/>
            <a:endParaRPr lang="en-US">
              <a:latin typeface="Roboto" panose="02000000000000000000" pitchFamily="2" charset="0"/>
              <a:ea typeface="Roboto" panose="02000000000000000000" pitchFamily="2" charset="0"/>
              <a:cs typeface="Roboto" charset="0"/>
            </a:endParaRPr>
          </a:p>
        </p:txBody>
      </p:sp>
      <p:sp>
        <p:nvSpPr>
          <p:cNvPr id="37" name="Diamond 36">
            <a:extLst>
              <a:ext uri="{FF2B5EF4-FFF2-40B4-BE49-F238E27FC236}">
                <a16:creationId xmlns:a16="http://schemas.microsoft.com/office/drawing/2014/main" id="{171206F5-56D1-2E45-B018-D785D58A8E5D}"/>
              </a:ext>
            </a:extLst>
          </p:cNvPr>
          <p:cNvSpPr/>
          <p:nvPr userDrawn="1"/>
        </p:nvSpPr>
        <p:spPr>
          <a:xfrm>
            <a:off x="3449718" y="1730618"/>
            <a:ext cx="2476500" cy="2476500"/>
          </a:xfrm>
          <a:prstGeom prst="diamond">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algn="ctr"/>
            <a:endParaRPr lang="en-US">
              <a:latin typeface="Roboto" panose="02000000000000000000" pitchFamily="2" charset="0"/>
              <a:ea typeface="Roboto" panose="02000000000000000000" pitchFamily="2" charset="0"/>
              <a:cs typeface="Roboto" charset="0"/>
            </a:endParaRPr>
          </a:p>
        </p:txBody>
      </p:sp>
      <p:sp>
        <p:nvSpPr>
          <p:cNvPr id="38" name="Diamond 37">
            <a:extLst>
              <a:ext uri="{FF2B5EF4-FFF2-40B4-BE49-F238E27FC236}">
                <a16:creationId xmlns:a16="http://schemas.microsoft.com/office/drawing/2014/main" id="{172F3937-CFA8-E145-95DE-FB61E8D3E1F3}"/>
              </a:ext>
            </a:extLst>
          </p:cNvPr>
          <p:cNvSpPr/>
          <p:nvPr userDrawn="1"/>
        </p:nvSpPr>
        <p:spPr>
          <a:xfrm>
            <a:off x="6329781" y="1730618"/>
            <a:ext cx="2476500" cy="2476500"/>
          </a:xfrm>
          <a:prstGeom prst="diamond">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algn="ctr"/>
            <a:endParaRPr lang="en-US">
              <a:latin typeface="Roboto" panose="02000000000000000000" pitchFamily="2" charset="0"/>
              <a:ea typeface="Roboto" panose="02000000000000000000" pitchFamily="2" charset="0"/>
              <a:cs typeface="Roboto" charset="0"/>
            </a:endParaRPr>
          </a:p>
        </p:txBody>
      </p:sp>
      <p:sp>
        <p:nvSpPr>
          <p:cNvPr id="39" name="Diamond 38">
            <a:extLst>
              <a:ext uri="{FF2B5EF4-FFF2-40B4-BE49-F238E27FC236}">
                <a16:creationId xmlns:a16="http://schemas.microsoft.com/office/drawing/2014/main" id="{B45E6384-37FE-A84B-80D1-8A1FBCBDFC4D}"/>
              </a:ext>
            </a:extLst>
          </p:cNvPr>
          <p:cNvSpPr/>
          <p:nvPr userDrawn="1"/>
        </p:nvSpPr>
        <p:spPr>
          <a:xfrm>
            <a:off x="9209843" y="1730618"/>
            <a:ext cx="2476500" cy="2476500"/>
          </a:xfrm>
          <a:prstGeom prst="diamond">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algn="ctr"/>
            <a:endParaRPr lang="en-US">
              <a:latin typeface="Roboto" panose="02000000000000000000" pitchFamily="2" charset="0"/>
              <a:ea typeface="Roboto" panose="02000000000000000000" pitchFamily="2" charset="0"/>
              <a:cs typeface="Roboto" charset="0"/>
            </a:endParaRPr>
          </a:p>
        </p:txBody>
      </p:sp>
      <p:sp>
        <p:nvSpPr>
          <p:cNvPr id="40" name="Picture Placeholder 6">
            <a:extLst>
              <a:ext uri="{FF2B5EF4-FFF2-40B4-BE49-F238E27FC236}">
                <a16:creationId xmlns:a16="http://schemas.microsoft.com/office/drawing/2014/main" id="{61C6B80F-EE96-D047-9252-8D52E557D4B5}"/>
              </a:ext>
            </a:extLst>
          </p:cNvPr>
          <p:cNvSpPr>
            <a:spLocks noGrp="1"/>
          </p:cNvSpPr>
          <p:nvPr>
            <p:ph type="pic" sz="quarter" idx="15" hasCustomPrompt="1"/>
          </p:nvPr>
        </p:nvSpPr>
        <p:spPr>
          <a:xfrm>
            <a:off x="578348" y="1575170"/>
            <a:ext cx="2459114" cy="2457450"/>
          </a:xfrm>
          <a:prstGeom prst="diamond">
            <a:avLst/>
          </a:prstGeom>
          <a:solidFill>
            <a:schemeClr val="bg1">
              <a:lumMod val="95000"/>
            </a:schemeClr>
          </a:solidFill>
          <a:ln w="38100">
            <a:solidFill>
              <a:schemeClr val="bg1"/>
            </a:solidFill>
          </a:ln>
        </p:spPr>
        <p:txBody>
          <a:bodyPr vert="horz" lIns="0" tIns="0" rIns="0" bIns="0" rtlCol="0" anchor="ctr">
            <a:noAutofit/>
          </a:bodyPr>
          <a:lstStyle>
            <a:lvl1pPr>
              <a:defRPr lang="en-US" dirty="0">
                <a:latin typeface="Roboto" panose="02000000000000000000" pitchFamily="2" charset="0"/>
                <a:ea typeface="Roboto" panose="02000000000000000000" pitchFamily="2" charset="0"/>
              </a:defRPr>
            </a:lvl1pPr>
          </a:lstStyle>
          <a:p>
            <a:pPr marL="0" lvl="0" indent="0" algn="ctr">
              <a:buNone/>
            </a:pPr>
            <a:r>
              <a:rPr lang="en-US"/>
              <a:t>CLICK TO INSERT IMAGE</a:t>
            </a:r>
          </a:p>
        </p:txBody>
      </p:sp>
      <p:sp>
        <p:nvSpPr>
          <p:cNvPr id="41" name="Picture Placeholder 6">
            <a:extLst>
              <a:ext uri="{FF2B5EF4-FFF2-40B4-BE49-F238E27FC236}">
                <a16:creationId xmlns:a16="http://schemas.microsoft.com/office/drawing/2014/main" id="{40132503-CA63-334D-97FB-3D2E23836B43}"/>
              </a:ext>
            </a:extLst>
          </p:cNvPr>
          <p:cNvSpPr>
            <a:spLocks noGrp="1"/>
          </p:cNvSpPr>
          <p:nvPr>
            <p:ph type="pic" sz="quarter" idx="16" hasCustomPrompt="1"/>
          </p:nvPr>
        </p:nvSpPr>
        <p:spPr>
          <a:xfrm>
            <a:off x="3458411" y="1575170"/>
            <a:ext cx="2459114" cy="2457450"/>
          </a:xfrm>
          <a:prstGeom prst="diamond">
            <a:avLst/>
          </a:prstGeom>
          <a:solidFill>
            <a:schemeClr val="bg1">
              <a:lumMod val="95000"/>
            </a:schemeClr>
          </a:solidFill>
          <a:ln w="38100">
            <a:solidFill>
              <a:schemeClr val="bg1"/>
            </a:solidFill>
          </a:ln>
        </p:spPr>
        <p:txBody>
          <a:bodyPr vert="horz" lIns="0" tIns="0" rIns="0" bIns="0" rtlCol="0" anchor="ctr">
            <a:noAutofit/>
          </a:bodyPr>
          <a:lstStyle>
            <a:lvl1pPr>
              <a:defRPr lang="en-US" dirty="0">
                <a:latin typeface="Roboto" panose="02000000000000000000" pitchFamily="2" charset="0"/>
                <a:ea typeface="Roboto" panose="02000000000000000000" pitchFamily="2" charset="0"/>
              </a:defRPr>
            </a:lvl1pPr>
          </a:lstStyle>
          <a:p>
            <a:pPr marL="0" lvl="0" indent="0" algn="ctr">
              <a:buNone/>
            </a:pPr>
            <a:r>
              <a:rPr lang="en-US"/>
              <a:t>CLICK TO INSERT IMAGE</a:t>
            </a:r>
          </a:p>
        </p:txBody>
      </p:sp>
      <p:sp>
        <p:nvSpPr>
          <p:cNvPr id="42" name="Picture Placeholder 6">
            <a:extLst>
              <a:ext uri="{FF2B5EF4-FFF2-40B4-BE49-F238E27FC236}">
                <a16:creationId xmlns:a16="http://schemas.microsoft.com/office/drawing/2014/main" id="{AB2F76BF-29E7-814C-8EDC-8309C88CEEC6}"/>
              </a:ext>
            </a:extLst>
          </p:cNvPr>
          <p:cNvSpPr>
            <a:spLocks noGrp="1"/>
          </p:cNvSpPr>
          <p:nvPr>
            <p:ph type="pic" sz="quarter" idx="17" hasCustomPrompt="1"/>
          </p:nvPr>
        </p:nvSpPr>
        <p:spPr>
          <a:xfrm>
            <a:off x="6338474" y="1575170"/>
            <a:ext cx="2459114" cy="2457450"/>
          </a:xfrm>
          <a:prstGeom prst="diamond">
            <a:avLst/>
          </a:prstGeom>
          <a:solidFill>
            <a:schemeClr val="bg1">
              <a:lumMod val="95000"/>
            </a:schemeClr>
          </a:solidFill>
          <a:ln w="38100">
            <a:solidFill>
              <a:schemeClr val="bg1"/>
            </a:solidFill>
          </a:ln>
        </p:spPr>
        <p:txBody>
          <a:bodyPr vert="horz" lIns="0" tIns="0" rIns="0" bIns="0" rtlCol="0" anchor="ctr">
            <a:noAutofit/>
          </a:bodyPr>
          <a:lstStyle>
            <a:lvl1pPr>
              <a:defRPr lang="en-US" dirty="0">
                <a:latin typeface="Roboto" panose="02000000000000000000" pitchFamily="2" charset="0"/>
                <a:ea typeface="Roboto" panose="02000000000000000000" pitchFamily="2" charset="0"/>
              </a:defRPr>
            </a:lvl1pPr>
          </a:lstStyle>
          <a:p>
            <a:pPr marL="0" lvl="0" indent="0" algn="ctr">
              <a:buNone/>
            </a:pPr>
            <a:r>
              <a:rPr lang="en-US"/>
              <a:t>CLICK TO INSERT IMAGE</a:t>
            </a:r>
          </a:p>
        </p:txBody>
      </p:sp>
      <p:sp>
        <p:nvSpPr>
          <p:cNvPr id="43" name="Picture Placeholder 6">
            <a:extLst>
              <a:ext uri="{FF2B5EF4-FFF2-40B4-BE49-F238E27FC236}">
                <a16:creationId xmlns:a16="http://schemas.microsoft.com/office/drawing/2014/main" id="{E2BB33F9-74E8-7242-A909-F5613D8F419B}"/>
              </a:ext>
            </a:extLst>
          </p:cNvPr>
          <p:cNvSpPr>
            <a:spLocks noGrp="1"/>
          </p:cNvSpPr>
          <p:nvPr>
            <p:ph type="pic" sz="quarter" idx="18" hasCustomPrompt="1"/>
          </p:nvPr>
        </p:nvSpPr>
        <p:spPr>
          <a:xfrm>
            <a:off x="9218536" y="1575170"/>
            <a:ext cx="2459114" cy="2457450"/>
          </a:xfrm>
          <a:prstGeom prst="diamond">
            <a:avLst/>
          </a:prstGeom>
          <a:solidFill>
            <a:schemeClr val="bg1">
              <a:lumMod val="95000"/>
            </a:schemeClr>
          </a:solidFill>
          <a:ln w="38100">
            <a:solidFill>
              <a:schemeClr val="bg1"/>
            </a:solidFill>
          </a:ln>
        </p:spPr>
        <p:txBody>
          <a:bodyPr vert="horz" lIns="0" tIns="0" rIns="0" bIns="0" rtlCol="0" anchor="ctr">
            <a:noAutofit/>
          </a:bodyPr>
          <a:lstStyle>
            <a:lvl1pPr>
              <a:defRPr lang="en-US" dirty="0">
                <a:latin typeface="Roboto" panose="02000000000000000000" pitchFamily="2" charset="0"/>
                <a:ea typeface="Roboto" panose="02000000000000000000" pitchFamily="2" charset="0"/>
              </a:defRPr>
            </a:lvl1pPr>
          </a:lstStyle>
          <a:p>
            <a:pPr marL="0" lvl="0" indent="0" algn="ctr">
              <a:buNone/>
            </a:pPr>
            <a:r>
              <a:rPr lang="en-US"/>
              <a:t>CLICK TO INSERT IMAGE</a:t>
            </a:r>
          </a:p>
        </p:txBody>
      </p:sp>
      <p:sp>
        <p:nvSpPr>
          <p:cNvPr id="44" name="Text Placeholder 3">
            <a:extLst>
              <a:ext uri="{FF2B5EF4-FFF2-40B4-BE49-F238E27FC236}">
                <a16:creationId xmlns:a16="http://schemas.microsoft.com/office/drawing/2014/main" id="{51478BA8-6F7A-304D-B86C-2586870BB877}"/>
              </a:ext>
            </a:extLst>
          </p:cNvPr>
          <p:cNvSpPr>
            <a:spLocks noGrp="1"/>
          </p:cNvSpPr>
          <p:nvPr>
            <p:ph type="body" sz="quarter" idx="32"/>
          </p:nvPr>
        </p:nvSpPr>
        <p:spPr>
          <a:xfrm>
            <a:off x="592931" y="4813475"/>
            <a:ext cx="2525712" cy="455613"/>
          </a:xfrm>
          <a:prstGeom prst="rect">
            <a:avLst/>
          </a:prstGeom>
        </p:spPr>
        <p:txBody>
          <a:bodyPr/>
          <a:lstStyle>
            <a:lvl1pPr marL="0" indent="0" algn="ctr">
              <a:buNone/>
              <a:defRPr sz="1400">
                <a:latin typeface="Roboto" panose="02000000000000000000" pitchFamily="2" charset="0"/>
                <a:ea typeface="Roboto" panose="02000000000000000000" pitchFamily="2" charset="0"/>
              </a:defRPr>
            </a:lvl1pPr>
          </a:lstStyle>
          <a:p>
            <a:pPr lvl="0"/>
            <a:r>
              <a:rPr lang="en-US"/>
              <a:t>Click to edit Master text styles</a:t>
            </a:r>
          </a:p>
        </p:txBody>
      </p:sp>
      <p:sp>
        <p:nvSpPr>
          <p:cNvPr id="45" name="Text Placeholder 3">
            <a:extLst>
              <a:ext uri="{FF2B5EF4-FFF2-40B4-BE49-F238E27FC236}">
                <a16:creationId xmlns:a16="http://schemas.microsoft.com/office/drawing/2014/main" id="{3ACA0384-4BC3-A24F-A4AA-30821C5B75DF}"/>
              </a:ext>
            </a:extLst>
          </p:cNvPr>
          <p:cNvSpPr>
            <a:spLocks noGrp="1"/>
          </p:cNvSpPr>
          <p:nvPr>
            <p:ph type="body" sz="quarter" idx="33"/>
          </p:nvPr>
        </p:nvSpPr>
        <p:spPr>
          <a:xfrm>
            <a:off x="3440376" y="4813475"/>
            <a:ext cx="2525712" cy="455613"/>
          </a:xfrm>
          <a:prstGeom prst="rect">
            <a:avLst/>
          </a:prstGeom>
        </p:spPr>
        <p:txBody>
          <a:bodyPr/>
          <a:lstStyle>
            <a:lvl1pPr marL="0" indent="0" algn="ctr">
              <a:buNone/>
              <a:defRPr sz="1400">
                <a:latin typeface="Roboto" panose="02000000000000000000" pitchFamily="2" charset="0"/>
                <a:ea typeface="Roboto" panose="02000000000000000000" pitchFamily="2" charset="0"/>
              </a:defRPr>
            </a:lvl1pPr>
          </a:lstStyle>
          <a:p>
            <a:pPr lvl="0"/>
            <a:r>
              <a:rPr lang="en-US"/>
              <a:t>Click to edit Master text styles</a:t>
            </a:r>
          </a:p>
        </p:txBody>
      </p:sp>
      <p:sp>
        <p:nvSpPr>
          <p:cNvPr id="46" name="Text Placeholder 3">
            <a:extLst>
              <a:ext uri="{FF2B5EF4-FFF2-40B4-BE49-F238E27FC236}">
                <a16:creationId xmlns:a16="http://schemas.microsoft.com/office/drawing/2014/main" id="{AFE12184-A449-394F-9A5B-6B7181B0EA62}"/>
              </a:ext>
            </a:extLst>
          </p:cNvPr>
          <p:cNvSpPr>
            <a:spLocks noGrp="1"/>
          </p:cNvSpPr>
          <p:nvPr>
            <p:ph type="body" sz="quarter" idx="34"/>
          </p:nvPr>
        </p:nvSpPr>
        <p:spPr>
          <a:xfrm>
            <a:off x="6252897" y="4813475"/>
            <a:ext cx="2525712" cy="455613"/>
          </a:xfrm>
          <a:prstGeom prst="rect">
            <a:avLst/>
          </a:prstGeom>
        </p:spPr>
        <p:txBody>
          <a:bodyPr/>
          <a:lstStyle>
            <a:lvl1pPr marL="0" indent="0" algn="ctr">
              <a:buNone/>
              <a:defRPr sz="1400">
                <a:latin typeface="Roboto" panose="02000000000000000000" pitchFamily="2" charset="0"/>
                <a:ea typeface="Roboto" panose="02000000000000000000" pitchFamily="2" charset="0"/>
              </a:defRPr>
            </a:lvl1pPr>
          </a:lstStyle>
          <a:p>
            <a:pPr lvl="0"/>
            <a:r>
              <a:rPr lang="en-US"/>
              <a:t>Click to edit Master text styles</a:t>
            </a:r>
          </a:p>
        </p:txBody>
      </p:sp>
      <p:sp>
        <p:nvSpPr>
          <p:cNvPr id="47" name="Text Placeholder 3">
            <a:extLst>
              <a:ext uri="{FF2B5EF4-FFF2-40B4-BE49-F238E27FC236}">
                <a16:creationId xmlns:a16="http://schemas.microsoft.com/office/drawing/2014/main" id="{DBB1A060-0915-AC4B-B2BB-D822FB5AA629}"/>
              </a:ext>
            </a:extLst>
          </p:cNvPr>
          <p:cNvSpPr>
            <a:spLocks noGrp="1"/>
          </p:cNvSpPr>
          <p:nvPr>
            <p:ph type="body" sz="quarter" idx="35"/>
          </p:nvPr>
        </p:nvSpPr>
        <p:spPr>
          <a:xfrm>
            <a:off x="9100343" y="4813475"/>
            <a:ext cx="2525712" cy="455613"/>
          </a:xfrm>
          <a:prstGeom prst="rect">
            <a:avLst/>
          </a:prstGeom>
        </p:spPr>
        <p:txBody>
          <a:bodyPr/>
          <a:lstStyle>
            <a:lvl1pPr marL="0" indent="0" algn="ctr">
              <a:buNone/>
              <a:defRPr sz="1400">
                <a:latin typeface="Roboto" panose="02000000000000000000" pitchFamily="2" charset="0"/>
                <a:ea typeface="Roboto" panose="02000000000000000000" pitchFamily="2" charset="0"/>
              </a:defRPr>
            </a:lvl1pPr>
          </a:lstStyle>
          <a:p>
            <a:pPr lvl="0"/>
            <a:r>
              <a:rPr lang="en-US"/>
              <a:t>Click to edit Master text styles</a:t>
            </a:r>
          </a:p>
        </p:txBody>
      </p:sp>
    </p:spTree>
    <p:extLst>
      <p:ext uri="{BB962C8B-B14F-4D97-AF65-F5344CB8AC3E}">
        <p14:creationId xmlns:p14="http://schemas.microsoft.com/office/powerpoint/2010/main" val="1662896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Subtitle_Blank">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9C2F1016-B466-4242-A533-B4B9C2BB3CBE}"/>
              </a:ext>
            </a:extLst>
          </p:cNvPr>
          <p:cNvSpPr>
            <a:spLocks noGrp="1"/>
          </p:cNvSpPr>
          <p:nvPr>
            <p:ph type="title" hasCustomPrompt="1"/>
          </p:nvPr>
        </p:nvSpPr>
        <p:spPr>
          <a:xfrm>
            <a:off x="488950" y="482602"/>
            <a:ext cx="11188700" cy="562427"/>
          </a:xfrm>
          <a:prstGeom prst="rect">
            <a:avLst/>
          </a:prstGeom>
        </p:spPr>
        <p:txBody>
          <a:bodyPr lIns="0"/>
          <a:lstStyle>
            <a:lvl1pPr>
              <a:defRPr baseline="0">
                <a:solidFill>
                  <a:schemeClr val="tx1"/>
                </a:solidFill>
              </a:defRPr>
            </a:lvl1pPr>
          </a:lstStyle>
          <a:p>
            <a:r>
              <a:rPr lang="en-US" dirty="0"/>
              <a:t>Headline Goes Here, Roboto Light, 36 Points, 1 Line</a:t>
            </a:r>
          </a:p>
        </p:txBody>
      </p:sp>
      <p:sp>
        <p:nvSpPr>
          <p:cNvPr id="7" name="Text Placeholder 4">
            <a:extLst>
              <a:ext uri="{FF2B5EF4-FFF2-40B4-BE49-F238E27FC236}">
                <a16:creationId xmlns:a16="http://schemas.microsoft.com/office/drawing/2014/main" id="{4A5A634F-036F-FD48-800E-60DC0533F59F}"/>
              </a:ext>
            </a:extLst>
          </p:cNvPr>
          <p:cNvSpPr>
            <a:spLocks noGrp="1"/>
          </p:cNvSpPr>
          <p:nvPr>
            <p:ph type="body" sz="quarter" idx="13" hasCustomPrompt="1"/>
          </p:nvPr>
        </p:nvSpPr>
        <p:spPr>
          <a:xfrm>
            <a:off x="488951" y="1043417"/>
            <a:ext cx="11193296" cy="331601"/>
          </a:xfrm>
        </p:spPr>
        <p:txBody>
          <a:bodyPr anchor="t"/>
          <a:lstStyle>
            <a:lvl1pPr marL="0" indent="0">
              <a:buNone/>
              <a:defRPr sz="2400" i="0">
                <a:solidFill>
                  <a:schemeClr val="bg1">
                    <a:lumMod val="50000"/>
                  </a:schemeClr>
                </a:solidFill>
              </a:defRPr>
            </a:lvl1pPr>
            <a:lvl2pPr marL="169863" indent="0">
              <a:buNone/>
              <a:defRPr/>
            </a:lvl2pPr>
            <a:lvl3pPr marL="344487" indent="0">
              <a:buNone/>
              <a:defRPr/>
            </a:lvl3pPr>
            <a:lvl4pPr marL="458788" indent="0">
              <a:buNone/>
              <a:defRPr/>
            </a:lvl4pPr>
            <a:lvl5pPr marL="630237" indent="0">
              <a:buNone/>
              <a:defRPr/>
            </a:lvl5pPr>
          </a:lstStyle>
          <a:p>
            <a:pPr lvl="0"/>
            <a:r>
              <a:rPr lang="en-US" dirty="0"/>
              <a:t>Subtitle goes here, </a:t>
            </a:r>
            <a:r>
              <a:rPr lang="en-US" dirty="0" err="1"/>
              <a:t>Roboto</a:t>
            </a:r>
            <a:r>
              <a:rPr lang="en-US" dirty="0"/>
              <a:t> Regular 24 point, no longer than one line</a:t>
            </a:r>
          </a:p>
        </p:txBody>
      </p:sp>
    </p:spTree>
    <p:extLst>
      <p:ext uri="{BB962C8B-B14F-4D97-AF65-F5344CB8AC3E}">
        <p14:creationId xmlns:p14="http://schemas.microsoft.com/office/powerpoint/2010/main" val="2755662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3" name="Right Triangle 32">
            <a:extLst>
              <a:ext uri="{FF2B5EF4-FFF2-40B4-BE49-F238E27FC236}">
                <a16:creationId xmlns:a16="http://schemas.microsoft.com/office/drawing/2014/main" id="{037D1EC7-8BD5-A840-984E-51CEE19E5D92}"/>
              </a:ext>
            </a:extLst>
          </p:cNvPr>
          <p:cNvSpPr/>
          <p:nvPr userDrawn="1"/>
        </p:nvSpPr>
        <p:spPr>
          <a:xfrm>
            <a:off x="0" y="2761950"/>
            <a:ext cx="702453" cy="4096050"/>
          </a:xfrm>
          <a:prstGeom prst="r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23" name="Freeform 10">
            <a:extLst>
              <a:ext uri="{FF2B5EF4-FFF2-40B4-BE49-F238E27FC236}">
                <a16:creationId xmlns:a16="http://schemas.microsoft.com/office/drawing/2014/main" id="{745915A3-D5B5-48C4-B6C4-9329F420CA9D}"/>
              </a:ext>
            </a:extLst>
          </p:cNvPr>
          <p:cNvSpPr/>
          <p:nvPr userDrawn="1"/>
        </p:nvSpPr>
        <p:spPr>
          <a:xfrm>
            <a:off x="1027113" y="1860533"/>
            <a:ext cx="3383106" cy="1333425"/>
          </a:xfrm>
          <a:custGeom>
            <a:avLst/>
            <a:gdLst>
              <a:gd name="connsiteX0" fmla="*/ 0 w 2946408"/>
              <a:gd name="connsiteY0" fmla="*/ 0 h 1767845"/>
              <a:gd name="connsiteX1" fmla="*/ 2946408 w 2946408"/>
              <a:gd name="connsiteY1" fmla="*/ 0 h 1767845"/>
              <a:gd name="connsiteX2" fmla="*/ 2946408 w 2946408"/>
              <a:gd name="connsiteY2" fmla="*/ 1767845 h 1767845"/>
              <a:gd name="connsiteX3" fmla="*/ 0 w 2946408"/>
              <a:gd name="connsiteY3" fmla="*/ 1767845 h 1767845"/>
              <a:gd name="connsiteX4" fmla="*/ 0 w 2946408"/>
              <a:gd name="connsiteY4" fmla="*/ 0 h 1767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6408" h="1767845">
                <a:moveTo>
                  <a:pt x="0" y="0"/>
                </a:moveTo>
                <a:lnTo>
                  <a:pt x="2946408" y="0"/>
                </a:lnTo>
                <a:lnTo>
                  <a:pt x="2946408" y="1767845"/>
                </a:lnTo>
                <a:lnTo>
                  <a:pt x="0" y="1767845"/>
                </a:lnTo>
                <a:lnTo>
                  <a:pt x="0" y="0"/>
                </a:lnTo>
                <a:close/>
              </a:path>
            </a:pathLst>
          </a:custGeom>
          <a:solidFill>
            <a:srgbClr val="EAEAEA"/>
          </a:solidFill>
          <a:effectLst/>
        </p:spPr>
        <p:style>
          <a:lnRef idx="0">
            <a:schemeClr val="lt1">
              <a:hueOff val="0"/>
              <a:satOff val="0"/>
              <a:lumOff val="0"/>
              <a:alphaOff val="0"/>
            </a:schemeClr>
          </a:lnRef>
          <a:fillRef idx="3">
            <a:schemeClr val="accent2">
              <a:shade val="50000"/>
              <a:hueOff val="0"/>
              <a:satOff val="0"/>
              <a:lumOff val="0"/>
              <a:alphaOff val="0"/>
            </a:schemeClr>
          </a:fillRef>
          <a:effectRef idx="2">
            <a:schemeClr val="accent2">
              <a:shade val="50000"/>
              <a:hueOff val="0"/>
              <a:satOff val="0"/>
              <a:lumOff val="0"/>
              <a:alphaOff val="0"/>
            </a:schemeClr>
          </a:effectRef>
          <a:fontRef idx="minor">
            <a:schemeClr val="lt1"/>
          </a:fontRef>
        </p:style>
        <p:txBody>
          <a:bodyPr spcFirstLastPara="0" vert="horz" wrap="square" lIns="822960" tIns="91440" rIns="133316" bIns="133316" numCol="1" spcCol="1270" anchor="t" anchorCtr="0">
            <a:noAutofit/>
          </a:bodyPr>
          <a:lstStyle/>
          <a:p>
            <a:pPr marL="0" marR="0" lvl="0" indent="0" defTabSz="1555362" rtl="0" eaLnBrk="1" fontAlgn="auto" latinLnBrk="0" hangingPunct="1">
              <a:lnSpc>
                <a:spcPct val="90000"/>
              </a:lnSpc>
              <a:spcBef>
                <a:spcPct val="0"/>
              </a:spcBef>
              <a:spcAft>
                <a:spcPct val="35000"/>
              </a:spcAft>
              <a:buClrTx/>
              <a:buSzTx/>
              <a:buFontTx/>
              <a:buNone/>
              <a:tabLst/>
              <a:defRPr/>
            </a:pPr>
            <a:endParaRPr kumimoji="0" lang="en-US" sz="2400" u="none" strike="noStrike" kern="1200" cap="none" spc="0" normalizeH="0" baseline="0" noProof="0">
              <a:ln>
                <a:noFill/>
              </a:ln>
              <a:solidFill>
                <a:srgbClr val="373737"/>
              </a:solidFill>
              <a:effectLst/>
              <a:uLnTx/>
              <a:uFillTx/>
              <a:latin typeface="Roboto Light" panose="02000000000000000000" pitchFamily="2" charset="0"/>
              <a:ea typeface="Roboto Light" panose="02000000000000000000" pitchFamily="2" charset="0"/>
            </a:endParaRPr>
          </a:p>
        </p:txBody>
      </p:sp>
      <p:sp>
        <p:nvSpPr>
          <p:cNvPr id="25" name="Flowchart: Data 17">
            <a:extLst>
              <a:ext uri="{FF2B5EF4-FFF2-40B4-BE49-F238E27FC236}">
                <a16:creationId xmlns:a16="http://schemas.microsoft.com/office/drawing/2014/main" id="{349B7BD3-DEBB-4DD7-838A-6E8B2A05986E}"/>
              </a:ext>
            </a:extLst>
          </p:cNvPr>
          <p:cNvSpPr/>
          <p:nvPr userDrawn="1"/>
        </p:nvSpPr>
        <p:spPr>
          <a:xfrm>
            <a:off x="1150617" y="1962826"/>
            <a:ext cx="531595" cy="521348"/>
          </a:xfrm>
          <a:prstGeom prst="rect">
            <a:avLst/>
          </a:prstGeom>
          <a:solidFill>
            <a:schemeClr val="accent5"/>
          </a:solidFill>
          <a:ln w="12700">
            <a:noFill/>
          </a:ln>
          <a:effectLst/>
        </p:spPr>
        <p:style>
          <a:lnRef idx="1">
            <a:schemeClr val="accent1"/>
          </a:lnRef>
          <a:fillRef idx="3">
            <a:schemeClr val="accent1"/>
          </a:fillRef>
          <a:effectRef idx="2">
            <a:schemeClr val="accent1"/>
          </a:effectRef>
          <a:fontRef idx="minor">
            <a:schemeClr val="lt1"/>
          </a:fontRef>
        </p:style>
        <p:txBody>
          <a:bodyPr tIns="91416" bIns="91416" rtlCol="0" anchor="ctr"/>
          <a:lstStyle/>
          <a:p>
            <a:pPr marL="0" marR="0" lvl="0" indent="0" algn="ctr" defTabSz="1218895" rtl="0" eaLnBrk="1" fontAlgn="auto" latinLnBrk="0" hangingPunct="1">
              <a:lnSpc>
                <a:spcPct val="100000"/>
              </a:lnSpc>
              <a:spcBef>
                <a:spcPts val="0"/>
              </a:spcBef>
              <a:spcAft>
                <a:spcPts val="0"/>
              </a:spcAft>
              <a:buClrTx/>
              <a:buSzTx/>
              <a:buFontTx/>
              <a:buNone/>
              <a:tabLst/>
              <a:defRPr/>
            </a:pPr>
            <a:r>
              <a:rPr kumimoji="0" lang="en-US" sz="2399" u="none" strike="noStrike" kern="1200" cap="none" spc="0" normalizeH="0" baseline="0" noProof="0">
                <a:ln>
                  <a:noFill/>
                </a:ln>
                <a:solidFill>
                  <a:srgbClr val="FFFFFF"/>
                </a:solidFill>
                <a:effectLst/>
                <a:uLnTx/>
                <a:uFillTx/>
                <a:latin typeface="Roboto Light" panose="02000000000000000000" pitchFamily="2" charset="0"/>
                <a:ea typeface="Roboto Light" panose="02000000000000000000" pitchFamily="2" charset="0"/>
              </a:rPr>
              <a:t>1</a:t>
            </a:r>
          </a:p>
        </p:txBody>
      </p:sp>
      <p:sp>
        <p:nvSpPr>
          <p:cNvPr id="30" name="Freeform 11">
            <a:extLst>
              <a:ext uri="{FF2B5EF4-FFF2-40B4-BE49-F238E27FC236}">
                <a16:creationId xmlns:a16="http://schemas.microsoft.com/office/drawing/2014/main" id="{2A064FF6-AF2D-4388-93FD-EA665ED5B8F5}"/>
              </a:ext>
            </a:extLst>
          </p:cNvPr>
          <p:cNvSpPr/>
          <p:nvPr userDrawn="1"/>
        </p:nvSpPr>
        <p:spPr>
          <a:xfrm>
            <a:off x="4660828" y="1860533"/>
            <a:ext cx="3383107" cy="1333424"/>
          </a:xfrm>
          <a:custGeom>
            <a:avLst/>
            <a:gdLst>
              <a:gd name="connsiteX0" fmla="*/ 0 w 2946408"/>
              <a:gd name="connsiteY0" fmla="*/ 0 h 1767845"/>
              <a:gd name="connsiteX1" fmla="*/ 2946408 w 2946408"/>
              <a:gd name="connsiteY1" fmla="*/ 0 h 1767845"/>
              <a:gd name="connsiteX2" fmla="*/ 2946408 w 2946408"/>
              <a:gd name="connsiteY2" fmla="*/ 1767845 h 1767845"/>
              <a:gd name="connsiteX3" fmla="*/ 0 w 2946408"/>
              <a:gd name="connsiteY3" fmla="*/ 1767845 h 1767845"/>
              <a:gd name="connsiteX4" fmla="*/ 0 w 2946408"/>
              <a:gd name="connsiteY4" fmla="*/ 0 h 1767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6408" h="1767845">
                <a:moveTo>
                  <a:pt x="0" y="0"/>
                </a:moveTo>
                <a:lnTo>
                  <a:pt x="2946408" y="0"/>
                </a:lnTo>
                <a:lnTo>
                  <a:pt x="2946408" y="1767845"/>
                </a:lnTo>
                <a:lnTo>
                  <a:pt x="0" y="1767845"/>
                </a:lnTo>
                <a:lnTo>
                  <a:pt x="0" y="0"/>
                </a:lnTo>
                <a:close/>
              </a:path>
            </a:pathLst>
          </a:custGeom>
          <a:solidFill>
            <a:srgbClr val="EAEAEA"/>
          </a:solidFill>
          <a:effectLst/>
        </p:spPr>
        <p:style>
          <a:lnRef idx="0">
            <a:schemeClr val="lt1">
              <a:hueOff val="0"/>
              <a:satOff val="0"/>
              <a:lumOff val="0"/>
              <a:alphaOff val="0"/>
            </a:schemeClr>
          </a:lnRef>
          <a:fillRef idx="3">
            <a:schemeClr val="accent2">
              <a:shade val="50000"/>
              <a:hueOff val="-352213"/>
              <a:satOff val="0"/>
              <a:lumOff val="20640"/>
              <a:alphaOff val="0"/>
            </a:schemeClr>
          </a:fillRef>
          <a:effectRef idx="2">
            <a:schemeClr val="accent2">
              <a:shade val="50000"/>
              <a:hueOff val="-352213"/>
              <a:satOff val="0"/>
              <a:lumOff val="20640"/>
              <a:alphaOff val="0"/>
            </a:schemeClr>
          </a:effectRef>
          <a:fontRef idx="minor">
            <a:schemeClr val="lt1"/>
          </a:fontRef>
        </p:style>
        <p:txBody>
          <a:bodyPr spcFirstLastPara="0" vert="horz" wrap="square" lIns="822960" tIns="91440" rIns="133316" bIns="133316" numCol="1" spcCol="1270" anchor="t" anchorCtr="0">
            <a:noAutofit/>
          </a:bodyPr>
          <a:lstStyle/>
          <a:p>
            <a:pPr marL="0" marR="0" lvl="0" indent="0" defTabSz="1555362" rtl="0" eaLnBrk="1" fontAlgn="auto" latinLnBrk="0" hangingPunct="1">
              <a:lnSpc>
                <a:spcPct val="90000"/>
              </a:lnSpc>
              <a:spcBef>
                <a:spcPct val="0"/>
              </a:spcBef>
              <a:spcAft>
                <a:spcPct val="35000"/>
              </a:spcAft>
              <a:buClrTx/>
              <a:buSzTx/>
              <a:buFontTx/>
              <a:buNone/>
              <a:tabLst/>
              <a:defRPr/>
            </a:pPr>
            <a:endParaRPr kumimoji="0" lang="en-US" sz="2400" u="none" strike="noStrike" kern="1200" cap="none" spc="0" normalizeH="0" baseline="0" noProof="0">
              <a:ln>
                <a:noFill/>
              </a:ln>
              <a:solidFill>
                <a:srgbClr val="373737"/>
              </a:solidFill>
              <a:effectLst/>
              <a:uLnTx/>
              <a:uFillTx/>
              <a:latin typeface="Roboto Light" panose="02000000000000000000" pitchFamily="2" charset="0"/>
              <a:ea typeface="Roboto Light" panose="02000000000000000000" pitchFamily="2" charset="0"/>
            </a:endParaRPr>
          </a:p>
        </p:txBody>
      </p:sp>
      <p:sp>
        <p:nvSpPr>
          <p:cNvPr id="43" name="Flowchart: Data 17">
            <a:extLst>
              <a:ext uri="{FF2B5EF4-FFF2-40B4-BE49-F238E27FC236}">
                <a16:creationId xmlns:a16="http://schemas.microsoft.com/office/drawing/2014/main" id="{418571D1-079C-4BAE-B2D5-2A5E1D7D222E}"/>
              </a:ext>
            </a:extLst>
          </p:cNvPr>
          <p:cNvSpPr/>
          <p:nvPr userDrawn="1"/>
        </p:nvSpPr>
        <p:spPr>
          <a:xfrm>
            <a:off x="4789269" y="1957506"/>
            <a:ext cx="531595" cy="521348"/>
          </a:xfrm>
          <a:prstGeom prst="rect">
            <a:avLst/>
          </a:prstGeom>
          <a:solidFill>
            <a:schemeClr val="accent2"/>
          </a:solidFill>
          <a:ln w="12700">
            <a:noFill/>
          </a:ln>
          <a:effectLst/>
        </p:spPr>
        <p:style>
          <a:lnRef idx="1">
            <a:schemeClr val="accent1"/>
          </a:lnRef>
          <a:fillRef idx="3">
            <a:schemeClr val="accent1"/>
          </a:fillRef>
          <a:effectRef idx="2">
            <a:schemeClr val="accent1"/>
          </a:effectRef>
          <a:fontRef idx="minor">
            <a:schemeClr val="lt1"/>
          </a:fontRef>
        </p:style>
        <p:txBody>
          <a:bodyPr tIns="91416" bIns="91416" rtlCol="0" anchor="ctr"/>
          <a:lstStyle/>
          <a:p>
            <a:pPr marL="0" marR="0" lvl="0" indent="0" algn="ctr" defTabSz="1218895" rtl="0" eaLnBrk="1" fontAlgn="auto" latinLnBrk="0" hangingPunct="1">
              <a:lnSpc>
                <a:spcPct val="100000"/>
              </a:lnSpc>
              <a:spcBef>
                <a:spcPts val="0"/>
              </a:spcBef>
              <a:spcAft>
                <a:spcPts val="0"/>
              </a:spcAft>
              <a:buClrTx/>
              <a:buSzTx/>
              <a:buFontTx/>
              <a:buNone/>
              <a:tabLst/>
              <a:defRPr/>
            </a:pPr>
            <a:r>
              <a:rPr kumimoji="0" lang="en-US" sz="2399" u="none" strike="noStrike" kern="1200" cap="none" spc="0" normalizeH="0" baseline="0" noProof="0">
                <a:ln>
                  <a:noFill/>
                </a:ln>
                <a:solidFill>
                  <a:srgbClr val="FFFFFF"/>
                </a:solidFill>
                <a:effectLst/>
                <a:uLnTx/>
                <a:uFillTx/>
                <a:latin typeface="Roboto Light" panose="02000000000000000000" pitchFamily="2" charset="0"/>
                <a:ea typeface="Roboto Light" panose="02000000000000000000" pitchFamily="2" charset="0"/>
              </a:rPr>
              <a:t>2</a:t>
            </a:r>
          </a:p>
        </p:txBody>
      </p:sp>
      <p:sp>
        <p:nvSpPr>
          <p:cNvPr id="45" name="Freeform 12">
            <a:extLst>
              <a:ext uri="{FF2B5EF4-FFF2-40B4-BE49-F238E27FC236}">
                <a16:creationId xmlns:a16="http://schemas.microsoft.com/office/drawing/2014/main" id="{11238401-CA18-45C5-B261-27601B93764E}"/>
              </a:ext>
            </a:extLst>
          </p:cNvPr>
          <p:cNvSpPr/>
          <p:nvPr userDrawn="1"/>
        </p:nvSpPr>
        <p:spPr>
          <a:xfrm>
            <a:off x="8294545" y="1860532"/>
            <a:ext cx="3383106" cy="1333425"/>
          </a:xfrm>
          <a:custGeom>
            <a:avLst/>
            <a:gdLst>
              <a:gd name="connsiteX0" fmla="*/ 0 w 2946408"/>
              <a:gd name="connsiteY0" fmla="*/ 0 h 1767845"/>
              <a:gd name="connsiteX1" fmla="*/ 2946408 w 2946408"/>
              <a:gd name="connsiteY1" fmla="*/ 0 h 1767845"/>
              <a:gd name="connsiteX2" fmla="*/ 2946408 w 2946408"/>
              <a:gd name="connsiteY2" fmla="*/ 1767845 h 1767845"/>
              <a:gd name="connsiteX3" fmla="*/ 0 w 2946408"/>
              <a:gd name="connsiteY3" fmla="*/ 1767845 h 1767845"/>
              <a:gd name="connsiteX4" fmla="*/ 0 w 2946408"/>
              <a:gd name="connsiteY4" fmla="*/ 0 h 1767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6408" h="1767845">
                <a:moveTo>
                  <a:pt x="0" y="0"/>
                </a:moveTo>
                <a:lnTo>
                  <a:pt x="2946408" y="0"/>
                </a:lnTo>
                <a:lnTo>
                  <a:pt x="2946408" y="1767845"/>
                </a:lnTo>
                <a:lnTo>
                  <a:pt x="0" y="1767845"/>
                </a:lnTo>
                <a:lnTo>
                  <a:pt x="0" y="0"/>
                </a:lnTo>
                <a:close/>
              </a:path>
            </a:pathLst>
          </a:custGeom>
          <a:solidFill>
            <a:srgbClr val="EAEAEA"/>
          </a:solidFill>
          <a:effectLst/>
        </p:spPr>
        <p:style>
          <a:lnRef idx="0">
            <a:schemeClr val="lt1">
              <a:hueOff val="0"/>
              <a:satOff val="0"/>
              <a:lumOff val="0"/>
              <a:alphaOff val="0"/>
            </a:schemeClr>
          </a:lnRef>
          <a:fillRef idx="3">
            <a:schemeClr val="accent2">
              <a:shade val="50000"/>
              <a:hueOff val="-704426"/>
              <a:satOff val="0"/>
              <a:lumOff val="41281"/>
              <a:alphaOff val="0"/>
            </a:schemeClr>
          </a:fillRef>
          <a:effectRef idx="2">
            <a:schemeClr val="accent2">
              <a:shade val="50000"/>
              <a:hueOff val="-704426"/>
              <a:satOff val="0"/>
              <a:lumOff val="41281"/>
              <a:alphaOff val="0"/>
            </a:schemeClr>
          </a:effectRef>
          <a:fontRef idx="minor">
            <a:schemeClr val="lt1"/>
          </a:fontRef>
        </p:style>
        <p:txBody>
          <a:bodyPr spcFirstLastPara="0" vert="horz" wrap="square" lIns="822960" tIns="91440" rIns="133316" bIns="133316" numCol="1" spcCol="1270" anchor="t" anchorCtr="0">
            <a:noAutofit/>
          </a:bodyPr>
          <a:lstStyle/>
          <a:p>
            <a:pPr marL="0" marR="0" lvl="0" indent="0" defTabSz="1555362" rtl="0" eaLnBrk="1" fontAlgn="auto" latinLnBrk="0" hangingPunct="1">
              <a:lnSpc>
                <a:spcPct val="90000"/>
              </a:lnSpc>
              <a:spcBef>
                <a:spcPct val="0"/>
              </a:spcBef>
              <a:spcAft>
                <a:spcPct val="35000"/>
              </a:spcAft>
              <a:buClrTx/>
              <a:buSzTx/>
              <a:buFontTx/>
              <a:buNone/>
              <a:tabLst/>
              <a:defRPr/>
            </a:pPr>
            <a:endParaRPr kumimoji="0" lang="en-US" sz="2400" u="none" strike="noStrike" kern="1200" cap="none" spc="0" normalizeH="0" baseline="0" noProof="0">
              <a:ln>
                <a:noFill/>
              </a:ln>
              <a:solidFill>
                <a:srgbClr val="373737"/>
              </a:solidFill>
              <a:effectLst/>
              <a:uLnTx/>
              <a:uFillTx/>
              <a:latin typeface="Roboto Light" panose="02000000000000000000" pitchFamily="2" charset="0"/>
              <a:ea typeface="Roboto Light" panose="02000000000000000000" pitchFamily="2" charset="0"/>
            </a:endParaRPr>
          </a:p>
        </p:txBody>
      </p:sp>
      <p:sp>
        <p:nvSpPr>
          <p:cNvPr id="47" name="Flowchart: Data 17">
            <a:extLst>
              <a:ext uri="{FF2B5EF4-FFF2-40B4-BE49-F238E27FC236}">
                <a16:creationId xmlns:a16="http://schemas.microsoft.com/office/drawing/2014/main" id="{705961DD-CF95-43C7-BEBC-A6D32D05FA6C}"/>
              </a:ext>
            </a:extLst>
          </p:cNvPr>
          <p:cNvSpPr/>
          <p:nvPr userDrawn="1"/>
        </p:nvSpPr>
        <p:spPr>
          <a:xfrm>
            <a:off x="8413061" y="1957504"/>
            <a:ext cx="531595" cy="521348"/>
          </a:xfrm>
          <a:prstGeom prst="rect">
            <a:avLst/>
          </a:prstGeom>
          <a:solidFill>
            <a:schemeClr val="accent4"/>
          </a:solidFill>
          <a:ln w="12700">
            <a:noFill/>
          </a:ln>
          <a:effectLst/>
        </p:spPr>
        <p:style>
          <a:lnRef idx="1">
            <a:schemeClr val="accent1"/>
          </a:lnRef>
          <a:fillRef idx="3">
            <a:schemeClr val="accent1"/>
          </a:fillRef>
          <a:effectRef idx="2">
            <a:schemeClr val="accent1"/>
          </a:effectRef>
          <a:fontRef idx="minor">
            <a:schemeClr val="lt1"/>
          </a:fontRef>
        </p:style>
        <p:txBody>
          <a:bodyPr tIns="91416" bIns="91416" rtlCol="0" anchor="ctr"/>
          <a:lstStyle/>
          <a:p>
            <a:pPr marL="0" marR="0" lvl="0" indent="0" algn="ctr" defTabSz="1218895" rtl="0" eaLnBrk="1" fontAlgn="auto" latinLnBrk="0" hangingPunct="1">
              <a:lnSpc>
                <a:spcPct val="100000"/>
              </a:lnSpc>
              <a:spcBef>
                <a:spcPts val="0"/>
              </a:spcBef>
              <a:spcAft>
                <a:spcPts val="0"/>
              </a:spcAft>
              <a:buClrTx/>
              <a:buSzTx/>
              <a:buFontTx/>
              <a:buNone/>
              <a:tabLst/>
              <a:defRPr/>
            </a:pPr>
            <a:r>
              <a:rPr kumimoji="0" lang="en-US" sz="2399" u="none" strike="noStrike" kern="1200" cap="none" spc="0" normalizeH="0" baseline="0" noProof="0">
                <a:ln>
                  <a:noFill/>
                </a:ln>
                <a:solidFill>
                  <a:srgbClr val="FFFFFF"/>
                </a:solidFill>
                <a:effectLst/>
                <a:uLnTx/>
                <a:uFillTx/>
                <a:latin typeface="Roboto Light" panose="02000000000000000000" pitchFamily="2" charset="0"/>
                <a:ea typeface="Roboto Light" panose="02000000000000000000" pitchFamily="2" charset="0"/>
              </a:rPr>
              <a:t>3</a:t>
            </a:r>
          </a:p>
        </p:txBody>
      </p:sp>
      <p:sp>
        <p:nvSpPr>
          <p:cNvPr id="58" name="Freeform 15">
            <a:extLst>
              <a:ext uri="{FF2B5EF4-FFF2-40B4-BE49-F238E27FC236}">
                <a16:creationId xmlns:a16="http://schemas.microsoft.com/office/drawing/2014/main" id="{B5F27876-E2DC-48A4-9A76-B4875B05A647}"/>
              </a:ext>
            </a:extLst>
          </p:cNvPr>
          <p:cNvSpPr/>
          <p:nvPr userDrawn="1"/>
        </p:nvSpPr>
        <p:spPr>
          <a:xfrm>
            <a:off x="1028279" y="3446480"/>
            <a:ext cx="3383106" cy="1333426"/>
          </a:xfrm>
          <a:custGeom>
            <a:avLst/>
            <a:gdLst>
              <a:gd name="connsiteX0" fmla="*/ 0 w 2946408"/>
              <a:gd name="connsiteY0" fmla="*/ 0 h 1767845"/>
              <a:gd name="connsiteX1" fmla="*/ 2946408 w 2946408"/>
              <a:gd name="connsiteY1" fmla="*/ 0 h 1767845"/>
              <a:gd name="connsiteX2" fmla="*/ 2946408 w 2946408"/>
              <a:gd name="connsiteY2" fmla="*/ 1767845 h 1767845"/>
              <a:gd name="connsiteX3" fmla="*/ 0 w 2946408"/>
              <a:gd name="connsiteY3" fmla="*/ 1767845 h 1767845"/>
              <a:gd name="connsiteX4" fmla="*/ 0 w 2946408"/>
              <a:gd name="connsiteY4" fmla="*/ 0 h 1767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6408" h="1767845">
                <a:moveTo>
                  <a:pt x="0" y="0"/>
                </a:moveTo>
                <a:lnTo>
                  <a:pt x="2946408" y="0"/>
                </a:lnTo>
                <a:lnTo>
                  <a:pt x="2946408" y="1767845"/>
                </a:lnTo>
                <a:lnTo>
                  <a:pt x="0" y="1767845"/>
                </a:lnTo>
                <a:lnTo>
                  <a:pt x="0" y="0"/>
                </a:lnTo>
                <a:close/>
              </a:path>
            </a:pathLst>
          </a:custGeom>
          <a:solidFill>
            <a:srgbClr val="EAEAEA"/>
          </a:solidFill>
          <a:effectLst/>
        </p:spPr>
        <p:style>
          <a:lnRef idx="0">
            <a:schemeClr val="lt1">
              <a:hueOff val="0"/>
              <a:satOff val="0"/>
              <a:lumOff val="0"/>
              <a:alphaOff val="0"/>
            </a:schemeClr>
          </a:lnRef>
          <a:fillRef idx="3">
            <a:schemeClr val="accent2">
              <a:shade val="50000"/>
              <a:hueOff val="-704426"/>
              <a:satOff val="0"/>
              <a:lumOff val="41281"/>
              <a:alphaOff val="0"/>
            </a:schemeClr>
          </a:fillRef>
          <a:effectRef idx="2">
            <a:schemeClr val="accent2">
              <a:shade val="50000"/>
              <a:hueOff val="-704426"/>
              <a:satOff val="0"/>
              <a:lumOff val="41281"/>
              <a:alphaOff val="0"/>
            </a:schemeClr>
          </a:effectRef>
          <a:fontRef idx="minor">
            <a:schemeClr val="lt1"/>
          </a:fontRef>
        </p:style>
        <p:txBody>
          <a:bodyPr spcFirstLastPara="0" vert="horz" wrap="square" lIns="822960" tIns="91440" rIns="133316" bIns="133316" numCol="1" spcCol="1270" anchor="t" anchorCtr="0">
            <a:noAutofit/>
          </a:bodyPr>
          <a:lstStyle/>
          <a:p>
            <a:pPr marL="0" marR="0" lvl="0" indent="0" defTabSz="1555362" rtl="0" eaLnBrk="1" fontAlgn="auto" latinLnBrk="0" hangingPunct="1">
              <a:lnSpc>
                <a:spcPct val="90000"/>
              </a:lnSpc>
              <a:spcBef>
                <a:spcPct val="0"/>
              </a:spcBef>
              <a:spcAft>
                <a:spcPct val="35000"/>
              </a:spcAft>
              <a:buClrTx/>
              <a:buSzTx/>
              <a:buFontTx/>
              <a:buNone/>
              <a:tabLst/>
              <a:defRPr/>
            </a:pPr>
            <a:endParaRPr kumimoji="0" lang="en-US" sz="2400" u="none" strike="noStrike" kern="1200" cap="none" spc="0" normalizeH="0" baseline="0" noProof="0">
              <a:ln>
                <a:noFill/>
              </a:ln>
              <a:solidFill>
                <a:srgbClr val="373737"/>
              </a:solidFill>
              <a:effectLst/>
              <a:uLnTx/>
              <a:uFillTx/>
              <a:latin typeface="Roboto Light" panose="02000000000000000000" pitchFamily="2" charset="0"/>
              <a:ea typeface="Roboto Light" panose="02000000000000000000" pitchFamily="2" charset="0"/>
            </a:endParaRPr>
          </a:p>
        </p:txBody>
      </p:sp>
      <p:sp>
        <p:nvSpPr>
          <p:cNvPr id="60" name="Flowchart: Data 17">
            <a:extLst>
              <a:ext uri="{FF2B5EF4-FFF2-40B4-BE49-F238E27FC236}">
                <a16:creationId xmlns:a16="http://schemas.microsoft.com/office/drawing/2014/main" id="{D0B64EC6-882A-46C2-8F16-44685DC5658E}"/>
              </a:ext>
            </a:extLst>
          </p:cNvPr>
          <p:cNvSpPr/>
          <p:nvPr userDrawn="1"/>
        </p:nvSpPr>
        <p:spPr>
          <a:xfrm>
            <a:off x="1150616" y="3551148"/>
            <a:ext cx="531595" cy="521348"/>
          </a:xfrm>
          <a:prstGeom prst="rect">
            <a:avLst/>
          </a:prstGeom>
          <a:solidFill>
            <a:schemeClr val="accent1"/>
          </a:solidFill>
          <a:ln w="12700">
            <a:noFill/>
          </a:ln>
          <a:effectLst/>
        </p:spPr>
        <p:style>
          <a:lnRef idx="1">
            <a:schemeClr val="accent1"/>
          </a:lnRef>
          <a:fillRef idx="3">
            <a:schemeClr val="accent1"/>
          </a:fillRef>
          <a:effectRef idx="2">
            <a:schemeClr val="accent1"/>
          </a:effectRef>
          <a:fontRef idx="minor">
            <a:schemeClr val="lt1"/>
          </a:fontRef>
        </p:style>
        <p:txBody>
          <a:bodyPr tIns="91416" bIns="91416" rtlCol="0" anchor="ctr"/>
          <a:lstStyle/>
          <a:p>
            <a:pPr marL="0" marR="0" lvl="0" indent="0" algn="ctr" defTabSz="1218895" rtl="0" eaLnBrk="1" fontAlgn="auto" latinLnBrk="0" hangingPunct="1">
              <a:lnSpc>
                <a:spcPct val="100000"/>
              </a:lnSpc>
              <a:spcBef>
                <a:spcPts val="0"/>
              </a:spcBef>
              <a:spcAft>
                <a:spcPts val="0"/>
              </a:spcAft>
              <a:buClrTx/>
              <a:buSzTx/>
              <a:buFontTx/>
              <a:buNone/>
              <a:tabLst/>
              <a:defRPr/>
            </a:pPr>
            <a:r>
              <a:rPr kumimoji="0" lang="en-US" sz="2399" u="none" strike="noStrike" kern="1200" cap="none" spc="0" normalizeH="0" baseline="0" noProof="0">
                <a:ln>
                  <a:noFill/>
                </a:ln>
                <a:solidFill>
                  <a:srgbClr val="FFFFFF"/>
                </a:solidFill>
                <a:effectLst/>
                <a:uLnTx/>
                <a:uFillTx/>
                <a:latin typeface="Roboto Light" panose="02000000000000000000" pitchFamily="2" charset="0"/>
                <a:ea typeface="Roboto Light" panose="02000000000000000000" pitchFamily="2" charset="0"/>
              </a:rPr>
              <a:t>4</a:t>
            </a:r>
          </a:p>
        </p:txBody>
      </p:sp>
      <p:sp>
        <p:nvSpPr>
          <p:cNvPr id="67" name="Freeform 14">
            <a:extLst>
              <a:ext uri="{FF2B5EF4-FFF2-40B4-BE49-F238E27FC236}">
                <a16:creationId xmlns:a16="http://schemas.microsoft.com/office/drawing/2014/main" id="{0BAEF006-829F-4D56-8544-C2E3B8B2F783}"/>
              </a:ext>
            </a:extLst>
          </p:cNvPr>
          <p:cNvSpPr/>
          <p:nvPr userDrawn="1"/>
        </p:nvSpPr>
        <p:spPr>
          <a:xfrm>
            <a:off x="8293378" y="3446480"/>
            <a:ext cx="3383104" cy="1333425"/>
          </a:xfrm>
          <a:custGeom>
            <a:avLst/>
            <a:gdLst>
              <a:gd name="connsiteX0" fmla="*/ 0 w 2946408"/>
              <a:gd name="connsiteY0" fmla="*/ 0 h 1767845"/>
              <a:gd name="connsiteX1" fmla="*/ 2946408 w 2946408"/>
              <a:gd name="connsiteY1" fmla="*/ 0 h 1767845"/>
              <a:gd name="connsiteX2" fmla="*/ 2946408 w 2946408"/>
              <a:gd name="connsiteY2" fmla="*/ 1767845 h 1767845"/>
              <a:gd name="connsiteX3" fmla="*/ 0 w 2946408"/>
              <a:gd name="connsiteY3" fmla="*/ 1767845 h 1767845"/>
              <a:gd name="connsiteX4" fmla="*/ 0 w 2946408"/>
              <a:gd name="connsiteY4" fmla="*/ 0 h 1767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6408" h="1767845">
                <a:moveTo>
                  <a:pt x="0" y="0"/>
                </a:moveTo>
                <a:lnTo>
                  <a:pt x="2946408" y="0"/>
                </a:lnTo>
                <a:lnTo>
                  <a:pt x="2946408" y="1767845"/>
                </a:lnTo>
                <a:lnTo>
                  <a:pt x="0" y="1767845"/>
                </a:lnTo>
                <a:lnTo>
                  <a:pt x="0" y="0"/>
                </a:lnTo>
                <a:close/>
              </a:path>
            </a:pathLst>
          </a:custGeom>
          <a:solidFill>
            <a:srgbClr val="EAEAEA"/>
          </a:solidFill>
          <a:effectLst/>
        </p:spPr>
        <p:style>
          <a:lnRef idx="0">
            <a:schemeClr val="lt1">
              <a:hueOff val="0"/>
              <a:satOff val="0"/>
              <a:lumOff val="0"/>
              <a:alphaOff val="0"/>
            </a:schemeClr>
          </a:lnRef>
          <a:fillRef idx="3">
            <a:schemeClr val="accent2">
              <a:shade val="50000"/>
              <a:hueOff val="-352213"/>
              <a:satOff val="0"/>
              <a:lumOff val="20640"/>
              <a:alphaOff val="0"/>
            </a:schemeClr>
          </a:fillRef>
          <a:effectRef idx="2">
            <a:schemeClr val="accent2">
              <a:shade val="50000"/>
              <a:hueOff val="-352213"/>
              <a:satOff val="0"/>
              <a:lumOff val="20640"/>
              <a:alphaOff val="0"/>
            </a:schemeClr>
          </a:effectRef>
          <a:fontRef idx="minor">
            <a:schemeClr val="lt1"/>
          </a:fontRef>
        </p:style>
        <p:txBody>
          <a:bodyPr spcFirstLastPara="0" vert="horz" wrap="square" lIns="822960" tIns="91440" rIns="137124" bIns="137124" numCol="1" spcCol="1270" anchor="t" anchorCtr="0">
            <a:noAutofit/>
          </a:bodyPr>
          <a:lstStyle/>
          <a:p>
            <a:pPr marL="0" marR="0" lvl="0" indent="0" defTabSz="1555362" rtl="0" eaLnBrk="1" fontAlgn="auto" latinLnBrk="0" hangingPunct="1">
              <a:lnSpc>
                <a:spcPct val="90000"/>
              </a:lnSpc>
              <a:spcBef>
                <a:spcPct val="0"/>
              </a:spcBef>
              <a:spcAft>
                <a:spcPct val="35000"/>
              </a:spcAft>
              <a:buClrTx/>
              <a:buSzTx/>
              <a:buFontTx/>
              <a:buNone/>
              <a:tabLst/>
              <a:defRPr/>
            </a:pPr>
            <a:endParaRPr kumimoji="0" lang="en-US" sz="2400" u="none" strike="noStrike" kern="1200" cap="none" spc="0" normalizeH="0" baseline="0" noProof="0">
              <a:ln>
                <a:noFill/>
              </a:ln>
              <a:solidFill>
                <a:srgbClr val="373737"/>
              </a:solidFill>
              <a:effectLst/>
              <a:uLnTx/>
              <a:uFillTx/>
              <a:latin typeface="Roboto Light" panose="02000000000000000000" pitchFamily="2" charset="0"/>
              <a:ea typeface="Roboto Light" panose="02000000000000000000" pitchFamily="2" charset="0"/>
            </a:endParaRPr>
          </a:p>
        </p:txBody>
      </p:sp>
      <p:sp>
        <p:nvSpPr>
          <p:cNvPr id="69" name="Flowchart: Data 17">
            <a:extLst>
              <a:ext uri="{FF2B5EF4-FFF2-40B4-BE49-F238E27FC236}">
                <a16:creationId xmlns:a16="http://schemas.microsoft.com/office/drawing/2014/main" id="{B3AAE442-2186-4523-878B-EAFC67D29E1D}"/>
              </a:ext>
            </a:extLst>
          </p:cNvPr>
          <p:cNvSpPr/>
          <p:nvPr userDrawn="1"/>
        </p:nvSpPr>
        <p:spPr>
          <a:xfrm>
            <a:off x="8413061" y="3545827"/>
            <a:ext cx="531595" cy="521348"/>
          </a:xfrm>
          <a:prstGeom prst="rect">
            <a:avLst/>
          </a:prstGeom>
          <a:solidFill>
            <a:schemeClr val="accent6"/>
          </a:solidFill>
          <a:ln w="12700">
            <a:noFill/>
          </a:ln>
          <a:effectLst/>
        </p:spPr>
        <p:style>
          <a:lnRef idx="1">
            <a:schemeClr val="accent1"/>
          </a:lnRef>
          <a:fillRef idx="3">
            <a:schemeClr val="accent1"/>
          </a:fillRef>
          <a:effectRef idx="2">
            <a:schemeClr val="accent1"/>
          </a:effectRef>
          <a:fontRef idx="minor">
            <a:schemeClr val="lt1"/>
          </a:fontRef>
        </p:style>
        <p:txBody>
          <a:bodyPr tIns="91416" bIns="91416" rtlCol="0" anchor="ctr"/>
          <a:lstStyle/>
          <a:p>
            <a:pPr marL="0" marR="0" lvl="0" indent="0" algn="ctr" defTabSz="1218895" rtl="0" eaLnBrk="1" fontAlgn="auto" latinLnBrk="0" hangingPunct="1">
              <a:lnSpc>
                <a:spcPct val="100000"/>
              </a:lnSpc>
              <a:spcBef>
                <a:spcPts val="0"/>
              </a:spcBef>
              <a:spcAft>
                <a:spcPts val="0"/>
              </a:spcAft>
              <a:buClrTx/>
              <a:buSzTx/>
              <a:buFontTx/>
              <a:buNone/>
              <a:tabLst/>
              <a:defRPr/>
            </a:pPr>
            <a:r>
              <a:rPr kumimoji="0" lang="en-US" sz="2399" u="none" strike="noStrike" kern="1200" cap="none" spc="0" normalizeH="0" baseline="0" noProof="0">
                <a:ln>
                  <a:noFill/>
                </a:ln>
                <a:solidFill>
                  <a:srgbClr val="FFFFFF"/>
                </a:solidFill>
                <a:effectLst/>
                <a:uLnTx/>
                <a:uFillTx/>
                <a:latin typeface="Roboto Light" panose="02000000000000000000" pitchFamily="2" charset="0"/>
                <a:ea typeface="Roboto Light" panose="02000000000000000000" pitchFamily="2" charset="0"/>
              </a:rPr>
              <a:t>6</a:t>
            </a:r>
          </a:p>
        </p:txBody>
      </p:sp>
      <p:sp>
        <p:nvSpPr>
          <p:cNvPr id="76" name="Freeform 13">
            <a:extLst>
              <a:ext uri="{FF2B5EF4-FFF2-40B4-BE49-F238E27FC236}">
                <a16:creationId xmlns:a16="http://schemas.microsoft.com/office/drawing/2014/main" id="{3690E069-7EFD-40F1-8A3F-D9BF2A5F4F33}"/>
              </a:ext>
            </a:extLst>
          </p:cNvPr>
          <p:cNvSpPr/>
          <p:nvPr userDrawn="1"/>
        </p:nvSpPr>
        <p:spPr>
          <a:xfrm>
            <a:off x="4660828" y="3446480"/>
            <a:ext cx="3383107" cy="1333425"/>
          </a:xfrm>
          <a:custGeom>
            <a:avLst/>
            <a:gdLst>
              <a:gd name="connsiteX0" fmla="*/ 0 w 2946408"/>
              <a:gd name="connsiteY0" fmla="*/ 0 h 1767845"/>
              <a:gd name="connsiteX1" fmla="*/ 2946408 w 2946408"/>
              <a:gd name="connsiteY1" fmla="*/ 0 h 1767845"/>
              <a:gd name="connsiteX2" fmla="*/ 2946408 w 2946408"/>
              <a:gd name="connsiteY2" fmla="*/ 1767845 h 1767845"/>
              <a:gd name="connsiteX3" fmla="*/ 0 w 2946408"/>
              <a:gd name="connsiteY3" fmla="*/ 1767845 h 1767845"/>
              <a:gd name="connsiteX4" fmla="*/ 0 w 2946408"/>
              <a:gd name="connsiteY4" fmla="*/ 0 h 1767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6408" h="1767845">
                <a:moveTo>
                  <a:pt x="0" y="0"/>
                </a:moveTo>
                <a:lnTo>
                  <a:pt x="2946408" y="0"/>
                </a:lnTo>
                <a:lnTo>
                  <a:pt x="2946408" y="1767845"/>
                </a:lnTo>
                <a:lnTo>
                  <a:pt x="0" y="1767845"/>
                </a:lnTo>
                <a:lnTo>
                  <a:pt x="0" y="0"/>
                </a:lnTo>
                <a:close/>
              </a:path>
            </a:pathLst>
          </a:custGeom>
          <a:solidFill>
            <a:srgbClr val="EAEAEA"/>
          </a:solidFill>
          <a:effectLst/>
        </p:spPr>
        <p:style>
          <a:lnRef idx="0">
            <a:schemeClr val="lt1">
              <a:hueOff val="0"/>
              <a:satOff val="0"/>
              <a:lumOff val="0"/>
              <a:alphaOff val="0"/>
            </a:schemeClr>
          </a:lnRef>
          <a:fillRef idx="3">
            <a:schemeClr val="accent2">
              <a:shade val="50000"/>
              <a:hueOff val="-704426"/>
              <a:satOff val="0"/>
              <a:lumOff val="41281"/>
              <a:alphaOff val="0"/>
            </a:schemeClr>
          </a:fillRef>
          <a:effectRef idx="2">
            <a:schemeClr val="accent2">
              <a:shade val="50000"/>
              <a:hueOff val="-704426"/>
              <a:satOff val="0"/>
              <a:lumOff val="41281"/>
              <a:alphaOff val="0"/>
            </a:schemeClr>
          </a:effectRef>
          <a:fontRef idx="minor">
            <a:schemeClr val="lt1"/>
          </a:fontRef>
        </p:style>
        <p:txBody>
          <a:bodyPr spcFirstLastPara="0" vert="horz" wrap="square" lIns="822960" tIns="91440" rIns="133316" bIns="133316" numCol="1" spcCol="1270" anchor="t" anchorCtr="0">
            <a:noAutofit/>
          </a:bodyPr>
          <a:lstStyle/>
          <a:p>
            <a:pPr marL="0" marR="0" lvl="0" indent="0" defTabSz="1555362" rtl="0" eaLnBrk="1" fontAlgn="auto" latinLnBrk="0" hangingPunct="1">
              <a:lnSpc>
                <a:spcPct val="90000"/>
              </a:lnSpc>
              <a:spcBef>
                <a:spcPct val="0"/>
              </a:spcBef>
              <a:spcAft>
                <a:spcPct val="35000"/>
              </a:spcAft>
              <a:buClrTx/>
              <a:buSzTx/>
              <a:buFontTx/>
              <a:buNone/>
              <a:tabLst/>
              <a:defRPr/>
            </a:pPr>
            <a:endParaRPr kumimoji="0" lang="en-US" sz="2400" u="none" strike="noStrike" kern="1200" cap="none" spc="0" normalizeH="0" baseline="0" noProof="0">
              <a:ln>
                <a:noFill/>
              </a:ln>
              <a:solidFill>
                <a:srgbClr val="373737"/>
              </a:solidFill>
              <a:effectLst/>
              <a:uLnTx/>
              <a:uFillTx/>
              <a:latin typeface="Roboto Light" panose="02000000000000000000" pitchFamily="2" charset="0"/>
              <a:ea typeface="Roboto Light" panose="02000000000000000000" pitchFamily="2" charset="0"/>
            </a:endParaRPr>
          </a:p>
        </p:txBody>
      </p:sp>
      <p:sp>
        <p:nvSpPr>
          <p:cNvPr id="78" name="Flowchart: Data 17">
            <a:extLst>
              <a:ext uri="{FF2B5EF4-FFF2-40B4-BE49-F238E27FC236}">
                <a16:creationId xmlns:a16="http://schemas.microsoft.com/office/drawing/2014/main" id="{01806F9E-B98C-49E2-AC16-4F45A9DE0884}"/>
              </a:ext>
            </a:extLst>
          </p:cNvPr>
          <p:cNvSpPr/>
          <p:nvPr userDrawn="1"/>
        </p:nvSpPr>
        <p:spPr>
          <a:xfrm>
            <a:off x="4789269" y="3545827"/>
            <a:ext cx="531595" cy="521348"/>
          </a:xfrm>
          <a:prstGeom prst="rect">
            <a:avLst/>
          </a:prstGeom>
          <a:solidFill>
            <a:schemeClr val="tx1"/>
          </a:solidFill>
          <a:ln w="12700">
            <a:noFill/>
          </a:ln>
          <a:effectLst/>
        </p:spPr>
        <p:style>
          <a:lnRef idx="1">
            <a:schemeClr val="accent1"/>
          </a:lnRef>
          <a:fillRef idx="3">
            <a:schemeClr val="accent1"/>
          </a:fillRef>
          <a:effectRef idx="2">
            <a:schemeClr val="accent1"/>
          </a:effectRef>
          <a:fontRef idx="minor">
            <a:schemeClr val="lt1"/>
          </a:fontRef>
        </p:style>
        <p:txBody>
          <a:bodyPr tIns="91416" bIns="91416" rtlCol="0" anchor="ctr"/>
          <a:lstStyle/>
          <a:p>
            <a:pPr marL="0" marR="0" lvl="0" indent="0" algn="ctr" defTabSz="1218895" rtl="0" eaLnBrk="1" fontAlgn="auto" latinLnBrk="0" hangingPunct="1">
              <a:lnSpc>
                <a:spcPct val="100000"/>
              </a:lnSpc>
              <a:spcBef>
                <a:spcPts val="0"/>
              </a:spcBef>
              <a:spcAft>
                <a:spcPts val="0"/>
              </a:spcAft>
              <a:buClrTx/>
              <a:buSzTx/>
              <a:buFontTx/>
              <a:buNone/>
              <a:tabLst/>
              <a:defRPr/>
            </a:pPr>
            <a:r>
              <a:rPr kumimoji="0" lang="en-US" sz="2399" u="none" strike="noStrike" kern="1200" cap="none" spc="0" normalizeH="0" baseline="0" noProof="0">
                <a:ln>
                  <a:noFill/>
                </a:ln>
                <a:solidFill>
                  <a:srgbClr val="FFFFFF"/>
                </a:solidFill>
                <a:effectLst/>
                <a:uLnTx/>
                <a:uFillTx/>
                <a:latin typeface="Roboto Light" panose="02000000000000000000" pitchFamily="2" charset="0"/>
                <a:ea typeface="Roboto Light" panose="02000000000000000000" pitchFamily="2" charset="0"/>
              </a:rPr>
              <a:t>5</a:t>
            </a:r>
          </a:p>
        </p:txBody>
      </p:sp>
      <p:sp>
        <p:nvSpPr>
          <p:cNvPr id="80" name="Title 1">
            <a:extLst>
              <a:ext uri="{FF2B5EF4-FFF2-40B4-BE49-F238E27FC236}">
                <a16:creationId xmlns:a16="http://schemas.microsoft.com/office/drawing/2014/main" id="{7D413BDC-3F48-4E28-B245-95D9CCD2B5E8}"/>
              </a:ext>
            </a:extLst>
          </p:cNvPr>
          <p:cNvSpPr>
            <a:spLocks noGrp="1"/>
          </p:cNvSpPr>
          <p:nvPr userDrawn="1">
            <p:ph type="title" hasCustomPrompt="1"/>
          </p:nvPr>
        </p:nvSpPr>
        <p:spPr>
          <a:xfrm>
            <a:off x="488951" y="482602"/>
            <a:ext cx="11188700" cy="994889"/>
          </a:xfrm>
          <a:prstGeom prst="rect">
            <a:avLst/>
          </a:prstGeom>
        </p:spPr>
        <p:txBody>
          <a:bodyPr lIns="0"/>
          <a:lstStyle>
            <a:lvl1pPr>
              <a:defRPr baseline="0"/>
            </a:lvl1pPr>
          </a:lstStyle>
          <a:p>
            <a:r>
              <a:rPr lang="en-US"/>
              <a:t>Headline Goes Here, Roboto Light, 36 Points, Can Span 2 Lines</a:t>
            </a:r>
          </a:p>
        </p:txBody>
      </p:sp>
      <p:sp>
        <p:nvSpPr>
          <p:cNvPr id="6" name="Text Placeholder 5">
            <a:extLst>
              <a:ext uri="{FF2B5EF4-FFF2-40B4-BE49-F238E27FC236}">
                <a16:creationId xmlns:a16="http://schemas.microsoft.com/office/drawing/2014/main" id="{C30FA114-2360-447D-A77F-8CEEE439EDFB}"/>
              </a:ext>
            </a:extLst>
          </p:cNvPr>
          <p:cNvSpPr>
            <a:spLocks noGrp="1"/>
          </p:cNvSpPr>
          <p:nvPr userDrawn="1">
            <p:ph type="body" sz="quarter" idx="10" hasCustomPrompt="1"/>
          </p:nvPr>
        </p:nvSpPr>
        <p:spPr>
          <a:xfrm>
            <a:off x="1682211" y="1959151"/>
            <a:ext cx="2728007" cy="944563"/>
          </a:xfrm>
          <a:prstGeom prst="rect">
            <a:avLst/>
          </a:prstGeom>
        </p:spPr>
        <p:txBody>
          <a:bodyPr lIns="182880"/>
          <a:lstStyle>
            <a:lvl1pPr marL="0" indent="0">
              <a:lnSpc>
                <a:spcPct val="95000"/>
              </a:lnSpc>
              <a:spcBef>
                <a:spcPts val="0"/>
              </a:spcBef>
              <a:buNone/>
              <a:defRPr sz="2400">
                <a:solidFill>
                  <a:schemeClr val="tx1"/>
                </a:solidFill>
                <a:latin typeface="Roboto" panose="02000000000000000000" pitchFamily="2" charset="0"/>
                <a:ea typeface="Roboto" panose="02000000000000000000" pitchFamily="2" charset="0"/>
              </a:defRPr>
            </a:lvl1pPr>
          </a:lstStyle>
          <a:p>
            <a:pPr lvl="0"/>
            <a:r>
              <a:rPr lang="en-US"/>
              <a:t>Agenda item</a:t>
            </a:r>
            <a:br>
              <a:rPr lang="en-US"/>
            </a:br>
            <a:r>
              <a:rPr lang="en-US"/>
              <a:t>goes here</a:t>
            </a:r>
          </a:p>
        </p:txBody>
      </p:sp>
      <p:sp>
        <p:nvSpPr>
          <p:cNvPr id="81" name="Text Placeholder 5">
            <a:extLst>
              <a:ext uri="{FF2B5EF4-FFF2-40B4-BE49-F238E27FC236}">
                <a16:creationId xmlns:a16="http://schemas.microsoft.com/office/drawing/2014/main" id="{3EFED770-B0D7-446E-AAFE-793919EC1673}"/>
              </a:ext>
            </a:extLst>
          </p:cNvPr>
          <p:cNvSpPr>
            <a:spLocks noGrp="1"/>
          </p:cNvSpPr>
          <p:nvPr userDrawn="1">
            <p:ph type="body" sz="quarter" idx="11" hasCustomPrompt="1"/>
          </p:nvPr>
        </p:nvSpPr>
        <p:spPr>
          <a:xfrm>
            <a:off x="5313675" y="1959151"/>
            <a:ext cx="2727864" cy="944563"/>
          </a:xfrm>
          <a:prstGeom prst="rect">
            <a:avLst/>
          </a:prstGeom>
        </p:spPr>
        <p:txBody>
          <a:bodyPr lIns="182880"/>
          <a:lstStyle>
            <a:lvl1pPr marL="0" indent="0">
              <a:lnSpc>
                <a:spcPct val="95000"/>
              </a:lnSpc>
              <a:spcBef>
                <a:spcPts val="0"/>
              </a:spcBef>
              <a:buNone/>
              <a:defRPr sz="2400">
                <a:solidFill>
                  <a:schemeClr val="tx1"/>
                </a:solidFill>
                <a:latin typeface="Roboto" panose="02000000000000000000" pitchFamily="2" charset="0"/>
                <a:ea typeface="Roboto" panose="02000000000000000000" pitchFamily="2" charset="0"/>
              </a:defRPr>
            </a:lvl1pPr>
          </a:lstStyle>
          <a:p>
            <a:pPr lvl="0"/>
            <a:r>
              <a:rPr lang="en-US"/>
              <a:t>Agenda item</a:t>
            </a:r>
            <a:br>
              <a:rPr lang="en-US"/>
            </a:br>
            <a:r>
              <a:rPr lang="en-US"/>
              <a:t>goes here</a:t>
            </a:r>
          </a:p>
        </p:txBody>
      </p:sp>
      <p:sp>
        <p:nvSpPr>
          <p:cNvPr id="82" name="Text Placeholder 5">
            <a:extLst>
              <a:ext uri="{FF2B5EF4-FFF2-40B4-BE49-F238E27FC236}">
                <a16:creationId xmlns:a16="http://schemas.microsoft.com/office/drawing/2014/main" id="{6DCE7664-17AC-4182-B8EC-63A3183DAE97}"/>
              </a:ext>
            </a:extLst>
          </p:cNvPr>
          <p:cNvSpPr>
            <a:spLocks noGrp="1"/>
          </p:cNvSpPr>
          <p:nvPr userDrawn="1">
            <p:ph type="body" sz="quarter" idx="12" hasCustomPrompt="1"/>
          </p:nvPr>
        </p:nvSpPr>
        <p:spPr>
          <a:xfrm>
            <a:off x="8944656" y="1959151"/>
            <a:ext cx="2727864" cy="944563"/>
          </a:xfrm>
          <a:prstGeom prst="rect">
            <a:avLst/>
          </a:prstGeom>
        </p:spPr>
        <p:txBody>
          <a:bodyPr lIns="182880"/>
          <a:lstStyle>
            <a:lvl1pPr marL="0" indent="0">
              <a:lnSpc>
                <a:spcPct val="95000"/>
              </a:lnSpc>
              <a:spcBef>
                <a:spcPts val="0"/>
              </a:spcBef>
              <a:buNone/>
              <a:defRPr sz="2400">
                <a:solidFill>
                  <a:schemeClr val="tx1"/>
                </a:solidFill>
                <a:latin typeface="Roboto" panose="02000000000000000000" pitchFamily="2" charset="0"/>
                <a:ea typeface="Roboto" panose="02000000000000000000" pitchFamily="2" charset="0"/>
              </a:defRPr>
            </a:lvl1pPr>
          </a:lstStyle>
          <a:p>
            <a:pPr lvl="0"/>
            <a:r>
              <a:rPr lang="en-US"/>
              <a:t>Agenda item</a:t>
            </a:r>
            <a:br>
              <a:rPr lang="en-US"/>
            </a:br>
            <a:r>
              <a:rPr lang="en-US"/>
              <a:t>goes here</a:t>
            </a:r>
          </a:p>
        </p:txBody>
      </p:sp>
      <p:sp>
        <p:nvSpPr>
          <p:cNvPr id="83" name="Text Placeholder 5">
            <a:extLst>
              <a:ext uri="{FF2B5EF4-FFF2-40B4-BE49-F238E27FC236}">
                <a16:creationId xmlns:a16="http://schemas.microsoft.com/office/drawing/2014/main" id="{C6C47051-F188-4AFA-8091-F6AB4A6C4D51}"/>
              </a:ext>
            </a:extLst>
          </p:cNvPr>
          <p:cNvSpPr>
            <a:spLocks noGrp="1"/>
          </p:cNvSpPr>
          <p:nvPr userDrawn="1">
            <p:ph type="body" sz="quarter" idx="13" hasCustomPrompt="1"/>
          </p:nvPr>
        </p:nvSpPr>
        <p:spPr>
          <a:xfrm>
            <a:off x="1682211" y="3550706"/>
            <a:ext cx="2728007" cy="944563"/>
          </a:xfrm>
          <a:prstGeom prst="rect">
            <a:avLst/>
          </a:prstGeom>
        </p:spPr>
        <p:txBody>
          <a:bodyPr lIns="182880"/>
          <a:lstStyle>
            <a:lvl1pPr marL="0" indent="0">
              <a:lnSpc>
                <a:spcPct val="95000"/>
              </a:lnSpc>
              <a:spcBef>
                <a:spcPts val="0"/>
              </a:spcBef>
              <a:buNone/>
              <a:defRPr sz="2400">
                <a:solidFill>
                  <a:schemeClr val="tx1"/>
                </a:solidFill>
                <a:latin typeface="Roboto" panose="02000000000000000000" pitchFamily="2" charset="0"/>
                <a:ea typeface="Roboto" panose="02000000000000000000" pitchFamily="2" charset="0"/>
              </a:defRPr>
            </a:lvl1pPr>
          </a:lstStyle>
          <a:p>
            <a:pPr lvl="0"/>
            <a:r>
              <a:rPr lang="en-US"/>
              <a:t>Agenda item</a:t>
            </a:r>
            <a:br>
              <a:rPr lang="en-US"/>
            </a:br>
            <a:r>
              <a:rPr lang="en-US"/>
              <a:t>goes here</a:t>
            </a:r>
          </a:p>
        </p:txBody>
      </p:sp>
      <p:sp>
        <p:nvSpPr>
          <p:cNvPr id="84" name="Text Placeholder 5">
            <a:extLst>
              <a:ext uri="{FF2B5EF4-FFF2-40B4-BE49-F238E27FC236}">
                <a16:creationId xmlns:a16="http://schemas.microsoft.com/office/drawing/2014/main" id="{07C1887D-8958-4DA8-AE74-D08F0B6BE64B}"/>
              </a:ext>
            </a:extLst>
          </p:cNvPr>
          <p:cNvSpPr>
            <a:spLocks noGrp="1"/>
          </p:cNvSpPr>
          <p:nvPr userDrawn="1">
            <p:ph type="body" sz="quarter" idx="14" hasCustomPrompt="1"/>
          </p:nvPr>
        </p:nvSpPr>
        <p:spPr>
          <a:xfrm>
            <a:off x="5313675" y="3550706"/>
            <a:ext cx="2727864" cy="944563"/>
          </a:xfrm>
          <a:prstGeom prst="rect">
            <a:avLst/>
          </a:prstGeom>
        </p:spPr>
        <p:txBody>
          <a:bodyPr lIns="182880"/>
          <a:lstStyle>
            <a:lvl1pPr marL="0" indent="0">
              <a:lnSpc>
                <a:spcPct val="95000"/>
              </a:lnSpc>
              <a:spcBef>
                <a:spcPts val="0"/>
              </a:spcBef>
              <a:buNone/>
              <a:defRPr sz="2400">
                <a:solidFill>
                  <a:schemeClr val="tx1"/>
                </a:solidFill>
                <a:latin typeface="Roboto" panose="02000000000000000000" pitchFamily="2" charset="0"/>
                <a:ea typeface="Roboto" panose="02000000000000000000" pitchFamily="2" charset="0"/>
              </a:defRPr>
            </a:lvl1pPr>
          </a:lstStyle>
          <a:p>
            <a:pPr lvl="0"/>
            <a:r>
              <a:rPr lang="en-US"/>
              <a:t>Agenda item</a:t>
            </a:r>
            <a:br>
              <a:rPr lang="en-US"/>
            </a:br>
            <a:r>
              <a:rPr lang="en-US"/>
              <a:t>goes here</a:t>
            </a:r>
          </a:p>
        </p:txBody>
      </p:sp>
      <p:sp>
        <p:nvSpPr>
          <p:cNvPr id="85" name="Text Placeholder 5">
            <a:extLst>
              <a:ext uri="{FF2B5EF4-FFF2-40B4-BE49-F238E27FC236}">
                <a16:creationId xmlns:a16="http://schemas.microsoft.com/office/drawing/2014/main" id="{910568AE-CD22-4C50-9EE0-D76A57CAB532}"/>
              </a:ext>
            </a:extLst>
          </p:cNvPr>
          <p:cNvSpPr>
            <a:spLocks noGrp="1"/>
          </p:cNvSpPr>
          <p:nvPr userDrawn="1">
            <p:ph type="body" sz="quarter" idx="15" hasCustomPrompt="1"/>
          </p:nvPr>
        </p:nvSpPr>
        <p:spPr>
          <a:xfrm>
            <a:off x="8944656" y="3550706"/>
            <a:ext cx="2727864" cy="944563"/>
          </a:xfrm>
          <a:prstGeom prst="rect">
            <a:avLst/>
          </a:prstGeom>
        </p:spPr>
        <p:txBody>
          <a:bodyPr lIns="182880"/>
          <a:lstStyle>
            <a:lvl1pPr marL="0" indent="0">
              <a:lnSpc>
                <a:spcPct val="95000"/>
              </a:lnSpc>
              <a:spcBef>
                <a:spcPts val="0"/>
              </a:spcBef>
              <a:buNone/>
              <a:defRPr sz="2400">
                <a:solidFill>
                  <a:schemeClr val="tx1"/>
                </a:solidFill>
                <a:latin typeface="Roboto" panose="02000000000000000000" pitchFamily="2" charset="0"/>
                <a:ea typeface="Roboto" panose="02000000000000000000" pitchFamily="2" charset="0"/>
              </a:defRPr>
            </a:lvl1pPr>
          </a:lstStyle>
          <a:p>
            <a:pPr lvl="0"/>
            <a:r>
              <a:rPr lang="en-US"/>
              <a:t>Agenda item</a:t>
            </a:r>
            <a:br>
              <a:rPr lang="en-US"/>
            </a:br>
            <a:r>
              <a:rPr lang="en-US"/>
              <a:t>goes here</a:t>
            </a:r>
          </a:p>
        </p:txBody>
      </p:sp>
      <p:sp>
        <p:nvSpPr>
          <p:cNvPr id="86" name="Freeform 10">
            <a:extLst>
              <a:ext uri="{FF2B5EF4-FFF2-40B4-BE49-F238E27FC236}">
                <a16:creationId xmlns:a16="http://schemas.microsoft.com/office/drawing/2014/main" id="{04F9AD65-A2DA-4F6E-8833-C1336C6E3F8B}"/>
              </a:ext>
            </a:extLst>
          </p:cNvPr>
          <p:cNvSpPr/>
          <p:nvPr userDrawn="1"/>
        </p:nvSpPr>
        <p:spPr>
          <a:xfrm>
            <a:off x="1027113" y="3193958"/>
            <a:ext cx="3383106" cy="45719"/>
          </a:xfrm>
          <a:custGeom>
            <a:avLst/>
            <a:gdLst>
              <a:gd name="connsiteX0" fmla="*/ 0 w 2946408"/>
              <a:gd name="connsiteY0" fmla="*/ 0 h 1767845"/>
              <a:gd name="connsiteX1" fmla="*/ 2946408 w 2946408"/>
              <a:gd name="connsiteY1" fmla="*/ 0 h 1767845"/>
              <a:gd name="connsiteX2" fmla="*/ 2946408 w 2946408"/>
              <a:gd name="connsiteY2" fmla="*/ 1767845 h 1767845"/>
              <a:gd name="connsiteX3" fmla="*/ 0 w 2946408"/>
              <a:gd name="connsiteY3" fmla="*/ 1767845 h 1767845"/>
              <a:gd name="connsiteX4" fmla="*/ 0 w 2946408"/>
              <a:gd name="connsiteY4" fmla="*/ 0 h 1767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6408" h="1767845">
                <a:moveTo>
                  <a:pt x="0" y="0"/>
                </a:moveTo>
                <a:lnTo>
                  <a:pt x="2946408" y="0"/>
                </a:lnTo>
                <a:lnTo>
                  <a:pt x="2946408" y="1767845"/>
                </a:lnTo>
                <a:lnTo>
                  <a:pt x="0" y="1767845"/>
                </a:lnTo>
                <a:lnTo>
                  <a:pt x="0" y="0"/>
                </a:lnTo>
                <a:close/>
              </a:path>
            </a:pathLst>
          </a:custGeom>
          <a:solidFill>
            <a:schemeClr val="accent5"/>
          </a:solidFill>
          <a:effectLst/>
        </p:spPr>
        <p:style>
          <a:lnRef idx="0">
            <a:schemeClr val="lt1">
              <a:hueOff val="0"/>
              <a:satOff val="0"/>
              <a:lumOff val="0"/>
              <a:alphaOff val="0"/>
            </a:schemeClr>
          </a:lnRef>
          <a:fillRef idx="3">
            <a:schemeClr val="accent2">
              <a:shade val="50000"/>
              <a:hueOff val="0"/>
              <a:satOff val="0"/>
              <a:lumOff val="0"/>
              <a:alphaOff val="0"/>
            </a:schemeClr>
          </a:fillRef>
          <a:effectRef idx="2">
            <a:schemeClr val="accent2">
              <a:shade val="50000"/>
              <a:hueOff val="0"/>
              <a:satOff val="0"/>
              <a:lumOff val="0"/>
              <a:alphaOff val="0"/>
            </a:schemeClr>
          </a:effectRef>
          <a:fontRef idx="minor">
            <a:schemeClr val="lt1"/>
          </a:fontRef>
        </p:style>
        <p:txBody>
          <a:bodyPr spcFirstLastPara="0" vert="horz" wrap="square" lIns="822960" tIns="91440" rIns="133316" bIns="133316" numCol="1" spcCol="1270" anchor="t" anchorCtr="0">
            <a:noAutofit/>
          </a:bodyPr>
          <a:lstStyle/>
          <a:p>
            <a:pPr marL="0" marR="0" lvl="0" indent="0" defTabSz="1555362" rtl="0" eaLnBrk="1" fontAlgn="auto" latinLnBrk="0" hangingPunct="1">
              <a:lnSpc>
                <a:spcPct val="90000"/>
              </a:lnSpc>
              <a:spcBef>
                <a:spcPct val="0"/>
              </a:spcBef>
              <a:spcAft>
                <a:spcPct val="35000"/>
              </a:spcAft>
              <a:buClrTx/>
              <a:buSzTx/>
              <a:buFontTx/>
              <a:buNone/>
              <a:tabLst/>
              <a:defRPr/>
            </a:pPr>
            <a:endParaRPr kumimoji="0" lang="en-US" sz="2400" u="none" strike="noStrike" kern="1200" cap="none" spc="0" normalizeH="0" baseline="0" noProof="0">
              <a:ln>
                <a:noFill/>
              </a:ln>
              <a:solidFill>
                <a:srgbClr val="373737"/>
              </a:solidFill>
              <a:effectLst/>
              <a:uLnTx/>
              <a:uFillTx/>
              <a:latin typeface="Roboto Light" panose="02000000000000000000" pitchFamily="2" charset="0"/>
              <a:ea typeface="Roboto Light" panose="02000000000000000000" pitchFamily="2" charset="0"/>
            </a:endParaRPr>
          </a:p>
        </p:txBody>
      </p:sp>
      <p:sp>
        <p:nvSpPr>
          <p:cNvPr id="87" name="Freeform 11">
            <a:extLst>
              <a:ext uri="{FF2B5EF4-FFF2-40B4-BE49-F238E27FC236}">
                <a16:creationId xmlns:a16="http://schemas.microsoft.com/office/drawing/2014/main" id="{4A3DFBF4-6AB7-4F8B-89EF-C83C28D2968E}"/>
              </a:ext>
            </a:extLst>
          </p:cNvPr>
          <p:cNvSpPr/>
          <p:nvPr userDrawn="1"/>
        </p:nvSpPr>
        <p:spPr>
          <a:xfrm>
            <a:off x="4660828" y="3193956"/>
            <a:ext cx="3383107" cy="45719"/>
          </a:xfrm>
          <a:custGeom>
            <a:avLst/>
            <a:gdLst>
              <a:gd name="connsiteX0" fmla="*/ 0 w 2946408"/>
              <a:gd name="connsiteY0" fmla="*/ 0 h 1767845"/>
              <a:gd name="connsiteX1" fmla="*/ 2946408 w 2946408"/>
              <a:gd name="connsiteY1" fmla="*/ 0 h 1767845"/>
              <a:gd name="connsiteX2" fmla="*/ 2946408 w 2946408"/>
              <a:gd name="connsiteY2" fmla="*/ 1767845 h 1767845"/>
              <a:gd name="connsiteX3" fmla="*/ 0 w 2946408"/>
              <a:gd name="connsiteY3" fmla="*/ 1767845 h 1767845"/>
              <a:gd name="connsiteX4" fmla="*/ 0 w 2946408"/>
              <a:gd name="connsiteY4" fmla="*/ 0 h 1767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6408" h="1767845">
                <a:moveTo>
                  <a:pt x="0" y="0"/>
                </a:moveTo>
                <a:lnTo>
                  <a:pt x="2946408" y="0"/>
                </a:lnTo>
                <a:lnTo>
                  <a:pt x="2946408" y="1767845"/>
                </a:lnTo>
                <a:lnTo>
                  <a:pt x="0" y="1767845"/>
                </a:lnTo>
                <a:lnTo>
                  <a:pt x="0" y="0"/>
                </a:lnTo>
                <a:close/>
              </a:path>
            </a:pathLst>
          </a:custGeom>
          <a:solidFill>
            <a:schemeClr val="accent2"/>
          </a:solidFill>
          <a:effectLst/>
        </p:spPr>
        <p:style>
          <a:lnRef idx="0">
            <a:schemeClr val="lt1">
              <a:hueOff val="0"/>
              <a:satOff val="0"/>
              <a:lumOff val="0"/>
              <a:alphaOff val="0"/>
            </a:schemeClr>
          </a:lnRef>
          <a:fillRef idx="3">
            <a:schemeClr val="accent2">
              <a:shade val="50000"/>
              <a:hueOff val="-352213"/>
              <a:satOff val="0"/>
              <a:lumOff val="20640"/>
              <a:alphaOff val="0"/>
            </a:schemeClr>
          </a:fillRef>
          <a:effectRef idx="2">
            <a:schemeClr val="accent2">
              <a:shade val="50000"/>
              <a:hueOff val="-352213"/>
              <a:satOff val="0"/>
              <a:lumOff val="20640"/>
              <a:alphaOff val="0"/>
            </a:schemeClr>
          </a:effectRef>
          <a:fontRef idx="minor">
            <a:schemeClr val="lt1"/>
          </a:fontRef>
        </p:style>
        <p:txBody>
          <a:bodyPr spcFirstLastPara="0" vert="horz" wrap="square" lIns="822960" tIns="91440" rIns="133316" bIns="133316" numCol="1" spcCol="1270" anchor="t" anchorCtr="0">
            <a:noAutofit/>
          </a:bodyPr>
          <a:lstStyle/>
          <a:p>
            <a:pPr marL="0" marR="0" lvl="0" indent="0" defTabSz="1555362" rtl="0" eaLnBrk="1" fontAlgn="auto" latinLnBrk="0" hangingPunct="1">
              <a:lnSpc>
                <a:spcPct val="90000"/>
              </a:lnSpc>
              <a:spcBef>
                <a:spcPct val="0"/>
              </a:spcBef>
              <a:spcAft>
                <a:spcPct val="35000"/>
              </a:spcAft>
              <a:buClrTx/>
              <a:buSzTx/>
              <a:buFontTx/>
              <a:buNone/>
              <a:tabLst/>
              <a:defRPr/>
            </a:pPr>
            <a:endParaRPr kumimoji="0" lang="en-US" sz="2400" u="none" strike="noStrike" kern="1200" cap="none" spc="0" normalizeH="0" baseline="0" noProof="0">
              <a:ln>
                <a:noFill/>
              </a:ln>
              <a:solidFill>
                <a:srgbClr val="373737"/>
              </a:solidFill>
              <a:effectLst/>
              <a:uLnTx/>
              <a:uFillTx/>
              <a:latin typeface="Roboto Light" panose="02000000000000000000" pitchFamily="2" charset="0"/>
              <a:ea typeface="Roboto Light" panose="02000000000000000000" pitchFamily="2" charset="0"/>
            </a:endParaRPr>
          </a:p>
        </p:txBody>
      </p:sp>
      <p:sp>
        <p:nvSpPr>
          <p:cNvPr id="88" name="Freeform 12">
            <a:extLst>
              <a:ext uri="{FF2B5EF4-FFF2-40B4-BE49-F238E27FC236}">
                <a16:creationId xmlns:a16="http://schemas.microsoft.com/office/drawing/2014/main" id="{B97FB2CD-657A-4AC5-82C4-EA700B431257}"/>
              </a:ext>
            </a:extLst>
          </p:cNvPr>
          <p:cNvSpPr/>
          <p:nvPr userDrawn="1"/>
        </p:nvSpPr>
        <p:spPr>
          <a:xfrm>
            <a:off x="8294545" y="3193957"/>
            <a:ext cx="3383106" cy="45719"/>
          </a:xfrm>
          <a:custGeom>
            <a:avLst/>
            <a:gdLst>
              <a:gd name="connsiteX0" fmla="*/ 0 w 2946408"/>
              <a:gd name="connsiteY0" fmla="*/ 0 h 1767845"/>
              <a:gd name="connsiteX1" fmla="*/ 2946408 w 2946408"/>
              <a:gd name="connsiteY1" fmla="*/ 0 h 1767845"/>
              <a:gd name="connsiteX2" fmla="*/ 2946408 w 2946408"/>
              <a:gd name="connsiteY2" fmla="*/ 1767845 h 1767845"/>
              <a:gd name="connsiteX3" fmla="*/ 0 w 2946408"/>
              <a:gd name="connsiteY3" fmla="*/ 1767845 h 1767845"/>
              <a:gd name="connsiteX4" fmla="*/ 0 w 2946408"/>
              <a:gd name="connsiteY4" fmla="*/ 0 h 1767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6408" h="1767845">
                <a:moveTo>
                  <a:pt x="0" y="0"/>
                </a:moveTo>
                <a:lnTo>
                  <a:pt x="2946408" y="0"/>
                </a:lnTo>
                <a:lnTo>
                  <a:pt x="2946408" y="1767845"/>
                </a:lnTo>
                <a:lnTo>
                  <a:pt x="0" y="1767845"/>
                </a:lnTo>
                <a:lnTo>
                  <a:pt x="0" y="0"/>
                </a:lnTo>
                <a:close/>
              </a:path>
            </a:pathLst>
          </a:custGeom>
          <a:solidFill>
            <a:schemeClr val="accent4"/>
          </a:solidFill>
          <a:effectLst/>
        </p:spPr>
        <p:style>
          <a:lnRef idx="0">
            <a:schemeClr val="lt1">
              <a:hueOff val="0"/>
              <a:satOff val="0"/>
              <a:lumOff val="0"/>
              <a:alphaOff val="0"/>
            </a:schemeClr>
          </a:lnRef>
          <a:fillRef idx="3">
            <a:schemeClr val="accent2">
              <a:shade val="50000"/>
              <a:hueOff val="-704426"/>
              <a:satOff val="0"/>
              <a:lumOff val="41281"/>
              <a:alphaOff val="0"/>
            </a:schemeClr>
          </a:fillRef>
          <a:effectRef idx="2">
            <a:schemeClr val="accent2">
              <a:shade val="50000"/>
              <a:hueOff val="-704426"/>
              <a:satOff val="0"/>
              <a:lumOff val="41281"/>
              <a:alphaOff val="0"/>
            </a:schemeClr>
          </a:effectRef>
          <a:fontRef idx="minor">
            <a:schemeClr val="lt1"/>
          </a:fontRef>
        </p:style>
        <p:txBody>
          <a:bodyPr spcFirstLastPara="0" vert="horz" wrap="square" lIns="822960" tIns="91440" rIns="133316" bIns="133316" numCol="1" spcCol="1270" anchor="t" anchorCtr="0">
            <a:noAutofit/>
          </a:bodyPr>
          <a:lstStyle/>
          <a:p>
            <a:pPr marL="0" marR="0" lvl="0" indent="0" defTabSz="1555362" rtl="0" eaLnBrk="1" fontAlgn="auto" latinLnBrk="0" hangingPunct="1">
              <a:lnSpc>
                <a:spcPct val="90000"/>
              </a:lnSpc>
              <a:spcBef>
                <a:spcPct val="0"/>
              </a:spcBef>
              <a:spcAft>
                <a:spcPct val="35000"/>
              </a:spcAft>
              <a:buClrTx/>
              <a:buSzTx/>
              <a:buFontTx/>
              <a:buNone/>
              <a:tabLst/>
              <a:defRPr/>
            </a:pPr>
            <a:endParaRPr kumimoji="0" lang="en-US" sz="2400" u="none" strike="noStrike" kern="1200" cap="none" spc="0" normalizeH="0" baseline="0" noProof="0">
              <a:ln>
                <a:noFill/>
              </a:ln>
              <a:solidFill>
                <a:srgbClr val="373737"/>
              </a:solidFill>
              <a:effectLst/>
              <a:uLnTx/>
              <a:uFillTx/>
              <a:latin typeface="Roboto Light" panose="02000000000000000000" pitchFamily="2" charset="0"/>
              <a:ea typeface="Roboto Light" panose="02000000000000000000" pitchFamily="2" charset="0"/>
            </a:endParaRPr>
          </a:p>
        </p:txBody>
      </p:sp>
      <p:sp>
        <p:nvSpPr>
          <p:cNvPr id="89" name="Freeform 10">
            <a:extLst>
              <a:ext uri="{FF2B5EF4-FFF2-40B4-BE49-F238E27FC236}">
                <a16:creationId xmlns:a16="http://schemas.microsoft.com/office/drawing/2014/main" id="{D6D992AD-F208-4A19-B228-9D3A39B9EAA2}"/>
              </a:ext>
            </a:extLst>
          </p:cNvPr>
          <p:cNvSpPr/>
          <p:nvPr userDrawn="1"/>
        </p:nvSpPr>
        <p:spPr>
          <a:xfrm>
            <a:off x="1027113" y="4771961"/>
            <a:ext cx="3383106" cy="45719"/>
          </a:xfrm>
          <a:custGeom>
            <a:avLst/>
            <a:gdLst>
              <a:gd name="connsiteX0" fmla="*/ 0 w 2946408"/>
              <a:gd name="connsiteY0" fmla="*/ 0 h 1767845"/>
              <a:gd name="connsiteX1" fmla="*/ 2946408 w 2946408"/>
              <a:gd name="connsiteY1" fmla="*/ 0 h 1767845"/>
              <a:gd name="connsiteX2" fmla="*/ 2946408 w 2946408"/>
              <a:gd name="connsiteY2" fmla="*/ 1767845 h 1767845"/>
              <a:gd name="connsiteX3" fmla="*/ 0 w 2946408"/>
              <a:gd name="connsiteY3" fmla="*/ 1767845 h 1767845"/>
              <a:gd name="connsiteX4" fmla="*/ 0 w 2946408"/>
              <a:gd name="connsiteY4" fmla="*/ 0 h 1767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6408" h="1767845">
                <a:moveTo>
                  <a:pt x="0" y="0"/>
                </a:moveTo>
                <a:lnTo>
                  <a:pt x="2946408" y="0"/>
                </a:lnTo>
                <a:lnTo>
                  <a:pt x="2946408" y="1767845"/>
                </a:lnTo>
                <a:lnTo>
                  <a:pt x="0" y="1767845"/>
                </a:lnTo>
                <a:lnTo>
                  <a:pt x="0" y="0"/>
                </a:lnTo>
                <a:close/>
              </a:path>
            </a:pathLst>
          </a:custGeom>
          <a:solidFill>
            <a:schemeClr val="accent1"/>
          </a:solidFill>
          <a:effectLst/>
        </p:spPr>
        <p:style>
          <a:lnRef idx="0">
            <a:schemeClr val="lt1">
              <a:hueOff val="0"/>
              <a:satOff val="0"/>
              <a:lumOff val="0"/>
              <a:alphaOff val="0"/>
            </a:schemeClr>
          </a:lnRef>
          <a:fillRef idx="3">
            <a:schemeClr val="accent2">
              <a:shade val="50000"/>
              <a:hueOff val="0"/>
              <a:satOff val="0"/>
              <a:lumOff val="0"/>
              <a:alphaOff val="0"/>
            </a:schemeClr>
          </a:fillRef>
          <a:effectRef idx="2">
            <a:schemeClr val="accent2">
              <a:shade val="50000"/>
              <a:hueOff val="0"/>
              <a:satOff val="0"/>
              <a:lumOff val="0"/>
              <a:alphaOff val="0"/>
            </a:schemeClr>
          </a:effectRef>
          <a:fontRef idx="minor">
            <a:schemeClr val="lt1"/>
          </a:fontRef>
        </p:style>
        <p:txBody>
          <a:bodyPr spcFirstLastPara="0" vert="horz" wrap="square" lIns="822960" tIns="91440" rIns="133316" bIns="133316" numCol="1" spcCol="1270" anchor="t" anchorCtr="0">
            <a:noAutofit/>
          </a:bodyPr>
          <a:lstStyle/>
          <a:p>
            <a:pPr marL="0" marR="0" lvl="0" indent="0" defTabSz="1555362" rtl="0" eaLnBrk="1" fontAlgn="auto" latinLnBrk="0" hangingPunct="1">
              <a:lnSpc>
                <a:spcPct val="90000"/>
              </a:lnSpc>
              <a:spcBef>
                <a:spcPct val="0"/>
              </a:spcBef>
              <a:spcAft>
                <a:spcPct val="35000"/>
              </a:spcAft>
              <a:buClrTx/>
              <a:buSzTx/>
              <a:buFontTx/>
              <a:buNone/>
              <a:tabLst/>
              <a:defRPr/>
            </a:pPr>
            <a:endParaRPr kumimoji="0" lang="en-US" sz="2400" u="none" strike="noStrike" kern="1200" cap="none" spc="0" normalizeH="0" baseline="0" noProof="0">
              <a:ln>
                <a:noFill/>
              </a:ln>
              <a:solidFill>
                <a:srgbClr val="373737"/>
              </a:solidFill>
              <a:effectLst/>
              <a:uLnTx/>
              <a:uFillTx/>
              <a:latin typeface="Roboto Light" panose="02000000000000000000" pitchFamily="2" charset="0"/>
              <a:ea typeface="Roboto Light" panose="02000000000000000000" pitchFamily="2" charset="0"/>
            </a:endParaRPr>
          </a:p>
        </p:txBody>
      </p:sp>
      <p:sp>
        <p:nvSpPr>
          <p:cNvPr id="90" name="Freeform 11">
            <a:extLst>
              <a:ext uri="{FF2B5EF4-FFF2-40B4-BE49-F238E27FC236}">
                <a16:creationId xmlns:a16="http://schemas.microsoft.com/office/drawing/2014/main" id="{6C2E48A7-4BD9-4738-BFAC-BA6CE8743072}"/>
              </a:ext>
            </a:extLst>
          </p:cNvPr>
          <p:cNvSpPr/>
          <p:nvPr userDrawn="1"/>
        </p:nvSpPr>
        <p:spPr>
          <a:xfrm>
            <a:off x="4660828" y="4771959"/>
            <a:ext cx="3383107" cy="45719"/>
          </a:xfrm>
          <a:custGeom>
            <a:avLst/>
            <a:gdLst>
              <a:gd name="connsiteX0" fmla="*/ 0 w 2946408"/>
              <a:gd name="connsiteY0" fmla="*/ 0 h 1767845"/>
              <a:gd name="connsiteX1" fmla="*/ 2946408 w 2946408"/>
              <a:gd name="connsiteY1" fmla="*/ 0 h 1767845"/>
              <a:gd name="connsiteX2" fmla="*/ 2946408 w 2946408"/>
              <a:gd name="connsiteY2" fmla="*/ 1767845 h 1767845"/>
              <a:gd name="connsiteX3" fmla="*/ 0 w 2946408"/>
              <a:gd name="connsiteY3" fmla="*/ 1767845 h 1767845"/>
              <a:gd name="connsiteX4" fmla="*/ 0 w 2946408"/>
              <a:gd name="connsiteY4" fmla="*/ 0 h 1767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6408" h="1767845">
                <a:moveTo>
                  <a:pt x="0" y="0"/>
                </a:moveTo>
                <a:lnTo>
                  <a:pt x="2946408" y="0"/>
                </a:lnTo>
                <a:lnTo>
                  <a:pt x="2946408" y="1767845"/>
                </a:lnTo>
                <a:lnTo>
                  <a:pt x="0" y="1767845"/>
                </a:lnTo>
                <a:lnTo>
                  <a:pt x="0" y="0"/>
                </a:lnTo>
                <a:close/>
              </a:path>
            </a:pathLst>
          </a:custGeom>
          <a:solidFill>
            <a:schemeClr val="tx1"/>
          </a:solidFill>
          <a:effectLst/>
        </p:spPr>
        <p:style>
          <a:lnRef idx="0">
            <a:schemeClr val="lt1">
              <a:hueOff val="0"/>
              <a:satOff val="0"/>
              <a:lumOff val="0"/>
              <a:alphaOff val="0"/>
            </a:schemeClr>
          </a:lnRef>
          <a:fillRef idx="3">
            <a:schemeClr val="accent2">
              <a:shade val="50000"/>
              <a:hueOff val="-352213"/>
              <a:satOff val="0"/>
              <a:lumOff val="20640"/>
              <a:alphaOff val="0"/>
            </a:schemeClr>
          </a:fillRef>
          <a:effectRef idx="2">
            <a:schemeClr val="accent2">
              <a:shade val="50000"/>
              <a:hueOff val="-352213"/>
              <a:satOff val="0"/>
              <a:lumOff val="20640"/>
              <a:alphaOff val="0"/>
            </a:schemeClr>
          </a:effectRef>
          <a:fontRef idx="minor">
            <a:schemeClr val="lt1"/>
          </a:fontRef>
        </p:style>
        <p:txBody>
          <a:bodyPr spcFirstLastPara="0" vert="horz" wrap="square" lIns="822960" tIns="91440" rIns="133316" bIns="133316" numCol="1" spcCol="1270" anchor="t" anchorCtr="0">
            <a:noAutofit/>
          </a:bodyPr>
          <a:lstStyle/>
          <a:p>
            <a:pPr marL="0" marR="0" lvl="0" indent="0" defTabSz="1555362" rtl="0" eaLnBrk="1" fontAlgn="auto" latinLnBrk="0" hangingPunct="1">
              <a:lnSpc>
                <a:spcPct val="90000"/>
              </a:lnSpc>
              <a:spcBef>
                <a:spcPct val="0"/>
              </a:spcBef>
              <a:spcAft>
                <a:spcPct val="35000"/>
              </a:spcAft>
              <a:buClrTx/>
              <a:buSzTx/>
              <a:buFontTx/>
              <a:buNone/>
              <a:tabLst/>
              <a:defRPr/>
            </a:pPr>
            <a:endParaRPr kumimoji="0" lang="en-US" sz="2400" u="none" strike="noStrike" kern="1200" cap="none" spc="0" normalizeH="0" baseline="0" noProof="0">
              <a:ln>
                <a:noFill/>
              </a:ln>
              <a:solidFill>
                <a:srgbClr val="373737"/>
              </a:solidFill>
              <a:effectLst/>
              <a:uLnTx/>
              <a:uFillTx/>
              <a:latin typeface="Roboto Light" panose="02000000000000000000" pitchFamily="2" charset="0"/>
              <a:ea typeface="Roboto Light" panose="02000000000000000000" pitchFamily="2" charset="0"/>
            </a:endParaRPr>
          </a:p>
        </p:txBody>
      </p:sp>
      <p:sp>
        <p:nvSpPr>
          <p:cNvPr id="91" name="Freeform 12">
            <a:extLst>
              <a:ext uri="{FF2B5EF4-FFF2-40B4-BE49-F238E27FC236}">
                <a16:creationId xmlns:a16="http://schemas.microsoft.com/office/drawing/2014/main" id="{2B2AED57-952D-47AC-AD1F-90D4E57F0121}"/>
              </a:ext>
            </a:extLst>
          </p:cNvPr>
          <p:cNvSpPr/>
          <p:nvPr userDrawn="1"/>
        </p:nvSpPr>
        <p:spPr>
          <a:xfrm>
            <a:off x="8294545" y="4771960"/>
            <a:ext cx="3383106" cy="45719"/>
          </a:xfrm>
          <a:custGeom>
            <a:avLst/>
            <a:gdLst>
              <a:gd name="connsiteX0" fmla="*/ 0 w 2946408"/>
              <a:gd name="connsiteY0" fmla="*/ 0 h 1767845"/>
              <a:gd name="connsiteX1" fmla="*/ 2946408 w 2946408"/>
              <a:gd name="connsiteY1" fmla="*/ 0 h 1767845"/>
              <a:gd name="connsiteX2" fmla="*/ 2946408 w 2946408"/>
              <a:gd name="connsiteY2" fmla="*/ 1767845 h 1767845"/>
              <a:gd name="connsiteX3" fmla="*/ 0 w 2946408"/>
              <a:gd name="connsiteY3" fmla="*/ 1767845 h 1767845"/>
              <a:gd name="connsiteX4" fmla="*/ 0 w 2946408"/>
              <a:gd name="connsiteY4" fmla="*/ 0 h 1767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6408" h="1767845">
                <a:moveTo>
                  <a:pt x="0" y="0"/>
                </a:moveTo>
                <a:lnTo>
                  <a:pt x="2946408" y="0"/>
                </a:lnTo>
                <a:lnTo>
                  <a:pt x="2946408" y="1767845"/>
                </a:lnTo>
                <a:lnTo>
                  <a:pt x="0" y="1767845"/>
                </a:lnTo>
                <a:lnTo>
                  <a:pt x="0" y="0"/>
                </a:lnTo>
                <a:close/>
              </a:path>
            </a:pathLst>
          </a:custGeom>
          <a:solidFill>
            <a:schemeClr val="accent6"/>
          </a:solidFill>
          <a:effectLst/>
        </p:spPr>
        <p:style>
          <a:lnRef idx="0">
            <a:schemeClr val="lt1">
              <a:hueOff val="0"/>
              <a:satOff val="0"/>
              <a:lumOff val="0"/>
              <a:alphaOff val="0"/>
            </a:schemeClr>
          </a:lnRef>
          <a:fillRef idx="3">
            <a:schemeClr val="accent2">
              <a:shade val="50000"/>
              <a:hueOff val="-704426"/>
              <a:satOff val="0"/>
              <a:lumOff val="41281"/>
              <a:alphaOff val="0"/>
            </a:schemeClr>
          </a:fillRef>
          <a:effectRef idx="2">
            <a:schemeClr val="accent2">
              <a:shade val="50000"/>
              <a:hueOff val="-704426"/>
              <a:satOff val="0"/>
              <a:lumOff val="41281"/>
              <a:alphaOff val="0"/>
            </a:schemeClr>
          </a:effectRef>
          <a:fontRef idx="minor">
            <a:schemeClr val="lt1"/>
          </a:fontRef>
        </p:style>
        <p:txBody>
          <a:bodyPr spcFirstLastPara="0" vert="horz" wrap="square" lIns="822960" tIns="91440" rIns="133316" bIns="133316" numCol="1" spcCol="1270" anchor="t" anchorCtr="0">
            <a:noAutofit/>
          </a:bodyPr>
          <a:lstStyle/>
          <a:p>
            <a:pPr marL="0" marR="0" lvl="0" indent="0" defTabSz="1555362" rtl="0" eaLnBrk="1" fontAlgn="auto" latinLnBrk="0" hangingPunct="1">
              <a:lnSpc>
                <a:spcPct val="90000"/>
              </a:lnSpc>
              <a:spcBef>
                <a:spcPct val="0"/>
              </a:spcBef>
              <a:spcAft>
                <a:spcPct val="35000"/>
              </a:spcAft>
              <a:buClrTx/>
              <a:buSzTx/>
              <a:buFontTx/>
              <a:buNone/>
              <a:tabLst/>
              <a:defRPr/>
            </a:pPr>
            <a:endParaRPr kumimoji="0" lang="en-US" sz="2400" u="none" strike="noStrike" kern="1200" cap="none" spc="0" normalizeH="0" baseline="0" noProof="0">
              <a:ln>
                <a:noFill/>
              </a:ln>
              <a:solidFill>
                <a:srgbClr val="373737"/>
              </a:solidFill>
              <a:effectLst/>
              <a:uLnTx/>
              <a:uFillTx/>
              <a:latin typeface="Roboto Light" panose="02000000000000000000" pitchFamily="2" charset="0"/>
              <a:ea typeface="Roboto Light" panose="02000000000000000000" pitchFamily="2" charset="0"/>
            </a:endParaRPr>
          </a:p>
        </p:txBody>
      </p:sp>
      <p:sp>
        <p:nvSpPr>
          <p:cNvPr id="3" name="TextBox 2">
            <a:extLst>
              <a:ext uri="{FF2B5EF4-FFF2-40B4-BE49-F238E27FC236}">
                <a16:creationId xmlns:a16="http://schemas.microsoft.com/office/drawing/2014/main" id="{441A09E4-BC75-4DF9-9A9D-720A119A8D6E}"/>
              </a:ext>
            </a:extLst>
          </p:cNvPr>
          <p:cNvSpPr txBox="1"/>
          <p:nvPr userDrawn="1"/>
        </p:nvSpPr>
        <p:spPr>
          <a:xfrm>
            <a:off x="1023708"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a:solidFill>
                  <a:schemeClr val="tx1">
                    <a:lumMod val="60000"/>
                    <a:lumOff val="40000"/>
                  </a:schemeClr>
                </a:solidFill>
                <a:latin typeface="Roboto" panose="02000000000000000000" pitchFamily="2" charset="0"/>
                <a:ea typeface="Roboto" panose="02000000000000000000" pitchFamily="2" charset="0"/>
                <a:cs typeface="Roboto" charset="0"/>
              </a:rPr>
              <a:t>© Informatica. Proprietary and Confidential.</a:t>
            </a:r>
          </a:p>
        </p:txBody>
      </p:sp>
      <p:pic>
        <p:nvPicPr>
          <p:cNvPr id="35" name="Picture 34">
            <a:extLst>
              <a:ext uri="{FF2B5EF4-FFF2-40B4-BE49-F238E27FC236}">
                <a16:creationId xmlns:a16="http://schemas.microsoft.com/office/drawing/2014/main" id="{B82C524C-CCED-7C4C-AB37-DC08F2783612}"/>
              </a:ext>
            </a:extLst>
          </p:cNvPr>
          <p:cNvPicPr>
            <a:picLocks noChangeAspect="1"/>
          </p:cNvPicPr>
          <p:nvPr userDrawn="1"/>
        </p:nvPicPr>
        <p:blipFill>
          <a:blip r:embed="rId2"/>
          <a:srcRect/>
          <a:stretch/>
        </p:blipFill>
        <p:spPr>
          <a:xfrm>
            <a:off x="9744604" y="6098796"/>
            <a:ext cx="2039100" cy="699990"/>
          </a:xfrm>
          <a:prstGeom prst="rect">
            <a:avLst/>
          </a:prstGeom>
        </p:spPr>
      </p:pic>
      <p:sp>
        <p:nvSpPr>
          <p:cNvPr id="36" name="Right Triangle 35">
            <a:extLst>
              <a:ext uri="{FF2B5EF4-FFF2-40B4-BE49-F238E27FC236}">
                <a16:creationId xmlns:a16="http://schemas.microsoft.com/office/drawing/2014/main" id="{EBEE8010-176F-BC4A-BF2A-D9C7BE0DBB1E}"/>
              </a:ext>
            </a:extLst>
          </p:cNvPr>
          <p:cNvSpPr/>
          <p:nvPr userDrawn="1"/>
        </p:nvSpPr>
        <p:spPr>
          <a:xfrm>
            <a:off x="1" y="2761950"/>
            <a:ext cx="590764" cy="4096050"/>
          </a:xfrm>
          <a:prstGeom prst="rtTriangle">
            <a:avLst/>
          </a:prstGeom>
          <a:gradFill>
            <a:gsLst>
              <a:gs pos="0">
                <a:schemeClr val="accent2"/>
              </a:gs>
              <a:gs pos="76000">
                <a:srgbClr val="FF6500"/>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rIns="137160" bIns="91440" rtlCol="0" anchor="ctr">
            <a:noAutofit/>
          </a:bodyPr>
          <a:lstStyle/>
          <a:p>
            <a:pPr lvl="0"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73" name="TextBox 72">
            <a:extLst>
              <a:ext uri="{FF2B5EF4-FFF2-40B4-BE49-F238E27FC236}">
                <a16:creationId xmlns:a16="http://schemas.microsoft.com/office/drawing/2014/main" id="{D06D4311-CC27-4703-8C2C-07DEA5C95A87}"/>
              </a:ext>
            </a:extLst>
          </p:cNvPr>
          <p:cNvSpPr txBox="1"/>
          <p:nvPr userDrawn="1"/>
        </p:nvSpPr>
        <p:spPr>
          <a:xfrm>
            <a:off x="176868" y="6365106"/>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900" b="0" i="0" kern="1200" smtClean="0">
                <a:solidFill>
                  <a:schemeClr val="bg1"/>
                </a:solidFill>
                <a:latin typeface="Roboto" panose="02000000000000000000" pitchFamily="2" charset="0"/>
                <a:ea typeface="Roboto" panose="02000000000000000000" pitchFamily="2" charset="0"/>
                <a:cs typeface="Roboto" charset="0"/>
              </a:rPr>
              <a:pPr marL="0" lvl="0" algn="ctr" defTabSz="457200" rtl="0" eaLnBrk="1" latinLnBrk="0" hangingPunct="1"/>
              <a:t>‹#›</a:t>
            </a:fld>
            <a:endParaRPr lang="en-US" sz="900" b="0" i="0" kern="1200">
              <a:solidFill>
                <a:schemeClr val="bg1"/>
              </a:solidFill>
              <a:latin typeface="Roboto" panose="02000000000000000000" pitchFamily="2" charset="0"/>
              <a:ea typeface="Roboto" panose="02000000000000000000" pitchFamily="2" charset="0"/>
              <a:cs typeface="Roboto" charset="0"/>
            </a:endParaRPr>
          </a:p>
        </p:txBody>
      </p:sp>
    </p:spTree>
    <p:extLst>
      <p:ext uri="{BB962C8B-B14F-4D97-AF65-F5344CB8AC3E}">
        <p14:creationId xmlns:p14="http://schemas.microsoft.com/office/powerpoint/2010/main" val="2007460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Title/Subtitle/Headlines &amp; 3-">
    <p:spTree>
      <p:nvGrpSpPr>
        <p:cNvPr id="1" name=""/>
        <p:cNvGrpSpPr/>
        <p:nvPr/>
      </p:nvGrpSpPr>
      <p:grpSpPr>
        <a:xfrm>
          <a:off x="0" y="0"/>
          <a:ext cx="0" cy="0"/>
          <a:chOff x="0" y="0"/>
          <a:chExt cx="0" cy="0"/>
        </a:xfrm>
      </p:grpSpPr>
      <p:sp>
        <p:nvSpPr>
          <p:cNvPr id="17" name="Right Triangle 16">
            <a:extLst>
              <a:ext uri="{FF2B5EF4-FFF2-40B4-BE49-F238E27FC236}">
                <a16:creationId xmlns:a16="http://schemas.microsoft.com/office/drawing/2014/main" id="{604C7E48-5DD6-024F-B64E-62071197E643}"/>
              </a:ext>
            </a:extLst>
          </p:cNvPr>
          <p:cNvSpPr/>
          <p:nvPr userDrawn="1"/>
        </p:nvSpPr>
        <p:spPr>
          <a:xfrm>
            <a:off x="0" y="2761950"/>
            <a:ext cx="702453" cy="4096050"/>
          </a:xfrm>
          <a:prstGeom prst="r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2" name="Title 1"/>
          <p:cNvSpPr>
            <a:spLocks noGrp="1"/>
          </p:cNvSpPr>
          <p:nvPr userDrawn="1">
            <p:ph type="title" hasCustomPrompt="1"/>
          </p:nvPr>
        </p:nvSpPr>
        <p:spPr>
          <a:xfrm>
            <a:off x="488950" y="482602"/>
            <a:ext cx="11188701" cy="562427"/>
          </a:xfrm>
          <a:prstGeom prst="rect">
            <a:avLst/>
          </a:prstGeom>
        </p:spPr>
        <p:txBody>
          <a:bodyPr lIns="0"/>
          <a:lstStyle>
            <a:lvl1pPr>
              <a:defRPr baseline="0">
                <a:solidFill>
                  <a:schemeClr val="bg1"/>
                </a:solidFill>
              </a:defRPr>
            </a:lvl1pPr>
          </a:lstStyle>
          <a:p>
            <a:r>
              <a:rPr lang="en-US"/>
              <a:t>Headline Goes Here, Roboto Light, 36 Points, 1 Line</a:t>
            </a:r>
          </a:p>
        </p:txBody>
      </p:sp>
      <p:sp>
        <p:nvSpPr>
          <p:cNvPr id="11" name="Content Placeholder 5">
            <a:extLst>
              <a:ext uri="{FF2B5EF4-FFF2-40B4-BE49-F238E27FC236}">
                <a16:creationId xmlns:a16="http://schemas.microsoft.com/office/drawing/2014/main" id="{956D1FDC-5FA5-4B2D-A5AA-86637FA3B976}"/>
              </a:ext>
            </a:extLst>
          </p:cNvPr>
          <p:cNvSpPr>
            <a:spLocks noGrp="1"/>
          </p:cNvSpPr>
          <p:nvPr userDrawn="1">
            <p:ph sz="quarter" idx="14" hasCustomPrompt="1"/>
          </p:nvPr>
        </p:nvSpPr>
        <p:spPr>
          <a:xfrm>
            <a:off x="1025388" y="2290762"/>
            <a:ext cx="3269180" cy="3729038"/>
          </a:xfrm>
          <a:prstGeom prst="rect">
            <a:avLst/>
          </a:prstGeom>
        </p:spPr>
        <p:txBody>
          <a:bodyPr/>
          <a:lstStyle>
            <a:lvl1pPr>
              <a:spcBef>
                <a:spcPts val="1200"/>
              </a:spcBef>
              <a:defRPr sz="1800" baseline="0">
                <a:latin typeface="Roboto" panose="02000000000000000000" pitchFamily="2" charset="0"/>
                <a:ea typeface="Roboto" panose="02000000000000000000" pitchFamily="2" charset="0"/>
              </a:defRPr>
            </a:lvl1pPr>
            <a:lvl2pPr>
              <a:spcBef>
                <a:spcPts val="600"/>
              </a:spcBef>
              <a:defRPr sz="1600" baseline="0">
                <a:latin typeface="Roboto" panose="02000000000000000000" pitchFamily="2" charset="0"/>
                <a:ea typeface="Roboto" panose="02000000000000000000" pitchFamily="2" charset="0"/>
              </a:defRPr>
            </a:lvl2pPr>
            <a:lvl3pPr>
              <a:spcBef>
                <a:spcPts val="600"/>
              </a:spcBef>
              <a:defRPr sz="1400">
                <a:latin typeface="Roboto" panose="02000000000000000000" pitchFamily="2" charset="0"/>
                <a:ea typeface="Roboto" panose="02000000000000000000" pitchFamily="2" charset="0"/>
              </a:defRPr>
            </a:lvl3pPr>
          </a:lstStyle>
          <a:p>
            <a:pPr lvl="0"/>
            <a:r>
              <a:rPr lang="en-US"/>
              <a:t>First bullet, Roboto Regular </a:t>
            </a:r>
          </a:p>
          <a:p>
            <a:pPr lvl="1"/>
            <a:r>
              <a:rPr lang="en-US"/>
              <a:t>Second bullet, Roboto Regular</a:t>
            </a:r>
          </a:p>
          <a:p>
            <a:pPr lvl="2"/>
            <a:r>
              <a:rPr lang="en-US"/>
              <a:t>Third bullet, Roboto Regular</a:t>
            </a:r>
          </a:p>
        </p:txBody>
      </p:sp>
      <p:sp>
        <p:nvSpPr>
          <p:cNvPr id="12" name="Text Placeholder 2">
            <a:extLst>
              <a:ext uri="{FF2B5EF4-FFF2-40B4-BE49-F238E27FC236}">
                <a16:creationId xmlns:a16="http://schemas.microsoft.com/office/drawing/2014/main" id="{055D64D1-7AD8-4D53-A0ED-118D84E22AE7}"/>
              </a:ext>
            </a:extLst>
          </p:cNvPr>
          <p:cNvSpPr>
            <a:spLocks noGrp="1"/>
          </p:cNvSpPr>
          <p:nvPr userDrawn="1">
            <p:ph type="body" idx="1" hasCustomPrompt="1"/>
          </p:nvPr>
        </p:nvSpPr>
        <p:spPr>
          <a:xfrm>
            <a:off x="1027526" y="1854199"/>
            <a:ext cx="3269180" cy="436563"/>
          </a:xfrm>
          <a:prstGeom prst="rect">
            <a:avLst/>
          </a:prstGeom>
        </p:spPr>
        <p:txBody>
          <a:bodyPr anchor="t"/>
          <a:lstStyle>
            <a:lvl1pPr marL="0" indent="0">
              <a:buNone/>
              <a:defRPr sz="2000" b="1" baseline="0">
                <a:solidFill>
                  <a:schemeClr val="accent5"/>
                </a:solidFill>
                <a:latin typeface="Roboto" panose="02000000000000000000" pitchFamily="2" charset="0"/>
                <a:ea typeface="Roboto" panose="02000000000000000000" pitchFamily="2" charset="0"/>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2" indent="0">
              <a:buNone/>
              <a:defRPr sz="1600" b="1"/>
            </a:lvl6pPr>
            <a:lvl7pPr marL="2742651" indent="0">
              <a:buNone/>
              <a:defRPr sz="1600" b="1"/>
            </a:lvl7pPr>
            <a:lvl8pPr marL="3199760" indent="0">
              <a:buNone/>
              <a:defRPr sz="1600" b="1"/>
            </a:lvl8pPr>
            <a:lvl9pPr marL="3656869" indent="0">
              <a:buNone/>
              <a:defRPr sz="1600" b="1"/>
            </a:lvl9pPr>
          </a:lstStyle>
          <a:p>
            <a:pPr lvl="0"/>
            <a:r>
              <a:rPr lang="en-US"/>
              <a:t>Headline goes here</a:t>
            </a:r>
          </a:p>
        </p:txBody>
      </p:sp>
      <p:sp>
        <p:nvSpPr>
          <p:cNvPr id="15" name="Content Placeholder 5">
            <a:extLst>
              <a:ext uri="{FF2B5EF4-FFF2-40B4-BE49-F238E27FC236}">
                <a16:creationId xmlns:a16="http://schemas.microsoft.com/office/drawing/2014/main" id="{26C68CC7-FCFB-4E97-8E67-90A77CBE7883}"/>
              </a:ext>
            </a:extLst>
          </p:cNvPr>
          <p:cNvSpPr>
            <a:spLocks noGrp="1"/>
          </p:cNvSpPr>
          <p:nvPr userDrawn="1">
            <p:ph sz="quarter" idx="15" hasCustomPrompt="1"/>
          </p:nvPr>
        </p:nvSpPr>
        <p:spPr>
          <a:xfrm>
            <a:off x="4734911" y="2290762"/>
            <a:ext cx="3269180" cy="3729038"/>
          </a:xfrm>
          <a:prstGeom prst="rect">
            <a:avLst/>
          </a:prstGeom>
        </p:spPr>
        <p:txBody>
          <a:bodyPr/>
          <a:lstStyle>
            <a:lvl1pPr>
              <a:spcBef>
                <a:spcPts val="1200"/>
              </a:spcBef>
              <a:defRPr sz="1800" baseline="0">
                <a:latin typeface="Roboto" panose="02000000000000000000" pitchFamily="2" charset="0"/>
                <a:ea typeface="Roboto" panose="02000000000000000000" pitchFamily="2" charset="0"/>
              </a:defRPr>
            </a:lvl1pPr>
            <a:lvl2pPr>
              <a:spcBef>
                <a:spcPts val="600"/>
              </a:spcBef>
              <a:defRPr sz="1600" baseline="0">
                <a:latin typeface="Roboto" panose="02000000000000000000" pitchFamily="2" charset="0"/>
                <a:ea typeface="Roboto" panose="02000000000000000000" pitchFamily="2" charset="0"/>
              </a:defRPr>
            </a:lvl2pPr>
            <a:lvl3pPr>
              <a:spcBef>
                <a:spcPts val="600"/>
              </a:spcBef>
              <a:defRPr sz="1400">
                <a:latin typeface="Roboto" panose="02000000000000000000" pitchFamily="2" charset="0"/>
                <a:ea typeface="Roboto" panose="02000000000000000000" pitchFamily="2" charset="0"/>
              </a:defRPr>
            </a:lvl3pPr>
          </a:lstStyle>
          <a:p>
            <a:pPr lvl="0"/>
            <a:r>
              <a:rPr lang="en-US"/>
              <a:t>First bullet, Roboto Regular </a:t>
            </a:r>
          </a:p>
          <a:p>
            <a:pPr lvl="1"/>
            <a:r>
              <a:rPr lang="en-US"/>
              <a:t>Second bullet, Roboto Regular</a:t>
            </a:r>
          </a:p>
          <a:p>
            <a:pPr lvl="2"/>
            <a:r>
              <a:rPr lang="en-US"/>
              <a:t>Third bullet, Roboto Regular</a:t>
            </a:r>
          </a:p>
        </p:txBody>
      </p:sp>
      <p:sp>
        <p:nvSpPr>
          <p:cNvPr id="19" name="Text Placeholder 2">
            <a:extLst>
              <a:ext uri="{FF2B5EF4-FFF2-40B4-BE49-F238E27FC236}">
                <a16:creationId xmlns:a16="http://schemas.microsoft.com/office/drawing/2014/main" id="{F89E3C59-0A83-46CB-AFF1-091BB74D0EA9}"/>
              </a:ext>
            </a:extLst>
          </p:cNvPr>
          <p:cNvSpPr>
            <a:spLocks noGrp="1"/>
          </p:cNvSpPr>
          <p:nvPr userDrawn="1">
            <p:ph type="body" idx="16" hasCustomPrompt="1"/>
          </p:nvPr>
        </p:nvSpPr>
        <p:spPr>
          <a:xfrm>
            <a:off x="4731941" y="1854199"/>
            <a:ext cx="3269180" cy="436563"/>
          </a:xfrm>
          <a:prstGeom prst="rect">
            <a:avLst/>
          </a:prstGeom>
        </p:spPr>
        <p:txBody>
          <a:bodyPr anchor="t"/>
          <a:lstStyle>
            <a:lvl1pPr marL="0" indent="0">
              <a:buNone/>
              <a:defRPr sz="2000" b="1" baseline="0">
                <a:solidFill>
                  <a:schemeClr val="accent5"/>
                </a:solidFill>
                <a:latin typeface="Roboto" panose="02000000000000000000" pitchFamily="2" charset="0"/>
                <a:ea typeface="Roboto" panose="02000000000000000000" pitchFamily="2" charset="0"/>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2" indent="0">
              <a:buNone/>
              <a:defRPr sz="1600" b="1"/>
            </a:lvl6pPr>
            <a:lvl7pPr marL="2742651" indent="0">
              <a:buNone/>
              <a:defRPr sz="1600" b="1"/>
            </a:lvl7pPr>
            <a:lvl8pPr marL="3199760" indent="0">
              <a:buNone/>
              <a:defRPr sz="1600" b="1"/>
            </a:lvl8pPr>
            <a:lvl9pPr marL="3656869" indent="0">
              <a:buNone/>
              <a:defRPr sz="1600" b="1"/>
            </a:lvl9pPr>
          </a:lstStyle>
          <a:p>
            <a:pPr lvl="0"/>
            <a:r>
              <a:rPr lang="en-US"/>
              <a:t>Headline goes here</a:t>
            </a:r>
          </a:p>
        </p:txBody>
      </p:sp>
      <p:sp>
        <p:nvSpPr>
          <p:cNvPr id="20" name="Content Placeholder 5">
            <a:extLst>
              <a:ext uri="{FF2B5EF4-FFF2-40B4-BE49-F238E27FC236}">
                <a16:creationId xmlns:a16="http://schemas.microsoft.com/office/drawing/2014/main" id="{962B4E02-4383-440D-AB49-C9B1E385046F}"/>
              </a:ext>
            </a:extLst>
          </p:cNvPr>
          <p:cNvSpPr>
            <a:spLocks noGrp="1"/>
          </p:cNvSpPr>
          <p:nvPr userDrawn="1">
            <p:ph sz="quarter" idx="17" hasCustomPrompt="1"/>
          </p:nvPr>
        </p:nvSpPr>
        <p:spPr>
          <a:xfrm>
            <a:off x="8408366" y="2290762"/>
            <a:ext cx="3269180" cy="3729038"/>
          </a:xfrm>
          <a:prstGeom prst="rect">
            <a:avLst/>
          </a:prstGeom>
        </p:spPr>
        <p:txBody>
          <a:bodyPr/>
          <a:lstStyle>
            <a:lvl1pPr>
              <a:spcBef>
                <a:spcPts val="1200"/>
              </a:spcBef>
              <a:defRPr sz="1800" baseline="0">
                <a:latin typeface="Roboto" panose="02000000000000000000" pitchFamily="2" charset="0"/>
                <a:ea typeface="Roboto" panose="02000000000000000000" pitchFamily="2" charset="0"/>
              </a:defRPr>
            </a:lvl1pPr>
            <a:lvl2pPr>
              <a:spcBef>
                <a:spcPts val="600"/>
              </a:spcBef>
              <a:defRPr sz="1600" baseline="0">
                <a:latin typeface="Roboto" panose="02000000000000000000" pitchFamily="2" charset="0"/>
                <a:ea typeface="Roboto" panose="02000000000000000000" pitchFamily="2" charset="0"/>
              </a:defRPr>
            </a:lvl2pPr>
            <a:lvl3pPr>
              <a:spcBef>
                <a:spcPts val="600"/>
              </a:spcBef>
              <a:defRPr sz="1400">
                <a:latin typeface="Roboto" panose="02000000000000000000" pitchFamily="2" charset="0"/>
                <a:ea typeface="Roboto" panose="02000000000000000000" pitchFamily="2" charset="0"/>
              </a:defRPr>
            </a:lvl3pPr>
          </a:lstStyle>
          <a:p>
            <a:pPr lvl="0"/>
            <a:r>
              <a:rPr lang="en-US"/>
              <a:t>First bullet, Roboto Regular </a:t>
            </a:r>
          </a:p>
          <a:p>
            <a:pPr lvl="1"/>
            <a:r>
              <a:rPr lang="en-US"/>
              <a:t>Second bullet, Roboto Regular</a:t>
            </a:r>
          </a:p>
          <a:p>
            <a:pPr lvl="2"/>
            <a:r>
              <a:rPr lang="en-US"/>
              <a:t>Third bullet, Roboto Regular</a:t>
            </a:r>
          </a:p>
        </p:txBody>
      </p:sp>
      <p:sp>
        <p:nvSpPr>
          <p:cNvPr id="21" name="Text Placeholder 2">
            <a:extLst>
              <a:ext uri="{FF2B5EF4-FFF2-40B4-BE49-F238E27FC236}">
                <a16:creationId xmlns:a16="http://schemas.microsoft.com/office/drawing/2014/main" id="{50F3AD2F-D27D-4DC6-8CE0-ACED6D2AD57D}"/>
              </a:ext>
            </a:extLst>
          </p:cNvPr>
          <p:cNvSpPr>
            <a:spLocks noGrp="1"/>
          </p:cNvSpPr>
          <p:nvPr userDrawn="1">
            <p:ph type="body" idx="18" hasCustomPrompt="1"/>
          </p:nvPr>
        </p:nvSpPr>
        <p:spPr>
          <a:xfrm>
            <a:off x="8405396" y="1854199"/>
            <a:ext cx="3269180" cy="436563"/>
          </a:xfrm>
          <a:prstGeom prst="rect">
            <a:avLst/>
          </a:prstGeom>
        </p:spPr>
        <p:txBody>
          <a:bodyPr anchor="t"/>
          <a:lstStyle>
            <a:lvl1pPr marL="0" indent="0">
              <a:buNone/>
              <a:defRPr sz="2000" b="1" baseline="0">
                <a:solidFill>
                  <a:schemeClr val="accent5"/>
                </a:solidFill>
                <a:latin typeface="Roboto" panose="02000000000000000000" pitchFamily="2" charset="0"/>
                <a:ea typeface="Roboto" panose="02000000000000000000" pitchFamily="2" charset="0"/>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2" indent="0">
              <a:buNone/>
              <a:defRPr sz="1600" b="1"/>
            </a:lvl6pPr>
            <a:lvl7pPr marL="2742651" indent="0">
              <a:buNone/>
              <a:defRPr sz="1600" b="1"/>
            </a:lvl7pPr>
            <a:lvl8pPr marL="3199760" indent="0">
              <a:buNone/>
              <a:defRPr sz="1600" b="1"/>
            </a:lvl8pPr>
            <a:lvl9pPr marL="3656869" indent="0">
              <a:buNone/>
              <a:defRPr sz="1600" b="1"/>
            </a:lvl9pPr>
          </a:lstStyle>
          <a:p>
            <a:pPr lvl="0"/>
            <a:r>
              <a:rPr lang="en-US"/>
              <a:t>Headline goes here</a:t>
            </a:r>
          </a:p>
        </p:txBody>
      </p:sp>
      <p:sp>
        <p:nvSpPr>
          <p:cNvPr id="3" name="TextBox 2">
            <a:extLst>
              <a:ext uri="{FF2B5EF4-FFF2-40B4-BE49-F238E27FC236}">
                <a16:creationId xmlns:a16="http://schemas.microsoft.com/office/drawing/2014/main" id="{7381646B-CBD8-4A6C-AC78-62B17E690EE5}"/>
              </a:ext>
            </a:extLst>
          </p:cNvPr>
          <p:cNvSpPr txBox="1"/>
          <p:nvPr userDrawn="1"/>
        </p:nvSpPr>
        <p:spPr>
          <a:xfrm>
            <a:off x="1023708"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a:solidFill>
                  <a:schemeClr val="tx1">
                    <a:lumMod val="60000"/>
                    <a:lumOff val="40000"/>
                  </a:schemeClr>
                </a:solidFill>
                <a:latin typeface="Roboto" panose="02000000000000000000" pitchFamily="2" charset="0"/>
                <a:ea typeface="Roboto" panose="02000000000000000000" pitchFamily="2" charset="0"/>
                <a:cs typeface="Roboto" charset="0"/>
              </a:rPr>
              <a:t>© Informatica. Proprietary and Confidential.</a:t>
            </a:r>
          </a:p>
        </p:txBody>
      </p:sp>
      <p:pic>
        <p:nvPicPr>
          <p:cNvPr id="16" name="Picture 15">
            <a:extLst>
              <a:ext uri="{FF2B5EF4-FFF2-40B4-BE49-F238E27FC236}">
                <a16:creationId xmlns:a16="http://schemas.microsoft.com/office/drawing/2014/main" id="{A6BB98FB-04A1-8843-9326-64075BA31452}"/>
              </a:ext>
            </a:extLst>
          </p:cNvPr>
          <p:cNvPicPr>
            <a:picLocks noChangeAspect="1"/>
          </p:cNvPicPr>
          <p:nvPr userDrawn="1"/>
        </p:nvPicPr>
        <p:blipFill>
          <a:blip r:embed="rId2"/>
          <a:srcRect/>
          <a:stretch/>
        </p:blipFill>
        <p:spPr>
          <a:xfrm>
            <a:off x="9744604" y="6098796"/>
            <a:ext cx="2039100" cy="699990"/>
          </a:xfrm>
          <a:prstGeom prst="rect">
            <a:avLst/>
          </a:prstGeom>
        </p:spPr>
      </p:pic>
      <p:sp>
        <p:nvSpPr>
          <p:cNvPr id="22" name="Right Triangle 21">
            <a:extLst>
              <a:ext uri="{FF2B5EF4-FFF2-40B4-BE49-F238E27FC236}">
                <a16:creationId xmlns:a16="http://schemas.microsoft.com/office/drawing/2014/main" id="{6031F55A-56B7-F14D-84D1-23C8A6703764}"/>
              </a:ext>
            </a:extLst>
          </p:cNvPr>
          <p:cNvSpPr/>
          <p:nvPr userDrawn="1"/>
        </p:nvSpPr>
        <p:spPr>
          <a:xfrm>
            <a:off x="1" y="2761950"/>
            <a:ext cx="590764" cy="4096050"/>
          </a:xfrm>
          <a:prstGeom prst="rtTriangle">
            <a:avLst/>
          </a:prstGeom>
          <a:gradFill>
            <a:gsLst>
              <a:gs pos="0">
                <a:schemeClr val="accent2"/>
              </a:gs>
              <a:gs pos="76000">
                <a:srgbClr val="FF6500"/>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rIns="137160" bIns="91440" rtlCol="0" anchor="ctr">
            <a:noAutofit/>
          </a:bodyPr>
          <a:lstStyle/>
          <a:p>
            <a:pPr lvl="0"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84" name="TextBox 83">
            <a:extLst>
              <a:ext uri="{FF2B5EF4-FFF2-40B4-BE49-F238E27FC236}">
                <a16:creationId xmlns:a16="http://schemas.microsoft.com/office/drawing/2014/main" id="{452D0E9B-C1A1-417A-AEE1-63EB1720F76F}"/>
              </a:ext>
            </a:extLst>
          </p:cNvPr>
          <p:cNvSpPr txBox="1"/>
          <p:nvPr userDrawn="1"/>
        </p:nvSpPr>
        <p:spPr>
          <a:xfrm>
            <a:off x="176868" y="6365106"/>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900" b="0" i="0" kern="1200" smtClean="0">
                <a:solidFill>
                  <a:schemeClr val="bg1"/>
                </a:solidFill>
                <a:latin typeface="Roboto" panose="02000000000000000000" pitchFamily="2" charset="0"/>
                <a:ea typeface="Roboto" panose="02000000000000000000" pitchFamily="2" charset="0"/>
                <a:cs typeface="Roboto" charset="0"/>
              </a:rPr>
              <a:pPr marL="0" lvl="0" algn="ctr" defTabSz="457200" rtl="0" eaLnBrk="1" latinLnBrk="0" hangingPunct="1"/>
              <a:t>‹#›</a:t>
            </a:fld>
            <a:endParaRPr lang="en-US" sz="900" b="0" i="0" kern="1200">
              <a:solidFill>
                <a:schemeClr val="bg1"/>
              </a:solidFill>
              <a:latin typeface="Roboto" panose="02000000000000000000" pitchFamily="2" charset="0"/>
              <a:ea typeface="Roboto" panose="02000000000000000000" pitchFamily="2" charset="0"/>
              <a:cs typeface="Roboto" charset="0"/>
            </a:endParaRPr>
          </a:p>
        </p:txBody>
      </p:sp>
      <p:sp>
        <p:nvSpPr>
          <p:cNvPr id="18" name="Text Placeholder 4">
            <a:extLst>
              <a:ext uri="{FF2B5EF4-FFF2-40B4-BE49-F238E27FC236}">
                <a16:creationId xmlns:a16="http://schemas.microsoft.com/office/drawing/2014/main" id="{A75C29B7-CF2A-564E-933A-F562DD7EF4A0}"/>
              </a:ext>
            </a:extLst>
          </p:cNvPr>
          <p:cNvSpPr>
            <a:spLocks noGrp="1"/>
          </p:cNvSpPr>
          <p:nvPr>
            <p:ph type="body" sz="quarter" idx="13" hasCustomPrompt="1"/>
          </p:nvPr>
        </p:nvSpPr>
        <p:spPr>
          <a:xfrm>
            <a:off x="493714" y="1058899"/>
            <a:ext cx="11188532" cy="331601"/>
          </a:xfrm>
          <a:prstGeom prst="rect">
            <a:avLst/>
          </a:prstGeom>
        </p:spPr>
        <p:txBody>
          <a:bodyPr lIns="0" anchor="t"/>
          <a:lstStyle>
            <a:lvl1pPr marL="0" indent="0">
              <a:buNone/>
              <a:defRPr sz="2400" i="0">
                <a:solidFill>
                  <a:schemeClr val="bg1"/>
                </a:solidFill>
                <a:latin typeface="Roboto" panose="02000000000000000000" pitchFamily="2" charset="0"/>
                <a:ea typeface="Roboto" panose="02000000000000000000" pitchFamily="2" charset="0"/>
              </a:defRPr>
            </a:lvl1pPr>
            <a:lvl2pPr marL="169863" indent="0">
              <a:buNone/>
              <a:defRPr/>
            </a:lvl2pPr>
            <a:lvl3pPr marL="344487" indent="0">
              <a:buNone/>
              <a:defRPr/>
            </a:lvl3pPr>
            <a:lvl4pPr marL="458788" indent="0">
              <a:buNone/>
              <a:defRPr/>
            </a:lvl4pPr>
            <a:lvl5pPr marL="630237" indent="0">
              <a:buNone/>
              <a:defRPr/>
            </a:lvl5pPr>
          </a:lstStyle>
          <a:p>
            <a:pPr lvl="0"/>
            <a:r>
              <a:rPr lang="en-US"/>
              <a:t>Subtitle goes here, </a:t>
            </a:r>
            <a:r>
              <a:rPr lang="en-US" err="1"/>
              <a:t>Roboto</a:t>
            </a:r>
            <a:r>
              <a:rPr lang="en-US"/>
              <a:t> Regular 24 point, no longer than one line</a:t>
            </a:r>
          </a:p>
        </p:txBody>
      </p:sp>
    </p:spTree>
    <p:extLst>
      <p:ext uri="{BB962C8B-B14F-4D97-AF65-F5344CB8AC3E}">
        <p14:creationId xmlns:p14="http://schemas.microsoft.com/office/powerpoint/2010/main" val="3615747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Subtitle/Images/Headlines &amp; 2-">
    <p:spTree>
      <p:nvGrpSpPr>
        <p:cNvPr id="1" name=""/>
        <p:cNvGrpSpPr/>
        <p:nvPr/>
      </p:nvGrpSpPr>
      <p:grpSpPr>
        <a:xfrm>
          <a:off x="0" y="0"/>
          <a:ext cx="0" cy="0"/>
          <a:chOff x="0" y="0"/>
          <a:chExt cx="0" cy="0"/>
        </a:xfrm>
      </p:grpSpPr>
      <p:sp>
        <p:nvSpPr>
          <p:cNvPr id="18" name="Right Triangle 17">
            <a:extLst>
              <a:ext uri="{FF2B5EF4-FFF2-40B4-BE49-F238E27FC236}">
                <a16:creationId xmlns:a16="http://schemas.microsoft.com/office/drawing/2014/main" id="{E4C47A45-5800-014C-ACCA-FA4349548B9C}"/>
              </a:ext>
            </a:extLst>
          </p:cNvPr>
          <p:cNvSpPr/>
          <p:nvPr userDrawn="1"/>
        </p:nvSpPr>
        <p:spPr>
          <a:xfrm>
            <a:off x="0" y="2761950"/>
            <a:ext cx="702453" cy="4096050"/>
          </a:xfrm>
          <a:prstGeom prst="r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2" name="Title 1"/>
          <p:cNvSpPr>
            <a:spLocks noGrp="1"/>
          </p:cNvSpPr>
          <p:nvPr userDrawn="1">
            <p:ph type="title" hasCustomPrompt="1"/>
          </p:nvPr>
        </p:nvSpPr>
        <p:spPr>
          <a:xfrm>
            <a:off x="488950" y="482602"/>
            <a:ext cx="11188701" cy="562427"/>
          </a:xfrm>
          <a:prstGeom prst="rect">
            <a:avLst/>
          </a:prstGeom>
        </p:spPr>
        <p:txBody>
          <a:bodyPr lIns="0"/>
          <a:lstStyle>
            <a:lvl1pPr>
              <a:defRPr lang="en-US" dirty="0"/>
            </a:lvl1pPr>
          </a:lstStyle>
          <a:p>
            <a:pPr lvl="0"/>
            <a:r>
              <a:rPr lang="en-US"/>
              <a:t>Headline Goes Here, Roboto Light, 36 Points, 1 Line</a:t>
            </a:r>
          </a:p>
        </p:txBody>
      </p:sp>
      <p:sp>
        <p:nvSpPr>
          <p:cNvPr id="11" name="Content Placeholder 5">
            <a:extLst>
              <a:ext uri="{FF2B5EF4-FFF2-40B4-BE49-F238E27FC236}">
                <a16:creationId xmlns:a16="http://schemas.microsoft.com/office/drawing/2014/main" id="{956D1FDC-5FA5-4B2D-A5AA-86637FA3B976}"/>
              </a:ext>
            </a:extLst>
          </p:cNvPr>
          <p:cNvSpPr>
            <a:spLocks noGrp="1"/>
          </p:cNvSpPr>
          <p:nvPr userDrawn="1">
            <p:ph sz="quarter" idx="14" hasCustomPrompt="1"/>
          </p:nvPr>
        </p:nvSpPr>
        <p:spPr>
          <a:xfrm>
            <a:off x="1032221" y="4581525"/>
            <a:ext cx="5080275" cy="1438274"/>
          </a:xfrm>
          <a:prstGeom prst="rect">
            <a:avLst/>
          </a:prstGeom>
        </p:spPr>
        <p:txBody>
          <a:bodyPr/>
          <a:lstStyle>
            <a:lvl1pPr>
              <a:spcBef>
                <a:spcPts val="1200"/>
              </a:spcBef>
              <a:defRPr sz="1800" baseline="0">
                <a:latin typeface="Roboto" panose="02000000000000000000" pitchFamily="2" charset="0"/>
                <a:ea typeface="Roboto" panose="02000000000000000000" pitchFamily="2" charset="0"/>
              </a:defRPr>
            </a:lvl1pPr>
            <a:lvl2pPr>
              <a:spcBef>
                <a:spcPts val="600"/>
              </a:spcBef>
              <a:defRPr sz="1600" baseline="0">
                <a:latin typeface="Roboto" panose="02000000000000000000" pitchFamily="2" charset="0"/>
                <a:ea typeface="Roboto" panose="02000000000000000000" pitchFamily="2" charset="0"/>
              </a:defRPr>
            </a:lvl2pPr>
            <a:lvl3pPr>
              <a:spcBef>
                <a:spcPts val="600"/>
              </a:spcBef>
              <a:defRPr sz="1400">
                <a:latin typeface="Roboto" panose="02000000000000000000" pitchFamily="2" charset="0"/>
                <a:ea typeface="Roboto" panose="02000000000000000000" pitchFamily="2" charset="0"/>
              </a:defRPr>
            </a:lvl3pPr>
          </a:lstStyle>
          <a:p>
            <a:pPr lvl="0"/>
            <a:r>
              <a:rPr lang="en-US"/>
              <a:t>First bullet, Roboto Regular 18 point</a:t>
            </a:r>
          </a:p>
          <a:p>
            <a:pPr lvl="1"/>
            <a:r>
              <a:rPr lang="en-US"/>
              <a:t>Second bullet, Roboto Regular 16 point</a:t>
            </a:r>
          </a:p>
          <a:p>
            <a:pPr lvl="2"/>
            <a:r>
              <a:rPr lang="en-US"/>
              <a:t>Third bullet, Roboto Regular 14 point</a:t>
            </a:r>
          </a:p>
        </p:txBody>
      </p:sp>
      <p:sp>
        <p:nvSpPr>
          <p:cNvPr id="12" name="Text Placeholder 2">
            <a:extLst>
              <a:ext uri="{FF2B5EF4-FFF2-40B4-BE49-F238E27FC236}">
                <a16:creationId xmlns:a16="http://schemas.microsoft.com/office/drawing/2014/main" id="{055D64D1-7AD8-4D53-A0ED-118D84E22AE7}"/>
              </a:ext>
            </a:extLst>
          </p:cNvPr>
          <p:cNvSpPr>
            <a:spLocks noGrp="1"/>
          </p:cNvSpPr>
          <p:nvPr userDrawn="1">
            <p:ph type="body" idx="1" hasCustomPrompt="1"/>
          </p:nvPr>
        </p:nvSpPr>
        <p:spPr>
          <a:xfrm>
            <a:off x="1027113" y="4141887"/>
            <a:ext cx="5084770" cy="436563"/>
          </a:xfrm>
          <a:prstGeom prst="rect">
            <a:avLst/>
          </a:prstGeom>
        </p:spPr>
        <p:txBody>
          <a:bodyPr anchor="t"/>
          <a:lstStyle>
            <a:lvl1pPr marL="0" indent="0">
              <a:buNone/>
              <a:defRPr sz="1800" b="1" baseline="0">
                <a:solidFill>
                  <a:schemeClr val="accent5"/>
                </a:solidFill>
                <a:latin typeface="Roboto" panose="02000000000000000000" pitchFamily="2" charset="0"/>
                <a:ea typeface="Roboto" panose="02000000000000000000" pitchFamily="2" charset="0"/>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2" indent="0">
              <a:buNone/>
              <a:defRPr sz="1600" b="1"/>
            </a:lvl6pPr>
            <a:lvl7pPr marL="2742651" indent="0">
              <a:buNone/>
              <a:defRPr sz="1600" b="1"/>
            </a:lvl7pPr>
            <a:lvl8pPr marL="3199760" indent="0">
              <a:buNone/>
              <a:defRPr sz="1600" b="1"/>
            </a:lvl8pPr>
            <a:lvl9pPr marL="3656869" indent="0">
              <a:buNone/>
              <a:defRPr sz="1600" b="1"/>
            </a:lvl9pPr>
          </a:lstStyle>
          <a:p>
            <a:pPr lvl="0"/>
            <a:r>
              <a:rPr lang="en-US"/>
              <a:t>Headline goes here, Roboto 18 point bold</a:t>
            </a:r>
          </a:p>
        </p:txBody>
      </p:sp>
      <p:sp>
        <p:nvSpPr>
          <p:cNvPr id="13" name="Content Placeholder 5">
            <a:extLst>
              <a:ext uri="{FF2B5EF4-FFF2-40B4-BE49-F238E27FC236}">
                <a16:creationId xmlns:a16="http://schemas.microsoft.com/office/drawing/2014/main" id="{82F76E5E-F799-4651-BEAE-F9087B98CD04}"/>
              </a:ext>
            </a:extLst>
          </p:cNvPr>
          <p:cNvSpPr>
            <a:spLocks noGrp="1"/>
          </p:cNvSpPr>
          <p:nvPr userDrawn="1">
            <p:ph sz="quarter" idx="15" hasCustomPrompt="1"/>
          </p:nvPr>
        </p:nvSpPr>
        <p:spPr>
          <a:xfrm>
            <a:off x="6590642" y="4581525"/>
            <a:ext cx="5085971" cy="1438274"/>
          </a:xfrm>
          <a:prstGeom prst="rect">
            <a:avLst/>
          </a:prstGeom>
        </p:spPr>
        <p:txBody>
          <a:bodyPr/>
          <a:lstStyle>
            <a:lvl1pPr>
              <a:spcBef>
                <a:spcPts val="1200"/>
              </a:spcBef>
              <a:defRPr sz="1800" baseline="0">
                <a:latin typeface="Roboto" panose="02000000000000000000" pitchFamily="2" charset="0"/>
                <a:ea typeface="Roboto" panose="02000000000000000000" pitchFamily="2" charset="0"/>
              </a:defRPr>
            </a:lvl1pPr>
            <a:lvl2pPr>
              <a:spcBef>
                <a:spcPts val="600"/>
              </a:spcBef>
              <a:defRPr sz="1600" baseline="0">
                <a:latin typeface="Roboto" panose="02000000000000000000" pitchFamily="2" charset="0"/>
                <a:ea typeface="Roboto" panose="02000000000000000000" pitchFamily="2" charset="0"/>
              </a:defRPr>
            </a:lvl2pPr>
            <a:lvl3pPr>
              <a:spcBef>
                <a:spcPts val="600"/>
              </a:spcBef>
              <a:defRPr sz="1400">
                <a:latin typeface="Roboto" panose="02000000000000000000" pitchFamily="2" charset="0"/>
                <a:ea typeface="Roboto" panose="02000000000000000000" pitchFamily="2" charset="0"/>
              </a:defRPr>
            </a:lvl3pPr>
          </a:lstStyle>
          <a:p>
            <a:pPr lvl="0"/>
            <a:r>
              <a:rPr lang="en-US"/>
              <a:t>First bullet, Roboto Regular 18 point</a:t>
            </a:r>
          </a:p>
          <a:p>
            <a:pPr lvl="1"/>
            <a:r>
              <a:rPr lang="en-US"/>
              <a:t>Second bullet, Roboto Regular 16 point</a:t>
            </a:r>
          </a:p>
          <a:p>
            <a:pPr lvl="2"/>
            <a:r>
              <a:rPr lang="en-US"/>
              <a:t>Third bullet, Roboto Regular 14 point</a:t>
            </a:r>
          </a:p>
        </p:txBody>
      </p:sp>
      <p:sp>
        <p:nvSpPr>
          <p:cNvPr id="14" name="Text Placeholder 2">
            <a:extLst>
              <a:ext uri="{FF2B5EF4-FFF2-40B4-BE49-F238E27FC236}">
                <a16:creationId xmlns:a16="http://schemas.microsoft.com/office/drawing/2014/main" id="{B715CEF1-A7FF-4442-88D8-7F20DA48ADC7}"/>
              </a:ext>
            </a:extLst>
          </p:cNvPr>
          <p:cNvSpPr>
            <a:spLocks noGrp="1"/>
          </p:cNvSpPr>
          <p:nvPr userDrawn="1">
            <p:ph type="body" idx="16" hasCustomPrompt="1"/>
          </p:nvPr>
        </p:nvSpPr>
        <p:spPr>
          <a:xfrm>
            <a:off x="6586607" y="4132262"/>
            <a:ext cx="5097010" cy="436563"/>
          </a:xfrm>
          <a:prstGeom prst="rect">
            <a:avLst/>
          </a:prstGeom>
        </p:spPr>
        <p:txBody>
          <a:bodyPr anchor="t"/>
          <a:lstStyle>
            <a:lvl1pPr marL="0" indent="0">
              <a:buNone/>
              <a:defRPr sz="1800" b="1" baseline="0">
                <a:solidFill>
                  <a:schemeClr val="accent5"/>
                </a:solidFill>
                <a:latin typeface="Roboto" panose="02000000000000000000" pitchFamily="2" charset="0"/>
                <a:ea typeface="Roboto" panose="02000000000000000000" pitchFamily="2" charset="0"/>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2" indent="0">
              <a:buNone/>
              <a:defRPr sz="1600" b="1"/>
            </a:lvl6pPr>
            <a:lvl7pPr marL="2742651" indent="0">
              <a:buNone/>
              <a:defRPr sz="1600" b="1"/>
            </a:lvl7pPr>
            <a:lvl8pPr marL="3199760" indent="0">
              <a:buNone/>
              <a:defRPr sz="1600" b="1"/>
            </a:lvl8pPr>
            <a:lvl9pPr marL="3656869" indent="0">
              <a:buNone/>
              <a:defRPr sz="1600" b="1"/>
            </a:lvl9pPr>
          </a:lstStyle>
          <a:p>
            <a:pPr lvl="0"/>
            <a:r>
              <a:rPr lang="en-US"/>
              <a:t>Headline goes here, Roboto 18 point bold</a:t>
            </a:r>
          </a:p>
        </p:txBody>
      </p:sp>
      <p:sp>
        <p:nvSpPr>
          <p:cNvPr id="15" name="Picture Placeholder 6">
            <a:extLst>
              <a:ext uri="{FF2B5EF4-FFF2-40B4-BE49-F238E27FC236}">
                <a16:creationId xmlns:a16="http://schemas.microsoft.com/office/drawing/2014/main" id="{46B0C8DB-1D41-4ABF-896D-80CF7EFD97FD}"/>
              </a:ext>
            </a:extLst>
          </p:cNvPr>
          <p:cNvSpPr>
            <a:spLocks noGrp="1"/>
          </p:cNvSpPr>
          <p:nvPr userDrawn="1">
            <p:ph type="pic" sz="quarter" idx="17" hasCustomPrompt="1"/>
          </p:nvPr>
        </p:nvSpPr>
        <p:spPr>
          <a:xfrm>
            <a:off x="1027113" y="1854200"/>
            <a:ext cx="4761212" cy="2088072"/>
          </a:xfrm>
          <a:prstGeom prst="rect">
            <a:avLst/>
          </a:prstGeom>
          <a:solidFill>
            <a:schemeClr val="bg1">
              <a:lumMod val="95000"/>
            </a:schemeClr>
          </a:solidFill>
        </p:spPr>
        <p:txBody>
          <a:bodyPr anchor="ctr"/>
          <a:lstStyle>
            <a:lvl1pPr marL="0" indent="0" algn="ctr">
              <a:buNone/>
              <a:defRPr>
                <a:latin typeface="Roboto" panose="02000000000000000000" pitchFamily="2" charset="0"/>
                <a:ea typeface="Roboto" panose="02000000000000000000" pitchFamily="2" charset="0"/>
              </a:defRPr>
            </a:lvl1pPr>
          </a:lstStyle>
          <a:p>
            <a:r>
              <a:rPr lang="en-US"/>
              <a:t>CLICK TO INSERT IMAGE</a:t>
            </a:r>
          </a:p>
        </p:txBody>
      </p:sp>
      <p:sp>
        <p:nvSpPr>
          <p:cNvPr id="19" name="Picture Placeholder 6">
            <a:extLst>
              <a:ext uri="{FF2B5EF4-FFF2-40B4-BE49-F238E27FC236}">
                <a16:creationId xmlns:a16="http://schemas.microsoft.com/office/drawing/2014/main" id="{50C5E539-EA0F-43C9-94FB-2E4FECAC8DD1}"/>
              </a:ext>
            </a:extLst>
          </p:cNvPr>
          <p:cNvSpPr>
            <a:spLocks noGrp="1"/>
          </p:cNvSpPr>
          <p:nvPr userDrawn="1">
            <p:ph type="pic" sz="quarter" idx="18" hasCustomPrompt="1"/>
          </p:nvPr>
        </p:nvSpPr>
        <p:spPr>
          <a:xfrm>
            <a:off x="6586607" y="1854200"/>
            <a:ext cx="4766550" cy="2088072"/>
          </a:xfrm>
          <a:prstGeom prst="rect">
            <a:avLst/>
          </a:prstGeom>
          <a:solidFill>
            <a:schemeClr val="bg1">
              <a:lumMod val="95000"/>
            </a:schemeClr>
          </a:solidFill>
        </p:spPr>
        <p:txBody>
          <a:bodyPr anchor="ctr"/>
          <a:lstStyle>
            <a:lvl1pPr marL="0" indent="0" algn="ctr">
              <a:buNone/>
              <a:defRPr>
                <a:latin typeface="Roboto" panose="02000000000000000000" pitchFamily="2" charset="0"/>
                <a:ea typeface="Roboto" panose="02000000000000000000" pitchFamily="2" charset="0"/>
              </a:defRPr>
            </a:lvl1pPr>
          </a:lstStyle>
          <a:p>
            <a:r>
              <a:rPr lang="en-US"/>
              <a:t>CLICK TO INSERT IMAGE</a:t>
            </a:r>
          </a:p>
        </p:txBody>
      </p:sp>
      <p:sp>
        <p:nvSpPr>
          <p:cNvPr id="3" name="TextBox 2">
            <a:extLst>
              <a:ext uri="{FF2B5EF4-FFF2-40B4-BE49-F238E27FC236}">
                <a16:creationId xmlns:a16="http://schemas.microsoft.com/office/drawing/2014/main" id="{7B478BEA-4903-4298-BEE0-9D44347BD4FE}"/>
              </a:ext>
            </a:extLst>
          </p:cNvPr>
          <p:cNvSpPr txBox="1"/>
          <p:nvPr userDrawn="1"/>
        </p:nvSpPr>
        <p:spPr>
          <a:xfrm>
            <a:off x="1023708"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a:solidFill>
                  <a:schemeClr val="tx1">
                    <a:lumMod val="60000"/>
                    <a:lumOff val="40000"/>
                  </a:schemeClr>
                </a:solidFill>
                <a:latin typeface="Roboto" panose="02000000000000000000" pitchFamily="2" charset="0"/>
                <a:ea typeface="Roboto" panose="02000000000000000000" pitchFamily="2" charset="0"/>
                <a:cs typeface="Roboto" charset="0"/>
              </a:rPr>
              <a:t>© Informatica. Proprietary and Confidential.</a:t>
            </a:r>
          </a:p>
        </p:txBody>
      </p:sp>
      <p:pic>
        <p:nvPicPr>
          <p:cNvPr id="16" name="Picture 15">
            <a:extLst>
              <a:ext uri="{FF2B5EF4-FFF2-40B4-BE49-F238E27FC236}">
                <a16:creationId xmlns:a16="http://schemas.microsoft.com/office/drawing/2014/main" id="{3D50B40B-C569-8D4D-BEC0-84E7834A2025}"/>
              </a:ext>
            </a:extLst>
          </p:cNvPr>
          <p:cNvPicPr>
            <a:picLocks noChangeAspect="1"/>
          </p:cNvPicPr>
          <p:nvPr userDrawn="1"/>
        </p:nvPicPr>
        <p:blipFill>
          <a:blip r:embed="rId2"/>
          <a:srcRect/>
          <a:stretch/>
        </p:blipFill>
        <p:spPr>
          <a:xfrm>
            <a:off x="9744604" y="6098796"/>
            <a:ext cx="2039100" cy="699990"/>
          </a:xfrm>
          <a:prstGeom prst="rect">
            <a:avLst/>
          </a:prstGeom>
        </p:spPr>
      </p:pic>
      <p:sp>
        <p:nvSpPr>
          <p:cNvPr id="21" name="Right Triangle 20">
            <a:extLst>
              <a:ext uri="{FF2B5EF4-FFF2-40B4-BE49-F238E27FC236}">
                <a16:creationId xmlns:a16="http://schemas.microsoft.com/office/drawing/2014/main" id="{4B560B0C-14A6-974F-8FD7-75A3B143A667}"/>
              </a:ext>
            </a:extLst>
          </p:cNvPr>
          <p:cNvSpPr/>
          <p:nvPr userDrawn="1"/>
        </p:nvSpPr>
        <p:spPr>
          <a:xfrm>
            <a:off x="1" y="2761950"/>
            <a:ext cx="590764" cy="4096050"/>
          </a:xfrm>
          <a:prstGeom prst="rtTriangle">
            <a:avLst/>
          </a:prstGeom>
          <a:gradFill>
            <a:gsLst>
              <a:gs pos="0">
                <a:schemeClr val="accent2"/>
              </a:gs>
              <a:gs pos="76000">
                <a:srgbClr val="FF6500"/>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rIns="137160" bIns="91440" rtlCol="0" anchor="ctr">
            <a:noAutofit/>
          </a:bodyPr>
          <a:lstStyle/>
          <a:p>
            <a:pPr lvl="0"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55" name="TextBox 54">
            <a:extLst>
              <a:ext uri="{FF2B5EF4-FFF2-40B4-BE49-F238E27FC236}">
                <a16:creationId xmlns:a16="http://schemas.microsoft.com/office/drawing/2014/main" id="{4E04ED03-EA9F-4368-A83A-01E9195C1AF3}"/>
              </a:ext>
            </a:extLst>
          </p:cNvPr>
          <p:cNvSpPr txBox="1"/>
          <p:nvPr userDrawn="1"/>
        </p:nvSpPr>
        <p:spPr>
          <a:xfrm>
            <a:off x="176868" y="6365106"/>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900" b="0" i="0" kern="1200" smtClean="0">
                <a:solidFill>
                  <a:schemeClr val="bg1"/>
                </a:solidFill>
                <a:latin typeface="Roboto" panose="02000000000000000000" pitchFamily="2" charset="0"/>
                <a:ea typeface="Roboto" panose="02000000000000000000" pitchFamily="2" charset="0"/>
                <a:cs typeface="Roboto" charset="0"/>
              </a:rPr>
              <a:pPr marL="0" lvl="0" algn="ctr" defTabSz="457200" rtl="0" eaLnBrk="1" latinLnBrk="0" hangingPunct="1"/>
              <a:t>‹#›</a:t>
            </a:fld>
            <a:endParaRPr lang="en-US" sz="900" b="0" i="0" kern="1200">
              <a:solidFill>
                <a:schemeClr val="bg1"/>
              </a:solidFill>
              <a:latin typeface="Roboto" panose="02000000000000000000" pitchFamily="2" charset="0"/>
              <a:ea typeface="Roboto" panose="02000000000000000000" pitchFamily="2" charset="0"/>
              <a:cs typeface="Roboto" charset="0"/>
            </a:endParaRPr>
          </a:p>
        </p:txBody>
      </p:sp>
      <p:sp>
        <p:nvSpPr>
          <p:cNvPr id="17" name="Text Placeholder 4">
            <a:extLst>
              <a:ext uri="{FF2B5EF4-FFF2-40B4-BE49-F238E27FC236}">
                <a16:creationId xmlns:a16="http://schemas.microsoft.com/office/drawing/2014/main" id="{8F6DE6A5-2F5D-CD46-9798-B2F810D809C9}"/>
              </a:ext>
            </a:extLst>
          </p:cNvPr>
          <p:cNvSpPr>
            <a:spLocks noGrp="1"/>
          </p:cNvSpPr>
          <p:nvPr>
            <p:ph type="body" sz="quarter" idx="13" hasCustomPrompt="1"/>
          </p:nvPr>
        </p:nvSpPr>
        <p:spPr>
          <a:xfrm>
            <a:off x="493714" y="1058899"/>
            <a:ext cx="11188532" cy="331601"/>
          </a:xfrm>
          <a:prstGeom prst="rect">
            <a:avLst/>
          </a:prstGeom>
        </p:spPr>
        <p:txBody>
          <a:bodyPr lIns="0" anchor="t"/>
          <a:lstStyle>
            <a:lvl1pPr marL="0" indent="0">
              <a:buNone/>
              <a:defRPr sz="2400" i="0">
                <a:solidFill>
                  <a:schemeClr val="bg1"/>
                </a:solidFill>
                <a:latin typeface="Roboto" panose="02000000000000000000" pitchFamily="2" charset="0"/>
                <a:ea typeface="Roboto" panose="02000000000000000000" pitchFamily="2" charset="0"/>
              </a:defRPr>
            </a:lvl1pPr>
            <a:lvl2pPr marL="169863" indent="0">
              <a:buNone/>
              <a:defRPr/>
            </a:lvl2pPr>
            <a:lvl3pPr marL="344487" indent="0">
              <a:buNone/>
              <a:defRPr/>
            </a:lvl3pPr>
            <a:lvl4pPr marL="458788" indent="0">
              <a:buNone/>
              <a:defRPr/>
            </a:lvl4pPr>
            <a:lvl5pPr marL="630237" indent="0">
              <a:buNone/>
              <a:defRPr/>
            </a:lvl5pPr>
          </a:lstStyle>
          <a:p>
            <a:pPr lvl="0"/>
            <a:r>
              <a:rPr lang="en-US"/>
              <a:t>Subtitle goes here, </a:t>
            </a:r>
            <a:r>
              <a:rPr lang="en-US" err="1"/>
              <a:t>Roboto</a:t>
            </a:r>
            <a:r>
              <a:rPr lang="en-US"/>
              <a:t> Regular 24 point, no longer than one line</a:t>
            </a:r>
          </a:p>
        </p:txBody>
      </p:sp>
    </p:spTree>
    <p:extLst>
      <p:ext uri="{BB962C8B-B14F-4D97-AF65-F5344CB8AC3E}">
        <p14:creationId xmlns:p14="http://schemas.microsoft.com/office/powerpoint/2010/main" val="2571130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Subtitle/Images/Headlines &amp; 3-">
    <p:spTree>
      <p:nvGrpSpPr>
        <p:cNvPr id="1" name=""/>
        <p:cNvGrpSpPr/>
        <p:nvPr/>
      </p:nvGrpSpPr>
      <p:grpSpPr>
        <a:xfrm>
          <a:off x="0" y="0"/>
          <a:ext cx="0" cy="0"/>
          <a:chOff x="0" y="0"/>
          <a:chExt cx="0" cy="0"/>
        </a:xfrm>
      </p:grpSpPr>
      <p:sp>
        <p:nvSpPr>
          <p:cNvPr id="22" name="Right Triangle 21">
            <a:extLst>
              <a:ext uri="{FF2B5EF4-FFF2-40B4-BE49-F238E27FC236}">
                <a16:creationId xmlns:a16="http://schemas.microsoft.com/office/drawing/2014/main" id="{9664620C-A7FA-8E49-A232-54609A100327}"/>
              </a:ext>
            </a:extLst>
          </p:cNvPr>
          <p:cNvSpPr/>
          <p:nvPr userDrawn="1"/>
        </p:nvSpPr>
        <p:spPr>
          <a:xfrm>
            <a:off x="0" y="2761950"/>
            <a:ext cx="702453" cy="4096050"/>
          </a:xfrm>
          <a:prstGeom prst="r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11" name="Content Placeholder 5">
            <a:extLst>
              <a:ext uri="{FF2B5EF4-FFF2-40B4-BE49-F238E27FC236}">
                <a16:creationId xmlns:a16="http://schemas.microsoft.com/office/drawing/2014/main" id="{956D1FDC-5FA5-4B2D-A5AA-86637FA3B976}"/>
              </a:ext>
            </a:extLst>
          </p:cNvPr>
          <p:cNvSpPr>
            <a:spLocks noGrp="1"/>
          </p:cNvSpPr>
          <p:nvPr userDrawn="1">
            <p:ph sz="quarter" idx="14" hasCustomPrompt="1"/>
          </p:nvPr>
        </p:nvSpPr>
        <p:spPr>
          <a:xfrm>
            <a:off x="1031593" y="4259044"/>
            <a:ext cx="3318413" cy="1450975"/>
          </a:xfrm>
          <a:prstGeom prst="rect">
            <a:avLst/>
          </a:prstGeom>
        </p:spPr>
        <p:txBody>
          <a:bodyPr/>
          <a:lstStyle>
            <a:lvl1pPr>
              <a:spcBef>
                <a:spcPts val="600"/>
              </a:spcBef>
              <a:defRPr sz="1600" baseline="0">
                <a:latin typeface="Roboto" panose="02000000000000000000" pitchFamily="2" charset="0"/>
                <a:ea typeface="Roboto" panose="02000000000000000000" pitchFamily="2" charset="0"/>
              </a:defRPr>
            </a:lvl1pPr>
            <a:lvl2pPr>
              <a:spcBef>
                <a:spcPts val="600"/>
              </a:spcBef>
              <a:defRPr sz="1400" baseline="0">
                <a:latin typeface="Roboto" panose="02000000000000000000" pitchFamily="2" charset="0"/>
                <a:ea typeface="Roboto" panose="02000000000000000000" pitchFamily="2" charset="0"/>
              </a:defRPr>
            </a:lvl2pPr>
            <a:lvl3pPr>
              <a:spcBef>
                <a:spcPts val="600"/>
              </a:spcBef>
              <a:defRPr sz="1200">
                <a:latin typeface="Roboto" panose="02000000000000000000" pitchFamily="2" charset="0"/>
                <a:ea typeface="Roboto" panose="02000000000000000000" pitchFamily="2" charset="0"/>
              </a:defRPr>
            </a:lvl3pPr>
          </a:lstStyle>
          <a:p>
            <a:pPr lvl="0"/>
            <a:r>
              <a:rPr lang="en-US"/>
              <a:t>First bullet, Roboto Regular </a:t>
            </a:r>
          </a:p>
          <a:p>
            <a:pPr lvl="1"/>
            <a:r>
              <a:rPr lang="en-US"/>
              <a:t>Second bullet, Roboto Regular</a:t>
            </a:r>
          </a:p>
          <a:p>
            <a:pPr lvl="2"/>
            <a:r>
              <a:rPr lang="en-US"/>
              <a:t>Third bullet, Roboto Regular</a:t>
            </a:r>
          </a:p>
        </p:txBody>
      </p:sp>
      <p:sp>
        <p:nvSpPr>
          <p:cNvPr id="12" name="Text Placeholder 2">
            <a:extLst>
              <a:ext uri="{FF2B5EF4-FFF2-40B4-BE49-F238E27FC236}">
                <a16:creationId xmlns:a16="http://schemas.microsoft.com/office/drawing/2014/main" id="{055D64D1-7AD8-4D53-A0ED-118D84E22AE7}"/>
              </a:ext>
            </a:extLst>
          </p:cNvPr>
          <p:cNvSpPr>
            <a:spLocks noGrp="1"/>
          </p:cNvSpPr>
          <p:nvPr userDrawn="1">
            <p:ph type="body" idx="1" hasCustomPrompt="1"/>
          </p:nvPr>
        </p:nvSpPr>
        <p:spPr>
          <a:xfrm>
            <a:off x="1038839" y="3822481"/>
            <a:ext cx="3318413" cy="436563"/>
          </a:xfrm>
          <a:prstGeom prst="rect">
            <a:avLst/>
          </a:prstGeom>
        </p:spPr>
        <p:txBody>
          <a:bodyPr anchor="t"/>
          <a:lstStyle>
            <a:lvl1pPr marL="0" indent="0">
              <a:buNone/>
              <a:defRPr sz="1600" b="1" baseline="0">
                <a:solidFill>
                  <a:schemeClr val="accent5"/>
                </a:solidFill>
                <a:latin typeface="Roboto" panose="02000000000000000000" pitchFamily="2" charset="0"/>
                <a:ea typeface="Roboto" panose="02000000000000000000" pitchFamily="2" charset="0"/>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2" indent="0">
              <a:buNone/>
              <a:defRPr sz="1600" b="1"/>
            </a:lvl6pPr>
            <a:lvl7pPr marL="2742651" indent="0">
              <a:buNone/>
              <a:defRPr sz="1600" b="1"/>
            </a:lvl7pPr>
            <a:lvl8pPr marL="3199760" indent="0">
              <a:buNone/>
              <a:defRPr sz="1600" b="1"/>
            </a:lvl8pPr>
            <a:lvl9pPr marL="3656869" indent="0">
              <a:buNone/>
              <a:defRPr sz="1600" b="1"/>
            </a:lvl9pPr>
          </a:lstStyle>
          <a:p>
            <a:pPr lvl="0"/>
            <a:r>
              <a:rPr lang="en-US"/>
              <a:t>Headline goes here</a:t>
            </a:r>
          </a:p>
        </p:txBody>
      </p:sp>
      <p:sp>
        <p:nvSpPr>
          <p:cNvPr id="15" name="Content Placeholder 5">
            <a:extLst>
              <a:ext uri="{FF2B5EF4-FFF2-40B4-BE49-F238E27FC236}">
                <a16:creationId xmlns:a16="http://schemas.microsoft.com/office/drawing/2014/main" id="{26C68CC7-FCFB-4E97-8E67-90A77CBE7883}"/>
              </a:ext>
            </a:extLst>
          </p:cNvPr>
          <p:cNvSpPr>
            <a:spLocks noGrp="1"/>
          </p:cNvSpPr>
          <p:nvPr userDrawn="1">
            <p:ph sz="quarter" idx="15" hasCustomPrompt="1"/>
          </p:nvPr>
        </p:nvSpPr>
        <p:spPr>
          <a:xfrm>
            <a:off x="4694927" y="4259044"/>
            <a:ext cx="3318413" cy="1450975"/>
          </a:xfrm>
          <a:prstGeom prst="rect">
            <a:avLst/>
          </a:prstGeom>
        </p:spPr>
        <p:txBody>
          <a:bodyPr/>
          <a:lstStyle>
            <a:lvl1pPr>
              <a:spcBef>
                <a:spcPts val="600"/>
              </a:spcBef>
              <a:defRPr sz="1600" baseline="0">
                <a:latin typeface="Roboto" panose="02000000000000000000" pitchFamily="2" charset="0"/>
                <a:ea typeface="Roboto" panose="02000000000000000000" pitchFamily="2" charset="0"/>
              </a:defRPr>
            </a:lvl1pPr>
            <a:lvl2pPr>
              <a:spcBef>
                <a:spcPts val="600"/>
              </a:spcBef>
              <a:defRPr sz="1400" baseline="0">
                <a:latin typeface="Roboto" panose="02000000000000000000" pitchFamily="2" charset="0"/>
                <a:ea typeface="Roboto" panose="02000000000000000000" pitchFamily="2" charset="0"/>
              </a:defRPr>
            </a:lvl2pPr>
            <a:lvl3pPr>
              <a:spcBef>
                <a:spcPts val="600"/>
              </a:spcBef>
              <a:defRPr sz="1200">
                <a:latin typeface="Roboto" panose="02000000000000000000" pitchFamily="2" charset="0"/>
                <a:ea typeface="Roboto" panose="02000000000000000000" pitchFamily="2" charset="0"/>
              </a:defRPr>
            </a:lvl3pPr>
          </a:lstStyle>
          <a:p>
            <a:pPr lvl="0"/>
            <a:r>
              <a:rPr lang="en-US"/>
              <a:t>First bullet, Roboto Regular </a:t>
            </a:r>
          </a:p>
          <a:p>
            <a:pPr lvl="1"/>
            <a:r>
              <a:rPr lang="en-US"/>
              <a:t>Second bullet, Roboto Regular</a:t>
            </a:r>
          </a:p>
          <a:p>
            <a:pPr lvl="2"/>
            <a:r>
              <a:rPr lang="en-US"/>
              <a:t>Third bullet, Roboto Regular</a:t>
            </a:r>
          </a:p>
        </p:txBody>
      </p:sp>
      <p:sp>
        <p:nvSpPr>
          <p:cNvPr id="19" name="Text Placeholder 2">
            <a:extLst>
              <a:ext uri="{FF2B5EF4-FFF2-40B4-BE49-F238E27FC236}">
                <a16:creationId xmlns:a16="http://schemas.microsoft.com/office/drawing/2014/main" id="{F89E3C59-0A83-46CB-AFF1-091BB74D0EA9}"/>
              </a:ext>
            </a:extLst>
          </p:cNvPr>
          <p:cNvSpPr>
            <a:spLocks noGrp="1"/>
          </p:cNvSpPr>
          <p:nvPr userDrawn="1">
            <p:ph type="body" idx="16" hasCustomPrompt="1"/>
          </p:nvPr>
        </p:nvSpPr>
        <p:spPr>
          <a:xfrm>
            <a:off x="4702173" y="3822481"/>
            <a:ext cx="3318413" cy="436563"/>
          </a:xfrm>
          <a:prstGeom prst="rect">
            <a:avLst/>
          </a:prstGeom>
        </p:spPr>
        <p:txBody>
          <a:bodyPr anchor="t"/>
          <a:lstStyle>
            <a:lvl1pPr marL="0" indent="0">
              <a:buNone/>
              <a:defRPr sz="1600" b="1" baseline="0">
                <a:solidFill>
                  <a:schemeClr val="accent5"/>
                </a:solidFill>
                <a:latin typeface="Roboto" panose="02000000000000000000" pitchFamily="2" charset="0"/>
                <a:ea typeface="Roboto" panose="02000000000000000000" pitchFamily="2" charset="0"/>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2" indent="0">
              <a:buNone/>
              <a:defRPr sz="1600" b="1"/>
            </a:lvl6pPr>
            <a:lvl7pPr marL="2742651" indent="0">
              <a:buNone/>
              <a:defRPr sz="1600" b="1"/>
            </a:lvl7pPr>
            <a:lvl8pPr marL="3199760" indent="0">
              <a:buNone/>
              <a:defRPr sz="1600" b="1"/>
            </a:lvl8pPr>
            <a:lvl9pPr marL="3656869" indent="0">
              <a:buNone/>
              <a:defRPr sz="1600" b="1"/>
            </a:lvl9pPr>
          </a:lstStyle>
          <a:p>
            <a:pPr lvl="0"/>
            <a:r>
              <a:rPr lang="en-US"/>
              <a:t>Headline goes here</a:t>
            </a:r>
          </a:p>
        </p:txBody>
      </p:sp>
      <p:sp>
        <p:nvSpPr>
          <p:cNvPr id="20" name="Content Placeholder 5">
            <a:extLst>
              <a:ext uri="{FF2B5EF4-FFF2-40B4-BE49-F238E27FC236}">
                <a16:creationId xmlns:a16="http://schemas.microsoft.com/office/drawing/2014/main" id="{962B4E02-4383-440D-AB49-C9B1E385046F}"/>
              </a:ext>
            </a:extLst>
          </p:cNvPr>
          <p:cNvSpPr>
            <a:spLocks noGrp="1"/>
          </p:cNvSpPr>
          <p:nvPr userDrawn="1">
            <p:ph sz="quarter" idx="17" hasCustomPrompt="1"/>
          </p:nvPr>
        </p:nvSpPr>
        <p:spPr>
          <a:xfrm>
            <a:off x="8359050" y="4259044"/>
            <a:ext cx="3318413" cy="1450975"/>
          </a:xfrm>
          <a:prstGeom prst="rect">
            <a:avLst/>
          </a:prstGeom>
        </p:spPr>
        <p:txBody>
          <a:bodyPr/>
          <a:lstStyle>
            <a:lvl1pPr>
              <a:spcBef>
                <a:spcPts val="600"/>
              </a:spcBef>
              <a:defRPr sz="1600" baseline="0">
                <a:latin typeface="Roboto" panose="02000000000000000000" pitchFamily="2" charset="0"/>
                <a:ea typeface="Roboto" panose="02000000000000000000" pitchFamily="2" charset="0"/>
              </a:defRPr>
            </a:lvl1pPr>
            <a:lvl2pPr>
              <a:spcBef>
                <a:spcPts val="600"/>
              </a:spcBef>
              <a:defRPr sz="1400" baseline="0">
                <a:latin typeface="Roboto" panose="02000000000000000000" pitchFamily="2" charset="0"/>
                <a:ea typeface="Roboto" panose="02000000000000000000" pitchFamily="2" charset="0"/>
              </a:defRPr>
            </a:lvl2pPr>
            <a:lvl3pPr>
              <a:spcBef>
                <a:spcPts val="600"/>
              </a:spcBef>
              <a:defRPr sz="1200">
                <a:latin typeface="Roboto" panose="02000000000000000000" pitchFamily="2" charset="0"/>
                <a:ea typeface="Roboto" panose="02000000000000000000" pitchFamily="2" charset="0"/>
              </a:defRPr>
            </a:lvl3pPr>
          </a:lstStyle>
          <a:p>
            <a:pPr lvl="0"/>
            <a:r>
              <a:rPr lang="en-US"/>
              <a:t>First bullet, Roboto Regular </a:t>
            </a:r>
          </a:p>
          <a:p>
            <a:pPr lvl="1"/>
            <a:r>
              <a:rPr lang="en-US"/>
              <a:t>Second bullet, Roboto Regular</a:t>
            </a:r>
          </a:p>
          <a:p>
            <a:pPr lvl="2"/>
            <a:r>
              <a:rPr lang="en-US"/>
              <a:t>Third bullet, Roboto Regular</a:t>
            </a:r>
          </a:p>
        </p:txBody>
      </p:sp>
      <p:sp>
        <p:nvSpPr>
          <p:cNvPr id="21" name="Text Placeholder 2">
            <a:extLst>
              <a:ext uri="{FF2B5EF4-FFF2-40B4-BE49-F238E27FC236}">
                <a16:creationId xmlns:a16="http://schemas.microsoft.com/office/drawing/2014/main" id="{50F3AD2F-D27D-4DC6-8CE0-ACED6D2AD57D}"/>
              </a:ext>
            </a:extLst>
          </p:cNvPr>
          <p:cNvSpPr>
            <a:spLocks noGrp="1"/>
          </p:cNvSpPr>
          <p:nvPr userDrawn="1">
            <p:ph type="body" idx="18" hasCustomPrompt="1"/>
          </p:nvPr>
        </p:nvSpPr>
        <p:spPr>
          <a:xfrm>
            <a:off x="8366296" y="3822481"/>
            <a:ext cx="3318413" cy="436563"/>
          </a:xfrm>
          <a:prstGeom prst="rect">
            <a:avLst/>
          </a:prstGeom>
        </p:spPr>
        <p:txBody>
          <a:bodyPr anchor="t"/>
          <a:lstStyle>
            <a:lvl1pPr marL="0" indent="0">
              <a:buNone/>
              <a:defRPr sz="1600" b="1" baseline="0">
                <a:solidFill>
                  <a:schemeClr val="accent5"/>
                </a:solidFill>
                <a:latin typeface="Roboto" panose="02000000000000000000" pitchFamily="2" charset="0"/>
                <a:ea typeface="Roboto" panose="02000000000000000000" pitchFamily="2" charset="0"/>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2" indent="0">
              <a:buNone/>
              <a:defRPr sz="1600" b="1"/>
            </a:lvl6pPr>
            <a:lvl7pPr marL="2742651" indent="0">
              <a:buNone/>
              <a:defRPr sz="1600" b="1"/>
            </a:lvl7pPr>
            <a:lvl8pPr marL="3199760" indent="0">
              <a:buNone/>
              <a:defRPr sz="1600" b="1"/>
            </a:lvl8pPr>
            <a:lvl9pPr marL="3656869" indent="0">
              <a:buNone/>
              <a:defRPr sz="1600" b="1"/>
            </a:lvl9pPr>
          </a:lstStyle>
          <a:p>
            <a:pPr lvl="0"/>
            <a:r>
              <a:rPr lang="en-US"/>
              <a:t>Headline goes here</a:t>
            </a:r>
          </a:p>
        </p:txBody>
      </p:sp>
      <p:sp>
        <p:nvSpPr>
          <p:cNvPr id="25" name="Picture Placeholder 6">
            <a:extLst>
              <a:ext uri="{FF2B5EF4-FFF2-40B4-BE49-F238E27FC236}">
                <a16:creationId xmlns:a16="http://schemas.microsoft.com/office/drawing/2014/main" id="{B7EFA5D9-9640-46A8-B02E-1BABCFCA2A19}"/>
              </a:ext>
            </a:extLst>
          </p:cNvPr>
          <p:cNvSpPr>
            <a:spLocks noGrp="1"/>
          </p:cNvSpPr>
          <p:nvPr userDrawn="1">
            <p:ph type="pic" sz="quarter" idx="22" hasCustomPrompt="1"/>
          </p:nvPr>
        </p:nvSpPr>
        <p:spPr>
          <a:xfrm>
            <a:off x="1037004" y="1854200"/>
            <a:ext cx="3170725" cy="1574800"/>
          </a:xfrm>
          <a:prstGeom prst="rect">
            <a:avLst/>
          </a:prstGeom>
          <a:solidFill>
            <a:schemeClr val="bg1">
              <a:lumMod val="95000"/>
            </a:schemeClr>
          </a:solidFill>
        </p:spPr>
        <p:txBody>
          <a:bodyPr anchor="ctr"/>
          <a:lstStyle>
            <a:lvl1pPr marL="0" indent="0" algn="ctr">
              <a:buNone/>
              <a:defRPr>
                <a:latin typeface="Roboto" panose="02000000000000000000" pitchFamily="2" charset="0"/>
                <a:ea typeface="Roboto" panose="02000000000000000000" pitchFamily="2" charset="0"/>
              </a:defRPr>
            </a:lvl1pPr>
          </a:lstStyle>
          <a:p>
            <a:r>
              <a:rPr lang="en-US"/>
              <a:t>CLICK TO INSERT IMAGE</a:t>
            </a:r>
          </a:p>
        </p:txBody>
      </p:sp>
      <p:sp>
        <p:nvSpPr>
          <p:cNvPr id="26" name="Picture Placeholder 6">
            <a:extLst>
              <a:ext uri="{FF2B5EF4-FFF2-40B4-BE49-F238E27FC236}">
                <a16:creationId xmlns:a16="http://schemas.microsoft.com/office/drawing/2014/main" id="{5DED8B93-C657-4EC0-BDB2-5286BECAB876}"/>
              </a:ext>
            </a:extLst>
          </p:cNvPr>
          <p:cNvSpPr>
            <a:spLocks noGrp="1"/>
          </p:cNvSpPr>
          <p:nvPr userDrawn="1">
            <p:ph type="pic" sz="quarter" idx="23" hasCustomPrompt="1"/>
          </p:nvPr>
        </p:nvSpPr>
        <p:spPr>
          <a:xfrm>
            <a:off x="4700340" y="1854200"/>
            <a:ext cx="3170725" cy="1574800"/>
          </a:xfrm>
          <a:prstGeom prst="rect">
            <a:avLst/>
          </a:prstGeom>
          <a:solidFill>
            <a:schemeClr val="bg1">
              <a:lumMod val="95000"/>
            </a:schemeClr>
          </a:solidFill>
        </p:spPr>
        <p:txBody>
          <a:bodyPr anchor="ctr"/>
          <a:lstStyle>
            <a:lvl1pPr marL="0" indent="0" algn="ctr">
              <a:buNone/>
              <a:defRPr>
                <a:latin typeface="Roboto" panose="02000000000000000000" pitchFamily="2" charset="0"/>
                <a:ea typeface="Roboto" panose="02000000000000000000" pitchFamily="2" charset="0"/>
              </a:defRPr>
            </a:lvl1pPr>
          </a:lstStyle>
          <a:p>
            <a:r>
              <a:rPr lang="en-US"/>
              <a:t>CLICK TO INSERT IMAGE</a:t>
            </a:r>
          </a:p>
        </p:txBody>
      </p:sp>
      <p:sp>
        <p:nvSpPr>
          <p:cNvPr id="27" name="Picture Placeholder 6">
            <a:extLst>
              <a:ext uri="{FF2B5EF4-FFF2-40B4-BE49-F238E27FC236}">
                <a16:creationId xmlns:a16="http://schemas.microsoft.com/office/drawing/2014/main" id="{FAFF9333-B740-49C5-880B-1C40C90AE23C}"/>
              </a:ext>
            </a:extLst>
          </p:cNvPr>
          <p:cNvSpPr>
            <a:spLocks noGrp="1"/>
          </p:cNvSpPr>
          <p:nvPr userDrawn="1">
            <p:ph type="pic" sz="quarter" idx="24" hasCustomPrompt="1"/>
          </p:nvPr>
        </p:nvSpPr>
        <p:spPr>
          <a:xfrm>
            <a:off x="8359052" y="1854200"/>
            <a:ext cx="3207094" cy="1574800"/>
          </a:xfrm>
          <a:prstGeom prst="rect">
            <a:avLst/>
          </a:prstGeom>
          <a:solidFill>
            <a:schemeClr val="bg1">
              <a:lumMod val="95000"/>
            </a:schemeClr>
          </a:solidFill>
        </p:spPr>
        <p:txBody>
          <a:bodyPr anchor="ctr"/>
          <a:lstStyle>
            <a:lvl1pPr marL="0" indent="0" algn="ctr">
              <a:buNone/>
              <a:defRPr>
                <a:latin typeface="Roboto" panose="02000000000000000000" pitchFamily="2" charset="0"/>
                <a:ea typeface="Roboto" panose="02000000000000000000" pitchFamily="2" charset="0"/>
              </a:defRPr>
            </a:lvl1pPr>
          </a:lstStyle>
          <a:p>
            <a:r>
              <a:rPr lang="en-US"/>
              <a:t>CLICK TO INSERT IMAGE</a:t>
            </a:r>
          </a:p>
        </p:txBody>
      </p:sp>
      <p:sp>
        <p:nvSpPr>
          <p:cNvPr id="23" name="Title 1">
            <a:extLst>
              <a:ext uri="{FF2B5EF4-FFF2-40B4-BE49-F238E27FC236}">
                <a16:creationId xmlns:a16="http://schemas.microsoft.com/office/drawing/2014/main" id="{9D5D9886-D22C-4961-B1A5-49B937D7DE24}"/>
              </a:ext>
            </a:extLst>
          </p:cNvPr>
          <p:cNvSpPr>
            <a:spLocks noGrp="1"/>
          </p:cNvSpPr>
          <p:nvPr userDrawn="1">
            <p:ph type="title" hasCustomPrompt="1"/>
          </p:nvPr>
        </p:nvSpPr>
        <p:spPr>
          <a:xfrm>
            <a:off x="493713" y="482602"/>
            <a:ext cx="11183938" cy="562427"/>
          </a:xfrm>
          <a:prstGeom prst="rect">
            <a:avLst/>
          </a:prstGeom>
        </p:spPr>
        <p:txBody>
          <a:bodyPr lIns="0"/>
          <a:lstStyle>
            <a:lvl1pPr>
              <a:defRPr baseline="0"/>
            </a:lvl1pPr>
          </a:lstStyle>
          <a:p>
            <a:r>
              <a:rPr lang="en-US"/>
              <a:t>Headline Goes Here, Roboto Light, 36 Points, 1 Line</a:t>
            </a:r>
          </a:p>
        </p:txBody>
      </p:sp>
      <p:sp>
        <p:nvSpPr>
          <p:cNvPr id="2" name="TextBox 1">
            <a:extLst>
              <a:ext uri="{FF2B5EF4-FFF2-40B4-BE49-F238E27FC236}">
                <a16:creationId xmlns:a16="http://schemas.microsoft.com/office/drawing/2014/main" id="{ACEE0CA1-923A-4320-9299-A8325B90B5B8}"/>
              </a:ext>
            </a:extLst>
          </p:cNvPr>
          <p:cNvSpPr txBox="1"/>
          <p:nvPr userDrawn="1"/>
        </p:nvSpPr>
        <p:spPr>
          <a:xfrm>
            <a:off x="1023708"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a:solidFill>
                  <a:schemeClr val="tx1">
                    <a:lumMod val="60000"/>
                    <a:lumOff val="40000"/>
                  </a:schemeClr>
                </a:solidFill>
                <a:latin typeface="Roboto" panose="02000000000000000000" pitchFamily="2" charset="0"/>
                <a:ea typeface="Roboto" panose="02000000000000000000" pitchFamily="2" charset="0"/>
                <a:cs typeface="Roboto" charset="0"/>
              </a:rPr>
              <a:t>© Informatica. Proprietary and Confidential.</a:t>
            </a:r>
          </a:p>
        </p:txBody>
      </p:sp>
      <p:pic>
        <p:nvPicPr>
          <p:cNvPr id="28" name="Picture 27">
            <a:extLst>
              <a:ext uri="{FF2B5EF4-FFF2-40B4-BE49-F238E27FC236}">
                <a16:creationId xmlns:a16="http://schemas.microsoft.com/office/drawing/2014/main" id="{85BF9435-B6AB-5342-BE00-4D65D69BDB86}"/>
              </a:ext>
            </a:extLst>
          </p:cNvPr>
          <p:cNvPicPr>
            <a:picLocks noChangeAspect="1"/>
          </p:cNvPicPr>
          <p:nvPr userDrawn="1"/>
        </p:nvPicPr>
        <p:blipFill>
          <a:blip r:embed="rId2"/>
          <a:srcRect/>
          <a:stretch/>
        </p:blipFill>
        <p:spPr>
          <a:xfrm>
            <a:off x="9744604" y="6098796"/>
            <a:ext cx="2039100" cy="699990"/>
          </a:xfrm>
          <a:prstGeom prst="rect">
            <a:avLst/>
          </a:prstGeom>
        </p:spPr>
      </p:pic>
      <p:sp>
        <p:nvSpPr>
          <p:cNvPr id="29" name="Right Triangle 28">
            <a:extLst>
              <a:ext uri="{FF2B5EF4-FFF2-40B4-BE49-F238E27FC236}">
                <a16:creationId xmlns:a16="http://schemas.microsoft.com/office/drawing/2014/main" id="{79837D26-80F0-5A4A-8205-9B11CD5CFA7B}"/>
              </a:ext>
            </a:extLst>
          </p:cNvPr>
          <p:cNvSpPr/>
          <p:nvPr userDrawn="1"/>
        </p:nvSpPr>
        <p:spPr>
          <a:xfrm>
            <a:off x="1" y="2761950"/>
            <a:ext cx="590764" cy="4096050"/>
          </a:xfrm>
          <a:prstGeom prst="rtTriangle">
            <a:avLst/>
          </a:prstGeom>
          <a:gradFill>
            <a:gsLst>
              <a:gs pos="0">
                <a:schemeClr val="accent2"/>
              </a:gs>
              <a:gs pos="76000">
                <a:srgbClr val="FF6500"/>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rIns="137160" bIns="91440" rtlCol="0" anchor="ctr">
            <a:noAutofit/>
          </a:bodyPr>
          <a:lstStyle/>
          <a:p>
            <a:pPr lvl="0"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56" name="TextBox 55">
            <a:extLst>
              <a:ext uri="{FF2B5EF4-FFF2-40B4-BE49-F238E27FC236}">
                <a16:creationId xmlns:a16="http://schemas.microsoft.com/office/drawing/2014/main" id="{4902183A-4E75-45A1-B406-E334C3C27674}"/>
              </a:ext>
            </a:extLst>
          </p:cNvPr>
          <p:cNvSpPr txBox="1"/>
          <p:nvPr userDrawn="1"/>
        </p:nvSpPr>
        <p:spPr>
          <a:xfrm>
            <a:off x="176868" y="6365106"/>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900" b="0" i="0" kern="1200" smtClean="0">
                <a:solidFill>
                  <a:schemeClr val="bg1"/>
                </a:solidFill>
                <a:latin typeface="Roboto" panose="02000000000000000000" pitchFamily="2" charset="0"/>
                <a:ea typeface="Roboto" panose="02000000000000000000" pitchFamily="2" charset="0"/>
                <a:cs typeface="Roboto" charset="0"/>
              </a:rPr>
              <a:pPr marL="0" lvl="0" algn="ctr" defTabSz="457200" rtl="0" eaLnBrk="1" latinLnBrk="0" hangingPunct="1"/>
              <a:t>‹#›</a:t>
            </a:fld>
            <a:endParaRPr lang="en-US" sz="900" b="0" i="0" kern="1200">
              <a:solidFill>
                <a:schemeClr val="bg1"/>
              </a:solidFill>
              <a:latin typeface="Roboto" panose="02000000000000000000" pitchFamily="2" charset="0"/>
              <a:ea typeface="Roboto" panose="02000000000000000000" pitchFamily="2" charset="0"/>
              <a:cs typeface="Roboto" charset="0"/>
            </a:endParaRPr>
          </a:p>
        </p:txBody>
      </p:sp>
      <p:sp>
        <p:nvSpPr>
          <p:cNvPr id="18" name="Text Placeholder 4">
            <a:extLst>
              <a:ext uri="{FF2B5EF4-FFF2-40B4-BE49-F238E27FC236}">
                <a16:creationId xmlns:a16="http://schemas.microsoft.com/office/drawing/2014/main" id="{69DDA6E5-1043-0342-8478-7CFD3E881F56}"/>
              </a:ext>
            </a:extLst>
          </p:cNvPr>
          <p:cNvSpPr>
            <a:spLocks noGrp="1"/>
          </p:cNvSpPr>
          <p:nvPr>
            <p:ph type="body" sz="quarter" idx="13" hasCustomPrompt="1"/>
          </p:nvPr>
        </p:nvSpPr>
        <p:spPr>
          <a:xfrm>
            <a:off x="493714" y="1058899"/>
            <a:ext cx="11188532" cy="331601"/>
          </a:xfrm>
          <a:prstGeom prst="rect">
            <a:avLst/>
          </a:prstGeom>
        </p:spPr>
        <p:txBody>
          <a:bodyPr lIns="0" anchor="t"/>
          <a:lstStyle>
            <a:lvl1pPr marL="0" indent="0">
              <a:buNone/>
              <a:defRPr sz="2400" i="0">
                <a:solidFill>
                  <a:schemeClr val="bg1"/>
                </a:solidFill>
                <a:latin typeface="Roboto" panose="02000000000000000000" pitchFamily="2" charset="0"/>
                <a:ea typeface="Roboto" panose="02000000000000000000" pitchFamily="2" charset="0"/>
              </a:defRPr>
            </a:lvl1pPr>
            <a:lvl2pPr marL="169863" indent="0">
              <a:buNone/>
              <a:defRPr/>
            </a:lvl2pPr>
            <a:lvl3pPr marL="344487" indent="0">
              <a:buNone/>
              <a:defRPr/>
            </a:lvl3pPr>
            <a:lvl4pPr marL="458788" indent="0">
              <a:buNone/>
              <a:defRPr/>
            </a:lvl4pPr>
            <a:lvl5pPr marL="630237" indent="0">
              <a:buNone/>
              <a:defRPr/>
            </a:lvl5pPr>
          </a:lstStyle>
          <a:p>
            <a:pPr lvl="0"/>
            <a:r>
              <a:rPr lang="en-US"/>
              <a:t>Subtitle goes here, </a:t>
            </a:r>
            <a:r>
              <a:rPr lang="en-US" err="1"/>
              <a:t>Roboto</a:t>
            </a:r>
            <a:r>
              <a:rPr lang="en-US"/>
              <a:t> Regular 24 point, no longer than one line</a:t>
            </a:r>
          </a:p>
        </p:txBody>
      </p:sp>
    </p:spTree>
    <p:extLst>
      <p:ext uri="{BB962C8B-B14F-4D97-AF65-F5344CB8AC3E}">
        <p14:creationId xmlns:p14="http://schemas.microsoft.com/office/powerpoint/2010/main" val="210924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ntent and Image DARK">
    <p:spTree>
      <p:nvGrpSpPr>
        <p:cNvPr id="1" name=""/>
        <p:cNvGrpSpPr/>
        <p:nvPr/>
      </p:nvGrpSpPr>
      <p:grpSpPr>
        <a:xfrm>
          <a:off x="0" y="0"/>
          <a:ext cx="0" cy="0"/>
          <a:chOff x="0" y="0"/>
          <a:chExt cx="0" cy="0"/>
        </a:xfrm>
      </p:grpSpPr>
      <p:sp>
        <p:nvSpPr>
          <p:cNvPr id="26" name="Picture Placeholder 6">
            <a:extLst>
              <a:ext uri="{FF2B5EF4-FFF2-40B4-BE49-F238E27FC236}">
                <a16:creationId xmlns:a16="http://schemas.microsoft.com/office/drawing/2014/main" id="{19139BE2-3955-4437-8BFB-427D8F682D2F}"/>
              </a:ext>
            </a:extLst>
          </p:cNvPr>
          <p:cNvSpPr>
            <a:spLocks noGrp="1"/>
          </p:cNvSpPr>
          <p:nvPr userDrawn="1">
            <p:ph type="pic" sz="quarter" idx="15" hasCustomPrompt="1"/>
          </p:nvPr>
        </p:nvSpPr>
        <p:spPr>
          <a:xfrm>
            <a:off x="4706423" y="-5483"/>
            <a:ext cx="7475471" cy="6858000"/>
          </a:xfrm>
          <a:prstGeom prst="rect">
            <a:avLst/>
          </a:prstGeom>
          <a:solidFill>
            <a:schemeClr val="bg1">
              <a:lumMod val="95000"/>
            </a:schemeClr>
          </a:solidFill>
        </p:spPr>
        <p:txBody>
          <a:bodyPr anchor="ctr"/>
          <a:lstStyle>
            <a:lvl1pPr marL="0" indent="0" algn="ctr">
              <a:buNone/>
              <a:defRPr>
                <a:latin typeface="Roboto" panose="02000000000000000000" pitchFamily="2" charset="0"/>
                <a:ea typeface="Roboto" panose="02000000000000000000" pitchFamily="2" charset="0"/>
              </a:defRPr>
            </a:lvl1pPr>
          </a:lstStyle>
          <a:p>
            <a:r>
              <a:rPr lang="en-US"/>
              <a:t>CLICK TO INSERT IMAGE</a:t>
            </a:r>
          </a:p>
        </p:txBody>
      </p:sp>
      <p:grpSp>
        <p:nvGrpSpPr>
          <p:cNvPr id="2" name="Group 1">
            <a:extLst>
              <a:ext uri="{FF2B5EF4-FFF2-40B4-BE49-F238E27FC236}">
                <a16:creationId xmlns:a16="http://schemas.microsoft.com/office/drawing/2014/main" id="{84BA3247-8202-45DB-8DD8-853557202279}"/>
              </a:ext>
            </a:extLst>
          </p:cNvPr>
          <p:cNvGrpSpPr/>
          <p:nvPr userDrawn="1"/>
        </p:nvGrpSpPr>
        <p:grpSpPr>
          <a:xfrm>
            <a:off x="4706424" y="-5483"/>
            <a:ext cx="1632031" cy="6858001"/>
            <a:chOff x="4706424" y="-5483"/>
            <a:chExt cx="1819066" cy="6858001"/>
          </a:xfrm>
        </p:grpSpPr>
        <p:sp>
          <p:nvSpPr>
            <p:cNvPr id="12" name="Right Triangle 11">
              <a:extLst>
                <a:ext uri="{FF2B5EF4-FFF2-40B4-BE49-F238E27FC236}">
                  <a16:creationId xmlns:a16="http://schemas.microsoft.com/office/drawing/2014/main" id="{4197BA62-971A-4CF4-8AD3-CBAF002EA413}"/>
                </a:ext>
              </a:extLst>
            </p:cNvPr>
            <p:cNvSpPr/>
            <p:nvPr userDrawn="1"/>
          </p:nvSpPr>
          <p:spPr>
            <a:xfrm rot="16200000" flipH="1" flipV="1">
              <a:off x="2186956" y="2513985"/>
              <a:ext cx="6858001" cy="1819066"/>
            </a:xfrm>
            <a:prstGeom prst="r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Roboto" panose="02000000000000000000" pitchFamily="2" charset="0"/>
              </a:endParaRPr>
            </a:p>
          </p:txBody>
        </p:sp>
        <p:sp>
          <p:nvSpPr>
            <p:cNvPr id="9" name="Right Triangle 8">
              <a:extLst>
                <a:ext uri="{FF2B5EF4-FFF2-40B4-BE49-F238E27FC236}">
                  <a16:creationId xmlns:a16="http://schemas.microsoft.com/office/drawing/2014/main" id="{F9EFCD8C-ACB4-4F6D-8261-2493D33628A7}"/>
                </a:ext>
              </a:extLst>
            </p:cNvPr>
            <p:cNvSpPr/>
            <p:nvPr userDrawn="1"/>
          </p:nvSpPr>
          <p:spPr>
            <a:xfrm rot="16200000" flipH="1" flipV="1">
              <a:off x="2065009" y="2635932"/>
              <a:ext cx="6858001" cy="1575171"/>
            </a:xfrm>
            <a:prstGeom prst="r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Roboto" panose="02000000000000000000" pitchFamily="2" charset="0"/>
              </a:endParaRPr>
            </a:p>
          </p:txBody>
        </p:sp>
      </p:grpSp>
      <p:sp>
        <p:nvSpPr>
          <p:cNvPr id="10" name="Title 1">
            <a:extLst>
              <a:ext uri="{FF2B5EF4-FFF2-40B4-BE49-F238E27FC236}">
                <a16:creationId xmlns:a16="http://schemas.microsoft.com/office/drawing/2014/main" id="{B96418C4-B832-4880-8986-EEAA2D4D84BA}"/>
              </a:ext>
            </a:extLst>
          </p:cNvPr>
          <p:cNvSpPr>
            <a:spLocks noGrp="1"/>
          </p:cNvSpPr>
          <p:nvPr userDrawn="1">
            <p:ph type="title" hasCustomPrompt="1"/>
          </p:nvPr>
        </p:nvSpPr>
        <p:spPr>
          <a:xfrm>
            <a:off x="493714" y="966651"/>
            <a:ext cx="4092142" cy="2035627"/>
          </a:xfrm>
          <a:prstGeom prst="rect">
            <a:avLst/>
          </a:prstGeom>
        </p:spPr>
        <p:txBody>
          <a:bodyPr lIns="0" anchor="b" anchorCtr="0"/>
          <a:lstStyle>
            <a:lvl1pPr>
              <a:defRPr sz="4400" baseline="0"/>
            </a:lvl1pPr>
          </a:lstStyle>
          <a:p>
            <a:r>
              <a:rPr lang="en-US"/>
              <a:t>Headline Goes Here, Roboto Light, 44 Points</a:t>
            </a:r>
          </a:p>
        </p:txBody>
      </p:sp>
      <p:sp>
        <p:nvSpPr>
          <p:cNvPr id="50" name="TextBox 49">
            <a:extLst>
              <a:ext uri="{FF2B5EF4-FFF2-40B4-BE49-F238E27FC236}">
                <a16:creationId xmlns:a16="http://schemas.microsoft.com/office/drawing/2014/main" id="{AF3D519E-FE9B-47BE-83A1-D01F8C7B4C47}"/>
              </a:ext>
            </a:extLst>
          </p:cNvPr>
          <p:cNvSpPr txBox="1"/>
          <p:nvPr userDrawn="1"/>
        </p:nvSpPr>
        <p:spPr>
          <a:xfrm>
            <a:off x="176868" y="6365106"/>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900" b="0" i="0" kern="1200" smtClean="0">
                <a:solidFill>
                  <a:schemeClr val="tx1">
                    <a:lumMod val="20000"/>
                    <a:lumOff val="80000"/>
                  </a:schemeClr>
                </a:solidFill>
                <a:latin typeface="Roboto" panose="02000000000000000000" pitchFamily="2" charset="0"/>
                <a:ea typeface="Roboto" panose="02000000000000000000" pitchFamily="2" charset="0"/>
                <a:cs typeface="Roboto" charset="0"/>
              </a:rPr>
              <a:pPr marL="0" lvl="0" algn="ctr" defTabSz="457200" rtl="0" eaLnBrk="1" latinLnBrk="0" hangingPunct="1"/>
              <a:t>‹#›</a:t>
            </a:fld>
            <a:endParaRPr lang="en-US" sz="900" b="0" i="0" kern="1200">
              <a:solidFill>
                <a:schemeClr val="tx1">
                  <a:lumMod val="20000"/>
                  <a:lumOff val="80000"/>
                </a:schemeClr>
              </a:solidFill>
              <a:latin typeface="Roboto" panose="02000000000000000000" pitchFamily="2" charset="0"/>
              <a:ea typeface="Roboto" panose="02000000000000000000" pitchFamily="2" charset="0"/>
              <a:cs typeface="Roboto" charset="0"/>
            </a:endParaRPr>
          </a:p>
        </p:txBody>
      </p:sp>
      <p:sp>
        <p:nvSpPr>
          <p:cNvPr id="3" name="TextBox 2">
            <a:extLst>
              <a:ext uri="{FF2B5EF4-FFF2-40B4-BE49-F238E27FC236}">
                <a16:creationId xmlns:a16="http://schemas.microsoft.com/office/drawing/2014/main" id="{6B82BA0B-DA91-4B59-A1E3-F69FAF12F0B9}"/>
              </a:ext>
            </a:extLst>
          </p:cNvPr>
          <p:cNvSpPr txBox="1"/>
          <p:nvPr userDrawn="1"/>
        </p:nvSpPr>
        <p:spPr>
          <a:xfrm>
            <a:off x="1023708"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a:solidFill>
                  <a:schemeClr val="tx1">
                    <a:lumMod val="60000"/>
                    <a:lumOff val="40000"/>
                  </a:schemeClr>
                </a:solidFill>
                <a:latin typeface="Roboto" panose="02000000000000000000" pitchFamily="2" charset="0"/>
                <a:ea typeface="Roboto" panose="02000000000000000000" pitchFamily="2" charset="0"/>
                <a:cs typeface="Roboto" charset="0"/>
              </a:rPr>
              <a:t>© Informatica. Proprietary and Confidential.</a:t>
            </a:r>
          </a:p>
        </p:txBody>
      </p:sp>
      <p:sp>
        <p:nvSpPr>
          <p:cNvPr id="6" name="Text Placeholder 5">
            <a:extLst>
              <a:ext uri="{FF2B5EF4-FFF2-40B4-BE49-F238E27FC236}">
                <a16:creationId xmlns:a16="http://schemas.microsoft.com/office/drawing/2014/main" id="{52CDB1D5-2903-4E27-BB41-9901A4E8A856}"/>
              </a:ext>
            </a:extLst>
          </p:cNvPr>
          <p:cNvSpPr>
            <a:spLocks noGrp="1"/>
          </p:cNvSpPr>
          <p:nvPr>
            <p:ph type="body" sz="quarter" idx="16" hasCustomPrompt="1"/>
          </p:nvPr>
        </p:nvSpPr>
        <p:spPr>
          <a:xfrm>
            <a:off x="493713" y="3437711"/>
            <a:ext cx="4092142" cy="1001713"/>
          </a:xfrm>
          <a:prstGeom prst="rect">
            <a:avLst/>
          </a:prstGeom>
        </p:spPr>
        <p:txBody>
          <a:bodyPr lIns="0"/>
          <a:lstStyle>
            <a:lvl1pPr marL="0" indent="0">
              <a:buNone/>
              <a:defRPr sz="2400">
                <a:solidFill>
                  <a:schemeClr val="accent2"/>
                </a:solidFill>
                <a:latin typeface="+mj-lt"/>
                <a:ea typeface="Roboto" panose="02000000000000000000" pitchFamily="2" charset="0"/>
              </a:defRPr>
            </a:lvl1pPr>
          </a:lstStyle>
          <a:p>
            <a:pPr lvl="0"/>
            <a:r>
              <a:rPr lang="en-US"/>
              <a:t>Secondary text here Roboto Light 24 points</a:t>
            </a:r>
          </a:p>
        </p:txBody>
      </p:sp>
      <p:pic>
        <p:nvPicPr>
          <p:cNvPr id="11" name="Picture 10">
            <a:extLst>
              <a:ext uri="{FF2B5EF4-FFF2-40B4-BE49-F238E27FC236}">
                <a16:creationId xmlns:a16="http://schemas.microsoft.com/office/drawing/2014/main" id="{58FCA978-FA7D-F541-ABD6-1D00357DA744}"/>
              </a:ext>
            </a:extLst>
          </p:cNvPr>
          <p:cNvPicPr>
            <a:picLocks noChangeAspect="1"/>
          </p:cNvPicPr>
          <p:nvPr userDrawn="1"/>
        </p:nvPicPr>
        <p:blipFill>
          <a:blip r:embed="rId2"/>
          <a:stretch>
            <a:fillRect/>
          </a:stretch>
        </p:blipFill>
        <p:spPr>
          <a:xfrm>
            <a:off x="9743687" y="6098796"/>
            <a:ext cx="2040934" cy="699990"/>
          </a:xfrm>
          <a:prstGeom prst="rect">
            <a:avLst/>
          </a:prstGeom>
        </p:spPr>
      </p:pic>
    </p:spTree>
    <p:extLst>
      <p:ext uri="{BB962C8B-B14F-4D97-AF65-F5344CB8AC3E}">
        <p14:creationId xmlns:p14="http://schemas.microsoft.com/office/powerpoint/2010/main" val="2479579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Full Bleed Image">
    <p:spTree>
      <p:nvGrpSpPr>
        <p:cNvPr id="1" name=""/>
        <p:cNvGrpSpPr/>
        <p:nvPr/>
      </p:nvGrpSpPr>
      <p:grpSpPr>
        <a:xfrm>
          <a:off x="0" y="0"/>
          <a:ext cx="0" cy="0"/>
          <a:chOff x="0" y="0"/>
          <a:chExt cx="0" cy="0"/>
        </a:xfrm>
      </p:grpSpPr>
      <p:sp>
        <p:nvSpPr>
          <p:cNvPr id="26" name="Picture Placeholder 6">
            <a:extLst>
              <a:ext uri="{FF2B5EF4-FFF2-40B4-BE49-F238E27FC236}">
                <a16:creationId xmlns:a16="http://schemas.microsoft.com/office/drawing/2014/main" id="{19139BE2-3955-4437-8BFB-427D8F682D2F}"/>
              </a:ext>
            </a:extLst>
          </p:cNvPr>
          <p:cNvSpPr>
            <a:spLocks noGrp="1"/>
          </p:cNvSpPr>
          <p:nvPr userDrawn="1">
            <p:ph type="pic" sz="quarter" idx="15" hasCustomPrompt="1"/>
          </p:nvPr>
        </p:nvSpPr>
        <p:spPr>
          <a:xfrm>
            <a:off x="0" y="-1"/>
            <a:ext cx="12188825" cy="6857999"/>
          </a:xfrm>
          <a:prstGeom prst="rect">
            <a:avLst/>
          </a:prstGeom>
          <a:solidFill>
            <a:schemeClr val="bg1">
              <a:lumMod val="95000"/>
            </a:schemeClr>
          </a:solidFill>
        </p:spPr>
        <p:txBody>
          <a:bodyPr anchor="ctr"/>
          <a:lstStyle>
            <a:lvl1pPr marL="0" indent="0" algn="ctr">
              <a:buNone/>
              <a:defRPr>
                <a:latin typeface="Roboto" panose="02000000000000000000" pitchFamily="2" charset="0"/>
                <a:ea typeface="Roboto" panose="02000000000000000000" pitchFamily="2" charset="0"/>
              </a:defRPr>
            </a:lvl1pPr>
          </a:lstStyle>
          <a:p>
            <a:r>
              <a:rPr lang="en-US"/>
              <a:t>CLICK TO INSERT IMAGE</a:t>
            </a:r>
          </a:p>
        </p:txBody>
      </p:sp>
    </p:spTree>
    <p:extLst>
      <p:ext uri="{BB962C8B-B14F-4D97-AF65-F5344CB8AC3E}">
        <p14:creationId xmlns:p14="http://schemas.microsoft.com/office/powerpoint/2010/main" val="4113474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Section Divider_1">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AC3CA8E-B47E-084A-9F1F-2B81929AA949}"/>
              </a:ext>
            </a:extLst>
          </p:cNvPr>
          <p:cNvPicPr>
            <a:picLocks noChangeAspect="1"/>
          </p:cNvPicPr>
          <p:nvPr userDrawn="1"/>
        </p:nvPicPr>
        <p:blipFill>
          <a:blip r:embed="rId2"/>
          <a:srcRect/>
          <a:stretch/>
        </p:blipFill>
        <p:spPr>
          <a:xfrm>
            <a:off x="398001" y="216483"/>
            <a:ext cx="2468406" cy="849901"/>
          </a:xfrm>
          <a:prstGeom prst="rect">
            <a:avLst/>
          </a:prstGeom>
        </p:spPr>
      </p:pic>
      <p:sp>
        <p:nvSpPr>
          <p:cNvPr id="13" name="Rectangle 28">
            <a:extLst>
              <a:ext uri="{FF2B5EF4-FFF2-40B4-BE49-F238E27FC236}">
                <a16:creationId xmlns:a16="http://schemas.microsoft.com/office/drawing/2014/main" id="{C9FF0F85-FF53-584A-8206-44006F03D208}"/>
              </a:ext>
            </a:extLst>
          </p:cNvPr>
          <p:cNvSpPr/>
          <p:nvPr userDrawn="1"/>
        </p:nvSpPr>
        <p:spPr>
          <a:xfrm>
            <a:off x="7199406" y="1"/>
            <a:ext cx="4991113" cy="6861175"/>
          </a:xfrm>
          <a:custGeom>
            <a:avLst/>
            <a:gdLst>
              <a:gd name="connsiteX0" fmla="*/ 0 w 4949825"/>
              <a:gd name="connsiteY0" fmla="*/ 0 h 6858000"/>
              <a:gd name="connsiteX1" fmla="*/ 4949825 w 4949825"/>
              <a:gd name="connsiteY1" fmla="*/ 0 h 6858000"/>
              <a:gd name="connsiteX2" fmla="*/ 4949825 w 4949825"/>
              <a:gd name="connsiteY2" fmla="*/ 6858000 h 6858000"/>
              <a:gd name="connsiteX3" fmla="*/ 0 w 4949825"/>
              <a:gd name="connsiteY3" fmla="*/ 6858000 h 6858000"/>
              <a:gd name="connsiteX4" fmla="*/ 0 w 4949825"/>
              <a:gd name="connsiteY4" fmla="*/ 0 h 6858000"/>
              <a:gd name="connsiteX0" fmla="*/ 2438400 w 4949825"/>
              <a:gd name="connsiteY0" fmla="*/ 0 h 6858000"/>
              <a:gd name="connsiteX1" fmla="*/ 4949825 w 4949825"/>
              <a:gd name="connsiteY1" fmla="*/ 0 h 6858000"/>
              <a:gd name="connsiteX2" fmla="*/ 4949825 w 4949825"/>
              <a:gd name="connsiteY2" fmla="*/ 6858000 h 6858000"/>
              <a:gd name="connsiteX3" fmla="*/ 0 w 4949825"/>
              <a:gd name="connsiteY3" fmla="*/ 6858000 h 6858000"/>
              <a:gd name="connsiteX4" fmla="*/ 2438400 w 4949825"/>
              <a:gd name="connsiteY4" fmla="*/ 0 h 6858000"/>
              <a:gd name="connsiteX0" fmla="*/ 3202577 w 4949825"/>
              <a:gd name="connsiteY0" fmla="*/ 0 h 6858000"/>
              <a:gd name="connsiteX1" fmla="*/ 4949825 w 4949825"/>
              <a:gd name="connsiteY1" fmla="*/ 0 h 6858000"/>
              <a:gd name="connsiteX2" fmla="*/ 4949825 w 4949825"/>
              <a:gd name="connsiteY2" fmla="*/ 6858000 h 6858000"/>
              <a:gd name="connsiteX3" fmla="*/ 0 w 4949825"/>
              <a:gd name="connsiteY3" fmla="*/ 6858000 h 6858000"/>
              <a:gd name="connsiteX4" fmla="*/ 3202577 w 4949825"/>
              <a:gd name="connsiteY4" fmla="*/ 0 h 6858000"/>
              <a:gd name="connsiteX0" fmla="*/ 3156857 w 4904105"/>
              <a:gd name="connsiteY0" fmla="*/ 0 h 6858000"/>
              <a:gd name="connsiteX1" fmla="*/ 4904105 w 4904105"/>
              <a:gd name="connsiteY1" fmla="*/ 0 h 6858000"/>
              <a:gd name="connsiteX2" fmla="*/ 4904105 w 4904105"/>
              <a:gd name="connsiteY2" fmla="*/ 6858000 h 6858000"/>
              <a:gd name="connsiteX3" fmla="*/ 0 w 4904105"/>
              <a:gd name="connsiteY3" fmla="*/ 6858000 h 6858000"/>
              <a:gd name="connsiteX4" fmla="*/ 3156857 w 4904105"/>
              <a:gd name="connsiteY4" fmla="*/ 0 h 6858000"/>
              <a:gd name="connsiteX0" fmla="*/ 3245347 w 4992595"/>
              <a:gd name="connsiteY0" fmla="*/ 0 h 6867832"/>
              <a:gd name="connsiteX1" fmla="*/ 4992595 w 4992595"/>
              <a:gd name="connsiteY1" fmla="*/ 0 h 6867832"/>
              <a:gd name="connsiteX2" fmla="*/ 4992595 w 4992595"/>
              <a:gd name="connsiteY2" fmla="*/ 6858000 h 6867832"/>
              <a:gd name="connsiteX3" fmla="*/ 0 w 4992595"/>
              <a:gd name="connsiteY3" fmla="*/ 6867832 h 6867832"/>
              <a:gd name="connsiteX4" fmla="*/ 3245347 w 4992595"/>
              <a:gd name="connsiteY4" fmla="*/ 0 h 6867832"/>
              <a:gd name="connsiteX0" fmla="*/ 3245347 w 4992595"/>
              <a:gd name="connsiteY0" fmla="*/ 0 h 6873095"/>
              <a:gd name="connsiteX1" fmla="*/ 4992595 w 4992595"/>
              <a:gd name="connsiteY1" fmla="*/ 0 h 6873095"/>
              <a:gd name="connsiteX2" fmla="*/ 4987571 w 4992595"/>
              <a:gd name="connsiteY2" fmla="*/ 6873095 h 6873095"/>
              <a:gd name="connsiteX3" fmla="*/ 0 w 4992595"/>
              <a:gd name="connsiteY3" fmla="*/ 6867832 h 6873095"/>
              <a:gd name="connsiteX4" fmla="*/ 3245347 w 4992595"/>
              <a:gd name="connsiteY4" fmla="*/ 0 h 6873095"/>
              <a:gd name="connsiteX0" fmla="*/ 3242172 w 4989420"/>
              <a:gd name="connsiteY0" fmla="*/ 0 h 6874196"/>
              <a:gd name="connsiteX1" fmla="*/ 4989420 w 4989420"/>
              <a:gd name="connsiteY1" fmla="*/ 0 h 6874196"/>
              <a:gd name="connsiteX2" fmla="*/ 4984396 w 4989420"/>
              <a:gd name="connsiteY2" fmla="*/ 6873095 h 6874196"/>
              <a:gd name="connsiteX3" fmla="*/ 0 w 4989420"/>
              <a:gd name="connsiteY3" fmla="*/ 6874196 h 6874196"/>
              <a:gd name="connsiteX4" fmla="*/ 3242172 w 4989420"/>
              <a:gd name="connsiteY4" fmla="*/ 0 h 6874196"/>
              <a:gd name="connsiteX0" fmla="*/ 3242172 w 4991114"/>
              <a:gd name="connsiteY0" fmla="*/ 0 h 6876278"/>
              <a:gd name="connsiteX1" fmla="*/ 4989420 w 4991114"/>
              <a:gd name="connsiteY1" fmla="*/ 0 h 6876278"/>
              <a:gd name="connsiteX2" fmla="*/ 4990746 w 4991114"/>
              <a:gd name="connsiteY2" fmla="*/ 6876278 h 6876278"/>
              <a:gd name="connsiteX3" fmla="*/ 0 w 4991114"/>
              <a:gd name="connsiteY3" fmla="*/ 6874196 h 6876278"/>
              <a:gd name="connsiteX4" fmla="*/ 3242172 w 4991114"/>
              <a:gd name="connsiteY4" fmla="*/ 0 h 68762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1114" h="6876278">
                <a:moveTo>
                  <a:pt x="3242172" y="0"/>
                </a:moveTo>
                <a:lnTo>
                  <a:pt x="4989420" y="0"/>
                </a:lnTo>
                <a:cubicBezTo>
                  <a:pt x="4987745" y="2291032"/>
                  <a:pt x="4992421" y="4585246"/>
                  <a:pt x="4990746" y="6876278"/>
                </a:cubicBezTo>
                <a:lnTo>
                  <a:pt x="0" y="6874196"/>
                </a:lnTo>
                <a:lnTo>
                  <a:pt x="3242172" y="0"/>
                </a:lnTo>
                <a:close/>
              </a:path>
            </a:pathLst>
          </a:custGeom>
          <a:gradFill>
            <a:gsLst>
              <a:gs pos="0">
                <a:schemeClr val="accent2"/>
              </a:gs>
              <a:gs pos="76000">
                <a:srgbClr val="FF6500"/>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lvl="0"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14" name="Freeform 13">
            <a:extLst>
              <a:ext uri="{FF2B5EF4-FFF2-40B4-BE49-F238E27FC236}">
                <a16:creationId xmlns:a16="http://schemas.microsoft.com/office/drawing/2014/main" id="{5220FCC1-7D4F-1748-A75E-B459E2C01FC7}"/>
              </a:ext>
            </a:extLst>
          </p:cNvPr>
          <p:cNvSpPr/>
          <p:nvPr userDrawn="1"/>
        </p:nvSpPr>
        <p:spPr>
          <a:xfrm rot="16200000">
            <a:off x="5211830" y="1627648"/>
            <a:ext cx="6859272" cy="3601433"/>
          </a:xfrm>
          <a:custGeom>
            <a:avLst/>
            <a:gdLst>
              <a:gd name="connsiteX0" fmla="*/ 6837041 w 6837041"/>
              <a:gd name="connsiteY0" fmla="*/ 3595080 h 3595080"/>
              <a:gd name="connsiteX1" fmla="*/ 0 w 6837041"/>
              <a:gd name="connsiteY1" fmla="*/ 443330 h 3595080"/>
              <a:gd name="connsiteX2" fmla="*/ 0 w 6837041"/>
              <a:gd name="connsiteY2" fmla="*/ 0 h 3595080"/>
              <a:gd name="connsiteX0" fmla="*/ 6859268 w 6859268"/>
              <a:gd name="connsiteY0" fmla="*/ 3601433 h 3601433"/>
              <a:gd name="connsiteX1" fmla="*/ 0 w 6859268"/>
              <a:gd name="connsiteY1" fmla="*/ 443330 h 3601433"/>
              <a:gd name="connsiteX2" fmla="*/ 0 w 6859268"/>
              <a:gd name="connsiteY2" fmla="*/ 0 h 3601433"/>
              <a:gd name="connsiteX3" fmla="*/ 6859268 w 6859268"/>
              <a:gd name="connsiteY3" fmla="*/ 3601433 h 3601433"/>
            </a:gdLst>
            <a:ahLst/>
            <a:cxnLst>
              <a:cxn ang="0">
                <a:pos x="connsiteX0" y="connsiteY0"/>
              </a:cxn>
              <a:cxn ang="0">
                <a:pos x="connsiteX1" y="connsiteY1"/>
              </a:cxn>
              <a:cxn ang="0">
                <a:pos x="connsiteX2" y="connsiteY2"/>
              </a:cxn>
              <a:cxn ang="0">
                <a:pos x="connsiteX3" y="connsiteY3"/>
              </a:cxn>
            </a:cxnLst>
            <a:rect l="l" t="t" r="r" b="b"/>
            <a:pathLst>
              <a:path w="6859268" h="3601433">
                <a:moveTo>
                  <a:pt x="6859268" y="3601433"/>
                </a:moveTo>
                <a:lnTo>
                  <a:pt x="0" y="443330"/>
                </a:lnTo>
                <a:lnTo>
                  <a:pt x="0" y="0"/>
                </a:lnTo>
                <a:lnTo>
                  <a:pt x="6859268" y="3601433"/>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accent1"/>
              </a:solidFill>
              <a:latin typeface="Roboto" panose="02000000000000000000" pitchFamily="2" charset="0"/>
            </a:endParaRPr>
          </a:p>
        </p:txBody>
      </p:sp>
      <p:sp>
        <p:nvSpPr>
          <p:cNvPr id="7" name="Text Placeholder 23">
            <a:extLst>
              <a:ext uri="{FF2B5EF4-FFF2-40B4-BE49-F238E27FC236}">
                <a16:creationId xmlns:a16="http://schemas.microsoft.com/office/drawing/2014/main" id="{C8EA16C5-8B64-D24F-B77E-996FC45DF1F1}"/>
              </a:ext>
            </a:extLst>
          </p:cNvPr>
          <p:cNvSpPr>
            <a:spLocks noGrp="1"/>
          </p:cNvSpPr>
          <p:nvPr>
            <p:ph type="body" sz="quarter" idx="11"/>
          </p:nvPr>
        </p:nvSpPr>
        <p:spPr>
          <a:xfrm>
            <a:off x="688889" y="2330050"/>
            <a:ext cx="8856475" cy="1292860"/>
          </a:xfrm>
          <a:prstGeom prst="rect">
            <a:avLst/>
          </a:prstGeom>
        </p:spPr>
        <p:txBody>
          <a:bodyPr anchor="b"/>
          <a:lstStyle>
            <a:lvl1pPr marL="0" indent="0">
              <a:buNone/>
              <a:defRPr sz="4800" b="0" i="0">
                <a:solidFill>
                  <a:schemeClr val="bg1"/>
                </a:solidFill>
                <a:latin typeface="+mj-lt"/>
                <a:ea typeface="Roboto Light" panose="02000000000000000000" pitchFamily="2" charset="0"/>
                <a:cs typeface="Roboto Light" panose="02000000000000000000" pitchFamily="2" charset="0"/>
              </a:defRPr>
            </a:lvl1pPr>
            <a:lvl2pPr marL="457108" indent="0">
              <a:buNone/>
              <a:defRPr/>
            </a:lvl2pPr>
            <a:lvl3pPr marL="914217" indent="0">
              <a:buNone/>
              <a:defRPr/>
            </a:lvl3pPr>
            <a:lvl4pPr marL="1371326" indent="0">
              <a:buNone/>
              <a:defRPr/>
            </a:lvl4pPr>
            <a:lvl5pPr marL="1828435" indent="0">
              <a:buNone/>
              <a:defRPr/>
            </a:lvl5pPr>
          </a:lstStyle>
          <a:p>
            <a:pPr lvl="0"/>
            <a:endParaRPr lang="en-US"/>
          </a:p>
        </p:txBody>
      </p:sp>
      <p:sp>
        <p:nvSpPr>
          <p:cNvPr id="8" name="Text Placeholder 27">
            <a:extLst>
              <a:ext uri="{FF2B5EF4-FFF2-40B4-BE49-F238E27FC236}">
                <a16:creationId xmlns:a16="http://schemas.microsoft.com/office/drawing/2014/main" id="{C31BC739-B395-AB47-8B64-7C29F5A00C43}"/>
              </a:ext>
            </a:extLst>
          </p:cNvPr>
          <p:cNvSpPr>
            <a:spLocks noGrp="1"/>
          </p:cNvSpPr>
          <p:nvPr>
            <p:ph type="body" sz="quarter" idx="13"/>
          </p:nvPr>
        </p:nvSpPr>
        <p:spPr bwMode="gray">
          <a:xfrm>
            <a:off x="803189" y="3677775"/>
            <a:ext cx="6045771" cy="475487"/>
          </a:xfrm>
          <a:prstGeom prst="rect">
            <a:avLst/>
          </a:prstGeom>
        </p:spPr>
        <p:txBody>
          <a:bodyPr vert="horz" lIns="0" tIns="0" rIns="0" bIns="0" rtlCol="0">
            <a:noAutofit/>
          </a:bodyPr>
          <a:lstStyle>
            <a:lvl1pPr marL="0" indent="0">
              <a:buNone/>
              <a:defRPr lang="en-US" sz="2800" i="0" baseline="0" dirty="0">
                <a:solidFill>
                  <a:schemeClr val="bg1"/>
                </a:solidFill>
                <a:latin typeface="Roboto Light" panose="02000000000000000000" pitchFamily="2" charset="0"/>
                <a:ea typeface="Roboto Light" panose="02000000000000000000" pitchFamily="2" charset="0"/>
                <a:cs typeface="Roboto Light" panose="02000000000000000000" pitchFamily="2" charset="0"/>
              </a:defRPr>
            </a:lvl1pPr>
          </a:lstStyle>
          <a:p>
            <a:pPr marL="173038" lvl="0" indent="-173038"/>
            <a:endParaRPr lang="en-US"/>
          </a:p>
        </p:txBody>
      </p:sp>
    </p:spTree>
    <p:extLst>
      <p:ext uri="{BB962C8B-B14F-4D97-AF65-F5344CB8AC3E}">
        <p14:creationId xmlns:p14="http://schemas.microsoft.com/office/powerpoint/2010/main" val="1782751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Divider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Freeform 8">
            <a:extLst>
              <a:ext uri="{FF2B5EF4-FFF2-40B4-BE49-F238E27FC236}">
                <a16:creationId xmlns:a16="http://schemas.microsoft.com/office/drawing/2014/main" id="{5EA3EBC2-8059-6C40-AFCA-8DB1E0D77017}"/>
              </a:ext>
            </a:extLst>
          </p:cNvPr>
          <p:cNvSpPr/>
          <p:nvPr userDrawn="1"/>
        </p:nvSpPr>
        <p:spPr>
          <a:xfrm>
            <a:off x="7407017" y="4547198"/>
            <a:ext cx="4785372" cy="2310802"/>
          </a:xfrm>
          <a:custGeom>
            <a:avLst/>
            <a:gdLst>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16268 w 4717029"/>
              <a:gd name="connsiteY12" fmla="*/ 1924881 h 2310802"/>
              <a:gd name="connsiteX13" fmla="*/ 537304 w 4717029"/>
              <a:gd name="connsiteY13" fmla="*/ 1927002 h 2310802"/>
              <a:gd name="connsiteX14" fmla="*/ 555320 w 4717029"/>
              <a:gd name="connsiteY14" fmla="*/ 1748290 h 2310802"/>
              <a:gd name="connsiteX15" fmla="*/ 1458267 w 4717029"/>
              <a:gd name="connsiteY15" fmla="*/ 1012367 h 2310802"/>
              <a:gd name="connsiteX16" fmla="*/ 2307510 w 4717029"/>
              <a:gd name="connsiteY16" fmla="*/ 1575283 h 2310802"/>
              <a:gd name="connsiteX17" fmla="*/ 2359658 w 4717029"/>
              <a:gd name="connsiteY17" fmla="*/ 1743278 h 2310802"/>
              <a:gd name="connsiteX18" fmla="*/ 2697671 w 4717029"/>
              <a:gd name="connsiteY18" fmla="*/ 1743278 h 2310802"/>
              <a:gd name="connsiteX19" fmla="*/ 2691684 w 4717029"/>
              <a:gd name="connsiteY19" fmla="*/ 1683894 h 2310802"/>
              <a:gd name="connsiteX20" fmla="*/ 3479644 w 4717029"/>
              <a:gd name="connsiteY20" fmla="*/ 895934 h 2310802"/>
              <a:gd name="connsiteX21" fmla="*/ 3555657 w 4717029"/>
              <a:gd name="connsiteY21" fmla="*/ 899772 h 2310802"/>
              <a:gd name="connsiteX22" fmla="*/ 3556684 w 4717029"/>
              <a:gd name="connsiteY22" fmla="*/ 889585 h 2310802"/>
              <a:gd name="connsiteX23" fmla="*/ 4648168 w 4717029"/>
              <a:gd name="connsiteY23"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16268 w 4717029"/>
              <a:gd name="connsiteY12" fmla="*/ 1924881 h 2310802"/>
              <a:gd name="connsiteX13" fmla="*/ 555320 w 4717029"/>
              <a:gd name="connsiteY13" fmla="*/ 1748290 h 2310802"/>
              <a:gd name="connsiteX14" fmla="*/ 1458267 w 4717029"/>
              <a:gd name="connsiteY14" fmla="*/ 1012367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55320 w 4717029"/>
              <a:gd name="connsiteY13" fmla="*/ 1748290 h 2310802"/>
              <a:gd name="connsiteX14" fmla="*/ 1458267 w 4717029"/>
              <a:gd name="connsiteY14" fmla="*/ 1012367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55320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55320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55320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73608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73608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73608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479620 w 4717029"/>
              <a:gd name="connsiteY14" fmla="*/ 1020114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6903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76504 w 4745365"/>
              <a:gd name="connsiteY0" fmla="*/ 0 h 2310802"/>
              <a:gd name="connsiteX1" fmla="*/ 4745365 w 4745365"/>
              <a:gd name="connsiteY1" fmla="*/ 3477 h 2310802"/>
              <a:gd name="connsiteX2" fmla="*/ 4745365 w 4745365"/>
              <a:gd name="connsiteY2" fmla="*/ 2224761 h 2310802"/>
              <a:gd name="connsiteX3" fmla="*/ 4676504 w 4745365"/>
              <a:gd name="connsiteY3" fmla="*/ 2228238 h 2310802"/>
              <a:gd name="connsiteX4" fmla="*/ 4193487 w 4745365"/>
              <a:gd name="connsiteY4" fmla="*/ 2118374 h 2310802"/>
              <a:gd name="connsiteX5" fmla="*/ 4171520 w 4745365"/>
              <a:gd name="connsiteY5" fmla="*/ 2105748 h 2310802"/>
              <a:gd name="connsiteX6" fmla="*/ 4161369 w 4745365"/>
              <a:gd name="connsiteY6" fmla="*/ 2124450 h 2310802"/>
              <a:gd name="connsiteX7" fmla="*/ 4065152 w 4745365"/>
              <a:gd name="connsiteY7" fmla="*/ 2241066 h 2310802"/>
              <a:gd name="connsiteX8" fmla="*/ 3986221 w 4745365"/>
              <a:gd name="connsiteY8" fmla="*/ 2306190 h 2310802"/>
              <a:gd name="connsiteX9" fmla="*/ 3986221 w 4745365"/>
              <a:gd name="connsiteY9" fmla="*/ 2310802 h 2310802"/>
              <a:gd name="connsiteX10" fmla="*/ 0 w 4745365"/>
              <a:gd name="connsiteY10" fmla="*/ 2310802 h 2310802"/>
              <a:gd name="connsiteX11" fmla="*/ 45422 w 4745365"/>
              <a:gd name="connsiteY11" fmla="*/ 2255761 h 2310802"/>
              <a:gd name="connsiteX12" fmla="*/ 551119 w 4745365"/>
              <a:gd name="connsiteY12" fmla="*/ 1890083 h 2310802"/>
              <a:gd name="connsiteX13" fmla="*/ 575332 w 4745365"/>
              <a:gd name="connsiteY13" fmla="*/ 1748290 h 2310802"/>
              <a:gd name="connsiteX14" fmla="*/ 1504807 w 4745365"/>
              <a:gd name="connsiteY14" fmla="*/ 1035989 h 2310802"/>
              <a:gd name="connsiteX15" fmla="*/ 2335846 w 4745365"/>
              <a:gd name="connsiteY15" fmla="*/ 1575283 h 2310802"/>
              <a:gd name="connsiteX16" fmla="*/ 2387994 w 4745365"/>
              <a:gd name="connsiteY16" fmla="*/ 1743278 h 2310802"/>
              <a:gd name="connsiteX17" fmla="*/ 2726007 w 4745365"/>
              <a:gd name="connsiteY17" fmla="*/ 1743278 h 2310802"/>
              <a:gd name="connsiteX18" fmla="*/ 2720020 w 4745365"/>
              <a:gd name="connsiteY18" fmla="*/ 1683894 h 2310802"/>
              <a:gd name="connsiteX19" fmla="*/ 3507980 w 4745365"/>
              <a:gd name="connsiteY19" fmla="*/ 895934 h 2310802"/>
              <a:gd name="connsiteX20" fmla="*/ 3583993 w 4745365"/>
              <a:gd name="connsiteY20" fmla="*/ 899772 h 2310802"/>
              <a:gd name="connsiteX21" fmla="*/ 3585020 w 4745365"/>
              <a:gd name="connsiteY21" fmla="*/ 889585 h 2310802"/>
              <a:gd name="connsiteX22" fmla="*/ 4676504 w 4745365"/>
              <a:gd name="connsiteY22" fmla="*/ 0 h 2310802"/>
              <a:gd name="connsiteX0" fmla="*/ 4676504 w 4745365"/>
              <a:gd name="connsiteY0" fmla="*/ 0 h 2310802"/>
              <a:gd name="connsiteX1" fmla="*/ 4745365 w 4745365"/>
              <a:gd name="connsiteY1" fmla="*/ 3477 h 2310802"/>
              <a:gd name="connsiteX2" fmla="*/ 4745365 w 4745365"/>
              <a:gd name="connsiteY2" fmla="*/ 2224761 h 2310802"/>
              <a:gd name="connsiteX3" fmla="*/ 4676504 w 4745365"/>
              <a:gd name="connsiteY3" fmla="*/ 2228238 h 2310802"/>
              <a:gd name="connsiteX4" fmla="*/ 4193487 w 4745365"/>
              <a:gd name="connsiteY4" fmla="*/ 2118374 h 2310802"/>
              <a:gd name="connsiteX5" fmla="*/ 4171520 w 4745365"/>
              <a:gd name="connsiteY5" fmla="*/ 2105748 h 2310802"/>
              <a:gd name="connsiteX6" fmla="*/ 4161369 w 4745365"/>
              <a:gd name="connsiteY6" fmla="*/ 2124450 h 2310802"/>
              <a:gd name="connsiteX7" fmla="*/ 4065152 w 4745365"/>
              <a:gd name="connsiteY7" fmla="*/ 2241066 h 2310802"/>
              <a:gd name="connsiteX8" fmla="*/ 3986221 w 4745365"/>
              <a:gd name="connsiteY8" fmla="*/ 2306190 h 2310802"/>
              <a:gd name="connsiteX9" fmla="*/ 3986221 w 4745365"/>
              <a:gd name="connsiteY9" fmla="*/ 2310802 h 2310802"/>
              <a:gd name="connsiteX10" fmla="*/ 0 w 4745365"/>
              <a:gd name="connsiteY10" fmla="*/ 2310802 h 2310802"/>
              <a:gd name="connsiteX11" fmla="*/ 35977 w 4745365"/>
              <a:gd name="connsiteY11" fmla="*/ 2249411 h 2310802"/>
              <a:gd name="connsiteX12" fmla="*/ 551119 w 4745365"/>
              <a:gd name="connsiteY12" fmla="*/ 1890083 h 2310802"/>
              <a:gd name="connsiteX13" fmla="*/ 575332 w 4745365"/>
              <a:gd name="connsiteY13" fmla="*/ 1748290 h 2310802"/>
              <a:gd name="connsiteX14" fmla="*/ 1504807 w 4745365"/>
              <a:gd name="connsiteY14" fmla="*/ 1035989 h 2310802"/>
              <a:gd name="connsiteX15" fmla="*/ 2335846 w 4745365"/>
              <a:gd name="connsiteY15" fmla="*/ 1575283 h 2310802"/>
              <a:gd name="connsiteX16" fmla="*/ 2387994 w 4745365"/>
              <a:gd name="connsiteY16" fmla="*/ 1743278 h 2310802"/>
              <a:gd name="connsiteX17" fmla="*/ 2726007 w 4745365"/>
              <a:gd name="connsiteY17" fmla="*/ 1743278 h 2310802"/>
              <a:gd name="connsiteX18" fmla="*/ 2720020 w 4745365"/>
              <a:gd name="connsiteY18" fmla="*/ 1683894 h 2310802"/>
              <a:gd name="connsiteX19" fmla="*/ 3507980 w 4745365"/>
              <a:gd name="connsiteY19" fmla="*/ 895934 h 2310802"/>
              <a:gd name="connsiteX20" fmla="*/ 3583993 w 4745365"/>
              <a:gd name="connsiteY20" fmla="*/ 899772 h 2310802"/>
              <a:gd name="connsiteX21" fmla="*/ 3585020 w 4745365"/>
              <a:gd name="connsiteY21" fmla="*/ 889585 h 2310802"/>
              <a:gd name="connsiteX22" fmla="*/ 4676504 w 4745365"/>
              <a:gd name="connsiteY22" fmla="*/ 0 h 2310802"/>
              <a:gd name="connsiteX0" fmla="*/ 4676504 w 4745365"/>
              <a:gd name="connsiteY0" fmla="*/ 0 h 2310802"/>
              <a:gd name="connsiteX1" fmla="*/ 4745365 w 4745365"/>
              <a:gd name="connsiteY1" fmla="*/ 3477 h 2310802"/>
              <a:gd name="connsiteX2" fmla="*/ 4745365 w 4745365"/>
              <a:gd name="connsiteY2" fmla="*/ 2224761 h 2310802"/>
              <a:gd name="connsiteX3" fmla="*/ 4676504 w 4745365"/>
              <a:gd name="connsiteY3" fmla="*/ 2228238 h 2310802"/>
              <a:gd name="connsiteX4" fmla="*/ 4193487 w 4745365"/>
              <a:gd name="connsiteY4" fmla="*/ 2118374 h 2310802"/>
              <a:gd name="connsiteX5" fmla="*/ 4171520 w 4745365"/>
              <a:gd name="connsiteY5" fmla="*/ 2105748 h 2310802"/>
              <a:gd name="connsiteX6" fmla="*/ 4161369 w 4745365"/>
              <a:gd name="connsiteY6" fmla="*/ 2124450 h 2310802"/>
              <a:gd name="connsiteX7" fmla="*/ 4065152 w 4745365"/>
              <a:gd name="connsiteY7" fmla="*/ 2241066 h 2310802"/>
              <a:gd name="connsiteX8" fmla="*/ 3986221 w 4745365"/>
              <a:gd name="connsiteY8" fmla="*/ 2306190 h 2310802"/>
              <a:gd name="connsiteX9" fmla="*/ 3986221 w 4745365"/>
              <a:gd name="connsiteY9" fmla="*/ 2310802 h 2310802"/>
              <a:gd name="connsiteX10" fmla="*/ 0 w 4745365"/>
              <a:gd name="connsiteY10" fmla="*/ 2310802 h 2310802"/>
              <a:gd name="connsiteX11" fmla="*/ 35977 w 4745365"/>
              <a:gd name="connsiteY11" fmla="*/ 2249411 h 2310802"/>
              <a:gd name="connsiteX12" fmla="*/ 551119 w 4745365"/>
              <a:gd name="connsiteY12" fmla="*/ 1890083 h 2310802"/>
              <a:gd name="connsiteX13" fmla="*/ 575332 w 4745365"/>
              <a:gd name="connsiteY13" fmla="*/ 1748290 h 2310802"/>
              <a:gd name="connsiteX14" fmla="*/ 1504807 w 4745365"/>
              <a:gd name="connsiteY14" fmla="*/ 1035989 h 2310802"/>
              <a:gd name="connsiteX15" fmla="*/ 2335846 w 4745365"/>
              <a:gd name="connsiteY15" fmla="*/ 1575283 h 2310802"/>
              <a:gd name="connsiteX16" fmla="*/ 2387994 w 4745365"/>
              <a:gd name="connsiteY16" fmla="*/ 1743278 h 2310802"/>
              <a:gd name="connsiteX17" fmla="*/ 2726007 w 4745365"/>
              <a:gd name="connsiteY17" fmla="*/ 1743278 h 2310802"/>
              <a:gd name="connsiteX18" fmla="*/ 2720020 w 4745365"/>
              <a:gd name="connsiteY18" fmla="*/ 1683894 h 2310802"/>
              <a:gd name="connsiteX19" fmla="*/ 3507980 w 4745365"/>
              <a:gd name="connsiteY19" fmla="*/ 895934 h 2310802"/>
              <a:gd name="connsiteX20" fmla="*/ 3583993 w 4745365"/>
              <a:gd name="connsiteY20" fmla="*/ 899772 h 2310802"/>
              <a:gd name="connsiteX21" fmla="*/ 3585020 w 4745365"/>
              <a:gd name="connsiteY21" fmla="*/ 889585 h 2310802"/>
              <a:gd name="connsiteX22" fmla="*/ 4676504 w 4745365"/>
              <a:gd name="connsiteY22" fmla="*/ 0 h 2310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45365" h="2310802">
                <a:moveTo>
                  <a:pt x="4676504" y="0"/>
                </a:moveTo>
                <a:lnTo>
                  <a:pt x="4745365" y="3477"/>
                </a:lnTo>
                <a:lnTo>
                  <a:pt x="4745365" y="2224761"/>
                </a:lnTo>
                <a:lnTo>
                  <a:pt x="4676504" y="2228238"/>
                </a:lnTo>
                <a:cubicBezTo>
                  <a:pt x="4503447" y="2228238"/>
                  <a:pt x="4339607" y="2188782"/>
                  <a:pt x="4193487" y="2118374"/>
                </a:cubicBezTo>
                <a:lnTo>
                  <a:pt x="4171520" y="2105748"/>
                </a:lnTo>
                <a:lnTo>
                  <a:pt x="4161369" y="2124450"/>
                </a:lnTo>
                <a:cubicBezTo>
                  <a:pt x="4133048" y="2166370"/>
                  <a:pt x="4100800" y="2205418"/>
                  <a:pt x="4065152" y="2241066"/>
                </a:cubicBezTo>
                <a:lnTo>
                  <a:pt x="3986221" y="2306190"/>
                </a:lnTo>
                <a:lnTo>
                  <a:pt x="3986221" y="2310802"/>
                </a:lnTo>
                <a:lnTo>
                  <a:pt x="0" y="2310802"/>
                </a:lnTo>
                <a:lnTo>
                  <a:pt x="35977" y="2249411"/>
                </a:lnTo>
                <a:cubicBezTo>
                  <a:pt x="146556" y="2054967"/>
                  <a:pt x="326716" y="1890083"/>
                  <a:pt x="551119" y="1890083"/>
                </a:cubicBezTo>
                <a:cubicBezTo>
                  <a:pt x="553569" y="1819535"/>
                  <a:pt x="576031" y="1793438"/>
                  <a:pt x="575332" y="1748290"/>
                </a:cubicBezTo>
                <a:cubicBezTo>
                  <a:pt x="699055" y="1334650"/>
                  <a:pt x="1082288" y="1035078"/>
                  <a:pt x="1504807" y="1035989"/>
                </a:cubicBezTo>
                <a:cubicBezTo>
                  <a:pt x="1865747" y="1036767"/>
                  <a:pt x="2195928" y="1244481"/>
                  <a:pt x="2335846" y="1575283"/>
                </a:cubicBezTo>
                <a:lnTo>
                  <a:pt x="2387994" y="1743278"/>
                </a:lnTo>
                <a:lnTo>
                  <a:pt x="2726007" y="1743278"/>
                </a:lnTo>
                <a:lnTo>
                  <a:pt x="2720020" y="1683894"/>
                </a:lnTo>
                <a:cubicBezTo>
                  <a:pt x="2720020" y="1248716"/>
                  <a:pt x="3072802" y="895934"/>
                  <a:pt x="3507980" y="895934"/>
                </a:cubicBezTo>
                <a:lnTo>
                  <a:pt x="3583993" y="899772"/>
                </a:lnTo>
                <a:cubicBezTo>
                  <a:pt x="3584335" y="896376"/>
                  <a:pt x="3584678" y="892981"/>
                  <a:pt x="3585020" y="889585"/>
                </a:cubicBezTo>
                <a:cubicBezTo>
                  <a:pt x="3688907" y="381900"/>
                  <a:pt x="4138107" y="0"/>
                  <a:pt x="467650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rIns="137160" bIns="91440" rtlCol="0" anchor="ctr">
            <a:noAutofit/>
          </a:bodyP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10" name="Freeform 9">
            <a:extLst>
              <a:ext uri="{FF2B5EF4-FFF2-40B4-BE49-F238E27FC236}">
                <a16:creationId xmlns:a16="http://schemas.microsoft.com/office/drawing/2014/main" id="{A2CA057F-2159-2446-B2DE-CA6F11ED5ED4}"/>
              </a:ext>
            </a:extLst>
          </p:cNvPr>
          <p:cNvSpPr/>
          <p:nvPr userDrawn="1"/>
        </p:nvSpPr>
        <p:spPr>
          <a:xfrm>
            <a:off x="7727999" y="4675235"/>
            <a:ext cx="4461444" cy="2182765"/>
          </a:xfrm>
          <a:custGeom>
            <a:avLst/>
            <a:gdLst>
              <a:gd name="connsiteX0" fmla="*/ 4461444 w 4461444"/>
              <a:gd name="connsiteY0" fmla="*/ 0 h 2182765"/>
              <a:gd name="connsiteX1" fmla="*/ 4461444 w 4461444"/>
              <a:gd name="connsiteY1" fmla="*/ 2182765 h 2182765"/>
              <a:gd name="connsiteX2" fmla="*/ 0 w 4461444"/>
              <a:gd name="connsiteY2" fmla="*/ 2182765 h 2182765"/>
              <a:gd name="connsiteX3" fmla="*/ 24342 w 4461444"/>
              <a:gd name="connsiteY3" fmla="*/ 2153263 h 2182765"/>
              <a:gd name="connsiteX4" fmla="*/ 481037 w 4461444"/>
              <a:gd name="connsiteY4" fmla="*/ 1964093 h 2182765"/>
              <a:gd name="connsiteX5" fmla="*/ 732436 w 4461444"/>
              <a:gd name="connsiteY5" fmla="*/ 2014848 h 2182765"/>
              <a:gd name="connsiteX6" fmla="*/ 787285 w 4461444"/>
              <a:gd name="connsiteY6" fmla="*/ 2044619 h 2182765"/>
              <a:gd name="connsiteX7" fmla="*/ 809805 w 4461444"/>
              <a:gd name="connsiteY7" fmla="*/ 1961250 h 2182765"/>
              <a:gd name="connsiteX8" fmla="*/ 1286315 w 4461444"/>
              <a:gd name="connsiteY8" fmla="*/ 1550577 h 2182765"/>
              <a:gd name="connsiteX9" fmla="*/ 1321466 w 4461444"/>
              <a:gd name="connsiteY9" fmla="*/ 1547033 h 2182765"/>
              <a:gd name="connsiteX10" fmla="*/ 1323271 w 4461444"/>
              <a:gd name="connsiteY10" fmla="*/ 1529127 h 2182765"/>
              <a:gd name="connsiteX11" fmla="*/ 2205095 w 4461444"/>
              <a:gd name="connsiteY11" fmla="*/ 810420 h 2182765"/>
              <a:gd name="connsiteX12" fmla="*/ 2708356 w 4461444"/>
              <a:gd name="connsiteY12" fmla="*/ 964145 h 2182765"/>
              <a:gd name="connsiteX13" fmla="*/ 2798296 w 4461444"/>
              <a:gd name="connsiteY13" fmla="*/ 1038353 h 2182765"/>
              <a:gd name="connsiteX14" fmla="*/ 2868637 w 4461444"/>
              <a:gd name="connsiteY14" fmla="*/ 1020266 h 2182765"/>
              <a:gd name="connsiteX15" fmla="*/ 3050041 w 4461444"/>
              <a:gd name="connsiteY15" fmla="*/ 1001979 h 2182765"/>
              <a:gd name="connsiteX16" fmla="*/ 3231445 w 4461444"/>
              <a:gd name="connsiteY16" fmla="*/ 1020266 h 2182765"/>
              <a:gd name="connsiteX17" fmla="*/ 3245588 w 4461444"/>
              <a:gd name="connsiteY17" fmla="*/ 1023903 h 2182765"/>
              <a:gd name="connsiteX18" fmla="*/ 3297823 w 4461444"/>
              <a:gd name="connsiteY18" fmla="*/ 960592 h 2182765"/>
              <a:gd name="connsiteX19" fmla="*/ 3934298 w 4461444"/>
              <a:gd name="connsiteY19" fmla="*/ 696956 h 2182765"/>
              <a:gd name="connsiteX20" fmla="*/ 4115702 w 4461444"/>
              <a:gd name="connsiteY20" fmla="*/ 715243 h 2182765"/>
              <a:gd name="connsiteX21" fmla="*/ 4127211 w 4461444"/>
              <a:gd name="connsiteY21" fmla="*/ 718203 h 2182765"/>
              <a:gd name="connsiteX22" fmla="*/ 4126073 w 4461444"/>
              <a:gd name="connsiteY22" fmla="*/ 695661 h 2182765"/>
              <a:gd name="connsiteX23" fmla="*/ 4389709 w 4461444"/>
              <a:gd name="connsiteY23" fmla="*/ 59186 h 2182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461444" h="2182765">
                <a:moveTo>
                  <a:pt x="4461444" y="0"/>
                </a:moveTo>
                <a:lnTo>
                  <a:pt x="4461444" y="2182765"/>
                </a:lnTo>
                <a:lnTo>
                  <a:pt x="0" y="2182765"/>
                </a:lnTo>
                <a:lnTo>
                  <a:pt x="24342" y="2153263"/>
                </a:lnTo>
                <a:cubicBezTo>
                  <a:pt x="141221" y="2036384"/>
                  <a:pt x="302687" y="1964093"/>
                  <a:pt x="481037" y="1964093"/>
                </a:cubicBezTo>
                <a:cubicBezTo>
                  <a:pt x="570212" y="1964093"/>
                  <a:pt x="655166" y="1982166"/>
                  <a:pt x="732436" y="2014848"/>
                </a:cubicBezTo>
                <a:lnTo>
                  <a:pt x="787285" y="2044619"/>
                </a:lnTo>
                <a:lnTo>
                  <a:pt x="809805" y="1961250"/>
                </a:lnTo>
                <a:cubicBezTo>
                  <a:pt x="885867" y="1753515"/>
                  <a:pt x="1065582" y="1595745"/>
                  <a:pt x="1286315" y="1550577"/>
                </a:cubicBezTo>
                <a:lnTo>
                  <a:pt x="1321466" y="1547033"/>
                </a:lnTo>
                <a:lnTo>
                  <a:pt x="1323271" y="1529127"/>
                </a:lnTo>
                <a:cubicBezTo>
                  <a:pt x="1407203" y="1118962"/>
                  <a:pt x="1770117" y="810420"/>
                  <a:pt x="2205095" y="810420"/>
                </a:cubicBezTo>
                <a:cubicBezTo>
                  <a:pt x="2391514" y="810420"/>
                  <a:pt x="2564697" y="867091"/>
                  <a:pt x="2708356" y="964145"/>
                </a:cubicBezTo>
                <a:lnTo>
                  <a:pt x="2798296" y="1038353"/>
                </a:lnTo>
                <a:lnTo>
                  <a:pt x="2868637" y="1020266"/>
                </a:lnTo>
                <a:cubicBezTo>
                  <a:pt x="2927232" y="1008276"/>
                  <a:pt x="2987901" y="1001979"/>
                  <a:pt x="3050041" y="1001979"/>
                </a:cubicBezTo>
                <a:cubicBezTo>
                  <a:pt x="3112181" y="1001979"/>
                  <a:pt x="3172850" y="1008276"/>
                  <a:pt x="3231445" y="1020266"/>
                </a:cubicBezTo>
                <a:lnTo>
                  <a:pt x="3245588" y="1023903"/>
                </a:lnTo>
                <a:lnTo>
                  <a:pt x="3297823" y="960592"/>
                </a:lnTo>
                <a:cubicBezTo>
                  <a:pt x="3460711" y="797704"/>
                  <a:pt x="3685739" y="696956"/>
                  <a:pt x="3934298" y="696956"/>
                </a:cubicBezTo>
                <a:cubicBezTo>
                  <a:pt x="3996438" y="696956"/>
                  <a:pt x="4057107" y="703253"/>
                  <a:pt x="4115702" y="715243"/>
                </a:cubicBezTo>
                <a:lnTo>
                  <a:pt x="4127211" y="718203"/>
                </a:lnTo>
                <a:lnTo>
                  <a:pt x="4126073" y="695661"/>
                </a:lnTo>
                <a:cubicBezTo>
                  <a:pt x="4126073" y="447102"/>
                  <a:pt x="4226821" y="222074"/>
                  <a:pt x="4389709" y="59186"/>
                </a:cubicBezTo>
                <a:close/>
              </a:path>
            </a:pathLst>
          </a:custGeom>
          <a:solidFill>
            <a:schemeClr val="bg1"/>
          </a:solidFill>
          <a:ln>
            <a:noFill/>
          </a:ln>
          <a:effectLst>
            <a:outerShdw blurRad="279400" dist="76200" dir="13800000"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37160" tIns="91440" rIns="137160" bIns="91440" rtlCol="0" anchor="ctr">
            <a:noAutofit/>
          </a:bodyPr>
          <a:lstStyle/>
          <a:p>
            <a:pPr lvl="0"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8" name="Text Placeholder 23"/>
          <p:cNvSpPr>
            <a:spLocks noGrp="1"/>
          </p:cNvSpPr>
          <p:nvPr>
            <p:ph type="body" sz="quarter" idx="11"/>
          </p:nvPr>
        </p:nvSpPr>
        <p:spPr>
          <a:xfrm>
            <a:off x="1027112" y="2330050"/>
            <a:ext cx="8856475" cy="1292860"/>
          </a:xfrm>
          <a:prstGeom prst="rect">
            <a:avLst/>
          </a:prstGeom>
        </p:spPr>
        <p:txBody>
          <a:bodyPr anchor="b"/>
          <a:lstStyle>
            <a:lvl1pPr marL="0" indent="0">
              <a:buNone/>
              <a:defRPr sz="4800" b="0" i="0">
                <a:solidFill>
                  <a:schemeClr val="bg1"/>
                </a:solidFill>
                <a:latin typeface="+mj-lt"/>
                <a:ea typeface="Roboto Light" panose="02000000000000000000" pitchFamily="2" charset="0"/>
                <a:cs typeface="Roboto Light" panose="02000000000000000000" pitchFamily="2" charset="0"/>
              </a:defRPr>
            </a:lvl1pPr>
            <a:lvl2pPr marL="457108" indent="0">
              <a:buNone/>
              <a:defRPr/>
            </a:lvl2pPr>
            <a:lvl3pPr marL="914217" indent="0">
              <a:buNone/>
              <a:defRPr/>
            </a:lvl3pPr>
            <a:lvl4pPr marL="1371326" indent="0">
              <a:buNone/>
              <a:defRPr/>
            </a:lvl4pPr>
            <a:lvl5pPr marL="1828435" indent="0">
              <a:buNone/>
              <a:defRPr/>
            </a:lvl5pPr>
          </a:lstStyle>
          <a:p>
            <a:pPr lvl="0"/>
            <a:endParaRPr lang="en-US"/>
          </a:p>
        </p:txBody>
      </p:sp>
      <p:sp>
        <p:nvSpPr>
          <p:cNvPr id="6" name="Text Placeholder 27">
            <a:extLst>
              <a:ext uri="{FF2B5EF4-FFF2-40B4-BE49-F238E27FC236}">
                <a16:creationId xmlns:a16="http://schemas.microsoft.com/office/drawing/2014/main" id="{6D464F48-702C-470A-84C0-4DE06B9EE062}"/>
              </a:ext>
            </a:extLst>
          </p:cNvPr>
          <p:cNvSpPr>
            <a:spLocks noGrp="1"/>
          </p:cNvSpPr>
          <p:nvPr>
            <p:ph type="body" sz="quarter" idx="13"/>
          </p:nvPr>
        </p:nvSpPr>
        <p:spPr bwMode="gray">
          <a:xfrm>
            <a:off x="1141412" y="3677775"/>
            <a:ext cx="6045771" cy="475487"/>
          </a:xfrm>
          <a:prstGeom prst="rect">
            <a:avLst/>
          </a:prstGeom>
        </p:spPr>
        <p:txBody>
          <a:bodyPr vert="horz" lIns="0" tIns="0" rIns="0" bIns="0" rtlCol="0">
            <a:noAutofit/>
          </a:bodyPr>
          <a:lstStyle>
            <a:lvl1pPr marL="0" indent="0">
              <a:buNone/>
              <a:defRPr lang="en-US" sz="2800" i="0" baseline="0" dirty="0">
                <a:solidFill>
                  <a:schemeClr val="bg1"/>
                </a:solidFill>
                <a:latin typeface="Roboto Light" panose="02000000000000000000" pitchFamily="2" charset="0"/>
                <a:ea typeface="Roboto Light" panose="02000000000000000000" pitchFamily="2" charset="0"/>
                <a:cs typeface="Roboto Light" panose="02000000000000000000" pitchFamily="2" charset="0"/>
              </a:defRPr>
            </a:lvl1pPr>
          </a:lstStyle>
          <a:p>
            <a:pPr marL="173038" lvl="0" indent="-173038"/>
            <a:endParaRPr lang="en-US"/>
          </a:p>
        </p:txBody>
      </p:sp>
      <p:pic>
        <p:nvPicPr>
          <p:cNvPr id="14" name="Picture 13">
            <a:extLst>
              <a:ext uri="{FF2B5EF4-FFF2-40B4-BE49-F238E27FC236}">
                <a16:creationId xmlns:a16="http://schemas.microsoft.com/office/drawing/2014/main" id="{BFAF711D-501A-4582-91C7-27EE8809BC53}"/>
              </a:ext>
            </a:extLst>
          </p:cNvPr>
          <p:cNvPicPr>
            <a:picLocks noChangeAspect="1"/>
          </p:cNvPicPr>
          <p:nvPr userDrawn="1"/>
        </p:nvPicPr>
        <p:blipFill>
          <a:blip r:embed="rId3"/>
          <a:stretch>
            <a:fillRect/>
          </a:stretch>
        </p:blipFill>
        <p:spPr>
          <a:xfrm>
            <a:off x="9743687" y="6098796"/>
            <a:ext cx="2040934" cy="699990"/>
          </a:xfrm>
          <a:prstGeom prst="rect">
            <a:avLst/>
          </a:prstGeom>
        </p:spPr>
      </p:pic>
    </p:spTree>
    <p:extLst>
      <p:ext uri="{BB962C8B-B14F-4D97-AF65-F5344CB8AC3E}">
        <p14:creationId xmlns:p14="http://schemas.microsoft.com/office/powerpoint/2010/main" val="3595427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65">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Subtitle ORANGE 2">
    <p:bg>
      <p:bgPr>
        <a:solidFill>
          <a:schemeClr val="accent2"/>
        </a:solidFill>
        <a:effectLst/>
      </p:bgPr>
    </p:bg>
    <p:spTree>
      <p:nvGrpSpPr>
        <p:cNvPr id="1" name=""/>
        <p:cNvGrpSpPr/>
        <p:nvPr/>
      </p:nvGrpSpPr>
      <p:grpSpPr>
        <a:xfrm>
          <a:off x="0" y="0"/>
          <a:ext cx="0" cy="0"/>
          <a:chOff x="0" y="0"/>
          <a:chExt cx="0" cy="0"/>
        </a:xfrm>
      </p:grpSpPr>
      <p:sp>
        <p:nvSpPr>
          <p:cNvPr id="7" name="Right Triangle 6">
            <a:extLst>
              <a:ext uri="{FF2B5EF4-FFF2-40B4-BE49-F238E27FC236}">
                <a16:creationId xmlns:a16="http://schemas.microsoft.com/office/drawing/2014/main" id="{287E6045-1D65-C348-B1AC-354A7E898359}"/>
              </a:ext>
            </a:extLst>
          </p:cNvPr>
          <p:cNvSpPr/>
          <p:nvPr userDrawn="1"/>
        </p:nvSpPr>
        <p:spPr>
          <a:xfrm rot="5400000" flipH="1">
            <a:off x="3831485" y="912771"/>
            <a:ext cx="2123832" cy="9786801"/>
          </a:xfrm>
          <a:prstGeom prst="rtTriangle">
            <a:avLst/>
          </a:prstGeom>
          <a:solidFill>
            <a:srgbClr val="FF8A1A"/>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95" name="Title 1">
            <a:extLst>
              <a:ext uri="{FF2B5EF4-FFF2-40B4-BE49-F238E27FC236}">
                <a16:creationId xmlns:a16="http://schemas.microsoft.com/office/drawing/2014/main" id="{48E5717B-9E58-49D2-9749-1479F91EEFDC}"/>
              </a:ext>
            </a:extLst>
          </p:cNvPr>
          <p:cNvSpPr>
            <a:spLocks noGrp="1"/>
          </p:cNvSpPr>
          <p:nvPr userDrawn="1">
            <p:ph type="title" hasCustomPrompt="1"/>
          </p:nvPr>
        </p:nvSpPr>
        <p:spPr>
          <a:xfrm>
            <a:off x="488950" y="482602"/>
            <a:ext cx="9670033" cy="562427"/>
          </a:xfrm>
          <a:prstGeom prst="rect">
            <a:avLst/>
          </a:prstGeom>
        </p:spPr>
        <p:txBody>
          <a:bodyPr lIns="0"/>
          <a:lstStyle>
            <a:lvl1pPr>
              <a:defRPr baseline="0">
                <a:solidFill>
                  <a:schemeClr val="bg1"/>
                </a:solidFill>
              </a:defRPr>
            </a:lvl1pPr>
          </a:lstStyle>
          <a:p>
            <a:r>
              <a:rPr lang="en-US"/>
              <a:t>Roboto Light, 36 Points, 1 Line</a:t>
            </a:r>
          </a:p>
        </p:txBody>
      </p:sp>
      <p:sp>
        <p:nvSpPr>
          <p:cNvPr id="2" name="TextBox 1">
            <a:extLst>
              <a:ext uri="{FF2B5EF4-FFF2-40B4-BE49-F238E27FC236}">
                <a16:creationId xmlns:a16="http://schemas.microsoft.com/office/drawing/2014/main" id="{9AC38ECF-A1CC-43FD-9E95-4F7D1897BA7B}"/>
              </a:ext>
            </a:extLst>
          </p:cNvPr>
          <p:cNvSpPr txBox="1"/>
          <p:nvPr userDrawn="1"/>
        </p:nvSpPr>
        <p:spPr>
          <a:xfrm>
            <a:off x="176868" y="6365106"/>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900" b="0" i="0" kern="1200" smtClean="0">
                <a:solidFill>
                  <a:schemeClr val="bg1"/>
                </a:solidFill>
                <a:latin typeface="Roboto" panose="02000000000000000000" pitchFamily="2" charset="0"/>
                <a:ea typeface="Roboto" panose="02000000000000000000" pitchFamily="2" charset="0"/>
                <a:cs typeface="Roboto" charset="0"/>
              </a:rPr>
              <a:pPr marL="0" lvl="0" algn="ctr" defTabSz="457200" rtl="0" eaLnBrk="1" latinLnBrk="0" hangingPunct="1"/>
              <a:t>‹#›</a:t>
            </a:fld>
            <a:endParaRPr lang="en-US" sz="900" b="0" i="0" kern="1200">
              <a:solidFill>
                <a:schemeClr val="bg1"/>
              </a:solidFill>
              <a:latin typeface="Roboto" panose="02000000000000000000" pitchFamily="2" charset="0"/>
              <a:ea typeface="Roboto" panose="02000000000000000000" pitchFamily="2" charset="0"/>
              <a:cs typeface="Roboto" charset="0"/>
            </a:endParaRPr>
          </a:p>
        </p:txBody>
      </p:sp>
      <p:sp>
        <p:nvSpPr>
          <p:cNvPr id="6" name="TextBox 5">
            <a:extLst>
              <a:ext uri="{FF2B5EF4-FFF2-40B4-BE49-F238E27FC236}">
                <a16:creationId xmlns:a16="http://schemas.microsoft.com/office/drawing/2014/main" id="{52025EE9-C26E-4F56-B597-3021BADF9185}"/>
              </a:ext>
            </a:extLst>
          </p:cNvPr>
          <p:cNvSpPr txBox="1"/>
          <p:nvPr userDrawn="1"/>
        </p:nvSpPr>
        <p:spPr>
          <a:xfrm>
            <a:off x="1023708"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a:solidFill>
                  <a:schemeClr val="bg1"/>
                </a:solidFill>
                <a:latin typeface="Roboto" panose="02000000000000000000" pitchFamily="2" charset="0"/>
                <a:ea typeface="Roboto" panose="02000000000000000000" pitchFamily="2" charset="0"/>
                <a:cs typeface="Roboto" charset="0"/>
              </a:rPr>
              <a:t>© Informatica. Proprietary and Confidential.</a:t>
            </a:r>
          </a:p>
        </p:txBody>
      </p:sp>
      <p:sp>
        <p:nvSpPr>
          <p:cNvPr id="8" name="Freeform 7">
            <a:extLst>
              <a:ext uri="{FF2B5EF4-FFF2-40B4-BE49-F238E27FC236}">
                <a16:creationId xmlns:a16="http://schemas.microsoft.com/office/drawing/2014/main" id="{CB2EA786-1118-C74E-A526-A88743A4B94F}"/>
              </a:ext>
            </a:extLst>
          </p:cNvPr>
          <p:cNvSpPr/>
          <p:nvPr userDrawn="1"/>
        </p:nvSpPr>
        <p:spPr>
          <a:xfrm>
            <a:off x="7407017" y="4547198"/>
            <a:ext cx="4785372" cy="2310802"/>
          </a:xfrm>
          <a:custGeom>
            <a:avLst/>
            <a:gdLst>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16268 w 4717029"/>
              <a:gd name="connsiteY12" fmla="*/ 1924881 h 2310802"/>
              <a:gd name="connsiteX13" fmla="*/ 537304 w 4717029"/>
              <a:gd name="connsiteY13" fmla="*/ 1927002 h 2310802"/>
              <a:gd name="connsiteX14" fmla="*/ 555320 w 4717029"/>
              <a:gd name="connsiteY14" fmla="*/ 1748290 h 2310802"/>
              <a:gd name="connsiteX15" fmla="*/ 1458267 w 4717029"/>
              <a:gd name="connsiteY15" fmla="*/ 1012367 h 2310802"/>
              <a:gd name="connsiteX16" fmla="*/ 2307510 w 4717029"/>
              <a:gd name="connsiteY16" fmla="*/ 1575283 h 2310802"/>
              <a:gd name="connsiteX17" fmla="*/ 2359658 w 4717029"/>
              <a:gd name="connsiteY17" fmla="*/ 1743278 h 2310802"/>
              <a:gd name="connsiteX18" fmla="*/ 2697671 w 4717029"/>
              <a:gd name="connsiteY18" fmla="*/ 1743278 h 2310802"/>
              <a:gd name="connsiteX19" fmla="*/ 2691684 w 4717029"/>
              <a:gd name="connsiteY19" fmla="*/ 1683894 h 2310802"/>
              <a:gd name="connsiteX20" fmla="*/ 3479644 w 4717029"/>
              <a:gd name="connsiteY20" fmla="*/ 895934 h 2310802"/>
              <a:gd name="connsiteX21" fmla="*/ 3555657 w 4717029"/>
              <a:gd name="connsiteY21" fmla="*/ 899772 h 2310802"/>
              <a:gd name="connsiteX22" fmla="*/ 3556684 w 4717029"/>
              <a:gd name="connsiteY22" fmla="*/ 889585 h 2310802"/>
              <a:gd name="connsiteX23" fmla="*/ 4648168 w 4717029"/>
              <a:gd name="connsiteY23"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16268 w 4717029"/>
              <a:gd name="connsiteY12" fmla="*/ 1924881 h 2310802"/>
              <a:gd name="connsiteX13" fmla="*/ 555320 w 4717029"/>
              <a:gd name="connsiteY13" fmla="*/ 1748290 h 2310802"/>
              <a:gd name="connsiteX14" fmla="*/ 1458267 w 4717029"/>
              <a:gd name="connsiteY14" fmla="*/ 1012367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55320 w 4717029"/>
              <a:gd name="connsiteY13" fmla="*/ 1748290 h 2310802"/>
              <a:gd name="connsiteX14" fmla="*/ 1458267 w 4717029"/>
              <a:gd name="connsiteY14" fmla="*/ 1012367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55320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55320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55320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73608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73608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73608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479620 w 4717029"/>
              <a:gd name="connsiteY14" fmla="*/ 1020114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6903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76504 w 4745365"/>
              <a:gd name="connsiteY0" fmla="*/ 0 h 2310802"/>
              <a:gd name="connsiteX1" fmla="*/ 4745365 w 4745365"/>
              <a:gd name="connsiteY1" fmla="*/ 3477 h 2310802"/>
              <a:gd name="connsiteX2" fmla="*/ 4745365 w 4745365"/>
              <a:gd name="connsiteY2" fmla="*/ 2224761 h 2310802"/>
              <a:gd name="connsiteX3" fmla="*/ 4676504 w 4745365"/>
              <a:gd name="connsiteY3" fmla="*/ 2228238 h 2310802"/>
              <a:gd name="connsiteX4" fmla="*/ 4193487 w 4745365"/>
              <a:gd name="connsiteY4" fmla="*/ 2118374 h 2310802"/>
              <a:gd name="connsiteX5" fmla="*/ 4171520 w 4745365"/>
              <a:gd name="connsiteY5" fmla="*/ 2105748 h 2310802"/>
              <a:gd name="connsiteX6" fmla="*/ 4161369 w 4745365"/>
              <a:gd name="connsiteY6" fmla="*/ 2124450 h 2310802"/>
              <a:gd name="connsiteX7" fmla="*/ 4065152 w 4745365"/>
              <a:gd name="connsiteY7" fmla="*/ 2241066 h 2310802"/>
              <a:gd name="connsiteX8" fmla="*/ 3986221 w 4745365"/>
              <a:gd name="connsiteY8" fmla="*/ 2306190 h 2310802"/>
              <a:gd name="connsiteX9" fmla="*/ 3986221 w 4745365"/>
              <a:gd name="connsiteY9" fmla="*/ 2310802 h 2310802"/>
              <a:gd name="connsiteX10" fmla="*/ 0 w 4745365"/>
              <a:gd name="connsiteY10" fmla="*/ 2310802 h 2310802"/>
              <a:gd name="connsiteX11" fmla="*/ 45422 w 4745365"/>
              <a:gd name="connsiteY11" fmla="*/ 2255761 h 2310802"/>
              <a:gd name="connsiteX12" fmla="*/ 551119 w 4745365"/>
              <a:gd name="connsiteY12" fmla="*/ 1890083 h 2310802"/>
              <a:gd name="connsiteX13" fmla="*/ 575332 w 4745365"/>
              <a:gd name="connsiteY13" fmla="*/ 1748290 h 2310802"/>
              <a:gd name="connsiteX14" fmla="*/ 1504807 w 4745365"/>
              <a:gd name="connsiteY14" fmla="*/ 1035989 h 2310802"/>
              <a:gd name="connsiteX15" fmla="*/ 2335846 w 4745365"/>
              <a:gd name="connsiteY15" fmla="*/ 1575283 h 2310802"/>
              <a:gd name="connsiteX16" fmla="*/ 2387994 w 4745365"/>
              <a:gd name="connsiteY16" fmla="*/ 1743278 h 2310802"/>
              <a:gd name="connsiteX17" fmla="*/ 2726007 w 4745365"/>
              <a:gd name="connsiteY17" fmla="*/ 1743278 h 2310802"/>
              <a:gd name="connsiteX18" fmla="*/ 2720020 w 4745365"/>
              <a:gd name="connsiteY18" fmla="*/ 1683894 h 2310802"/>
              <a:gd name="connsiteX19" fmla="*/ 3507980 w 4745365"/>
              <a:gd name="connsiteY19" fmla="*/ 895934 h 2310802"/>
              <a:gd name="connsiteX20" fmla="*/ 3583993 w 4745365"/>
              <a:gd name="connsiteY20" fmla="*/ 899772 h 2310802"/>
              <a:gd name="connsiteX21" fmla="*/ 3585020 w 4745365"/>
              <a:gd name="connsiteY21" fmla="*/ 889585 h 2310802"/>
              <a:gd name="connsiteX22" fmla="*/ 4676504 w 4745365"/>
              <a:gd name="connsiteY22" fmla="*/ 0 h 2310802"/>
              <a:gd name="connsiteX0" fmla="*/ 4676504 w 4745365"/>
              <a:gd name="connsiteY0" fmla="*/ 0 h 2310802"/>
              <a:gd name="connsiteX1" fmla="*/ 4745365 w 4745365"/>
              <a:gd name="connsiteY1" fmla="*/ 3477 h 2310802"/>
              <a:gd name="connsiteX2" fmla="*/ 4745365 w 4745365"/>
              <a:gd name="connsiteY2" fmla="*/ 2224761 h 2310802"/>
              <a:gd name="connsiteX3" fmla="*/ 4676504 w 4745365"/>
              <a:gd name="connsiteY3" fmla="*/ 2228238 h 2310802"/>
              <a:gd name="connsiteX4" fmla="*/ 4193487 w 4745365"/>
              <a:gd name="connsiteY4" fmla="*/ 2118374 h 2310802"/>
              <a:gd name="connsiteX5" fmla="*/ 4171520 w 4745365"/>
              <a:gd name="connsiteY5" fmla="*/ 2105748 h 2310802"/>
              <a:gd name="connsiteX6" fmla="*/ 4161369 w 4745365"/>
              <a:gd name="connsiteY6" fmla="*/ 2124450 h 2310802"/>
              <a:gd name="connsiteX7" fmla="*/ 4065152 w 4745365"/>
              <a:gd name="connsiteY7" fmla="*/ 2241066 h 2310802"/>
              <a:gd name="connsiteX8" fmla="*/ 3986221 w 4745365"/>
              <a:gd name="connsiteY8" fmla="*/ 2306190 h 2310802"/>
              <a:gd name="connsiteX9" fmla="*/ 3986221 w 4745365"/>
              <a:gd name="connsiteY9" fmla="*/ 2310802 h 2310802"/>
              <a:gd name="connsiteX10" fmla="*/ 0 w 4745365"/>
              <a:gd name="connsiteY10" fmla="*/ 2310802 h 2310802"/>
              <a:gd name="connsiteX11" fmla="*/ 35977 w 4745365"/>
              <a:gd name="connsiteY11" fmla="*/ 2249411 h 2310802"/>
              <a:gd name="connsiteX12" fmla="*/ 551119 w 4745365"/>
              <a:gd name="connsiteY12" fmla="*/ 1890083 h 2310802"/>
              <a:gd name="connsiteX13" fmla="*/ 575332 w 4745365"/>
              <a:gd name="connsiteY13" fmla="*/ 1748290 h 2310802"/>
              <a:gd name="connsiteX14" fmla="*/ 1504807 w 4745365"/>
              <a:gd name="connsiteY14" fmla="*/ 1035989 h 2310802"/>
              <a:gd name="connsiteX15" fmla="*/ 2335846 w 4745365"/>
              <a:gd name="connsiteY15" fmla="*/ 1575283 h 2310802"/>
              <a:gd name="connsiteX16" fmla="*/ 2387994 w 4745365"/>
              <a:gd name="connsiteY16" fmla="*/ 1743278 h 2310802"/>
              <a:gd name="connsiteX17" fmla="*/ 2726007 w 4745365"/>
              <a:gd name="connsiteY17" fmla="*/ 1743278 h 2310802"/>
              <a:gd name="connsiteX18" fmla="*/ 2720020 w 4745365"/>
              <a:gd name="connsiteY18" fmla="*/ 1683894 h 2310802"/>
              <a:gd name="connsiteX19" fmla="*/ 3507980 w 4745365"/>
              <a:gd name="connsiteY19" fmla="*/ 895934 h 2310802"/>
              <a:gd name="connsiteX20" fmla="*/ 3583993 w 4745365"/>
              <a:gd name="connsiteY20" fmla="*/ 899772 h 2310802"/>
              <a:gd name="connsiteX21" fmla="*/ 3585020 w 4745365"/>
              <a:gd name="connsiteY21" fmla="*/ 889585 h 2310802"/>
              <a:gd name="connsiteX22" fmla="*/ 4676504 w 4745365"/>
              <a:gd name="connsiteY22" fmla="*/ 0 h 2310802"/>
              <a:gd name="connsiteX0" fmla="*/ 4676504 w 4745365"/>
              <a:gd name="connsiteY0" fmla="*/ 0 h 2310802"/>
              <a:gd name="connsiteX1" fmla="*/ 4745365 w 4745365"/>
              <a:gd name="connsiteY1" fmla="*/ 3477 h 2310802"/>
              <a:gd name="connsiteX2" fmla="*/ 4745365 w 4745365"/>
              <a:gd name="connsiteY2" fmla="*/ 2224761 h 2310802"/>
              <a:gd name="connsiteX3" fmla="*/ 4676504 w 4745365"/>
              <a:gd name="connsiteY3" fmla="*/ 2228238 h 2310802"/>
              <a:gd name="connsiteX4" fmla="*/ 4193487 w 4745365"/>
              <a:gd name="connsiteY4" fmla="*/ 2118374 h 2310802"/>
              <a:gd name="connsiteX5" fmla="*/ 4171520 w 4745365"/>
              <a:gd name="connsiteY5" fmla="*/ 2105748 h 2310802"/>
              <a:gd name="connsiteX6" fmla="*/ 4161369 w 4745365"/>
              <a:gd name="connsiteY6" fmla="*/ 2124450 h 2310802"/>
              <a:gd name="connsiteX7" fmla="*/ 4065152 w 4745365"/>
              <a:gd name="connsiteY7" fmla="*/ 2241066 h 2310802"/>
              <a:gd name="connsiteX8" fmla="*/ 3986221 w 4745365"/>
              <a:gd name="connsiteY8" fmla="*/ 2306190 h 2310802"/>
              <a:gd name="connsiteX9" fmla="*/ 3986221 w 4745365"/>
              <a:gd name="connsiteY9" fmla="*/ 2310802 h 2310802"/>
              <a:gd name="connsiteX10" fmla="*/ 0 w 4745365"/>
              <a:gd name="connsiteY10" fmla="*/ 2310802 h 2310802"/>
              <a:gd name="connsiteX11" fmla="*/ 35977 w 4745365"/>
              <a:gd name="connsiteY11" fmla="*/ 2249411 h 2310802"/>
              <a:gd name="connsiteX12" fmla="*/ 551119 w 4745365"/>
              <a:gd name="connsiteY12" fmla="*/ 1890083 h 2310802"/>
              <a:gd name="connsiteX13" fmla="*/ 575332 w 4745365"/>
              <a:gd name="connsiteY13" fmla="*/ 1748290 h 2310802"/>
              <a:gd name="connsiteX14" fmla="*/ 1504807 w 4745365"/>
              <a:gd name="connsiteY14" fmla="*/ 1035989 h 2310802"/>
              <a:gd name="connsiteX15" fmla="*/ 2335846 w 4745365"/>
              <a:gd name="connsiteY15" fmla="*/ 1575283 h 2310802"/>
              <a:gd name="connsiteX16" fmla="*/ 2387994 w 4745365"/>
              <a:gd name="connsiteY16" fmla="*/ 1743278 h 2310802"/>
              <a:gd name="connsiteX17" fmla="*/ 2726007 w 4745365"/>
              <a:gd name="connsiteY17" fmla="*/ 1743278 h 2310802"/>
              <a:gd name="connsiteX18" fmla="*/ 2720020 w 4745365"/>
              <a:gd name="connsiteY18" fmla="*/ 1683894 h 2310802"/>
              <a:gd name="connsiteX19" fmla="*/ 3507980 w 4745365"/>
              <a:gd name="connsiteY19" fmla="*/ 895934 h 2310802"/>
              <a:gd name="connsiteX20" fmla="*/ 3583993 w 4745365"/>
              <a:gd name="connsiteY20" fmla="*/ 899772 h 2310802"/>
              <a:gd name="connsiteX21" fmla="*/ 3585020 w 4745365"/>
              <a:gd name="connsiteY21" fmla="*/ 889585 h 2310802"/>
              <a:gd name="connsiteX22" fmla="*/ 4676504 w 4745365"/>
              <a:gd name="connsiteY22" fmla="*/ 0 h 2310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45365" h="2310802">
                <a:moveTo>
                  <a:pt x="4676504" y="0"/>
                </a:moveTo>
                <a:lnTo>
                  <a:pt x="4745365" y="3477"/>
                </a:lnTo>
                <a:lnTo>
                  <a:pt x="4745365" y="2224761"/>
                </a:lnTo>
                <a:lnTo>
                  <a:pt x="4676504" y="2228238"/>
                </a:lnTo>
                <a:cubicBezTo>
                  <a:pt x="4503447" y="2228238"/>
                  <a:pt x="4339607" y="2188782"/>
                  <a:pt x="4193487" y="2118374"/>
                </a:cubicBezTo>
                <a:lnTo>
                  <a:pt x="4171520" y="2105748"/>
                </a:lnTo>
                <a:lnTo>
                  <a:pt x="4161369" y="2124450"/>
                </a:lnTo>
                <a:cubicBezTo>
                  <a:pt x="4133048" y="2166370"/>
                  <a:pt x="4100800" y="2205418"/>
                  <a:pt x="4065152" y="2241066"/>
                </a:cubicBezTo>
                <a:lnTo>
                  <a:pt x="3986221" y="2306190"/>
                </a:lnTo>
                <a:lnTo>
                  <a:pt x="3986221" y="2310802"/>
                </a:lnTo>
                <a:lnTo>
                  <a:pt x="0" y="2310802"/>
                </a:lnTo>
                <a:lnTo>
                  <a:pt x="35977" y="2249411"/>
                </a:lnTo>
                <a:cubicBezTo>
                  <a:pt x="146556" y="2054967"/>
                  <a:pt x="326716" y="1890083"/>
                  <a:pt x="551119" y="1890083"/>
                </a:cubicBezTo>
                <a:cubicBezTo>
                  <a:pt x="553569" y="1819535"/>
                  <a:pt x="576031" y="1793438"/>
                  <a:pt x="575332" y="1748290"/>
                </a:cubicBezTo>
                <a:cubicBezTo>
                  <a:pt x="699055" y="1334650"/>
                  <a:pt x="1082288" y="1035078"/>
                  <a:pt x="1504807" y="1035989"/>
                </a:cubicBezTo>
                <a:cubicBezTo>
                  <a:pt x="1865747" y="1036767"/>
                  <a:pt x="2195928" y="1244481"/>
                  <a:pt x="2335846" y="1575283"/>
                </a:cubicBezTo>
                <a:lnTo>
                  <a:pt x="2387994" y="1743278"/>
                </a:lnTo>
                <a:lnTo>
                  <a:pt x="2726007" y="1743278"/>
                </a:lnTo>
                <a:lnTo>
                  <a:pt x="2720020" y="1683894"/>
                </a:lnTo>
                <a:cubicBezTo>
                  <a:pt x="2720020" y="1248716"/>
                  <a:pt x="3072802" y="895934"/>
                  <a:pt x="3507980" y="895934"/>
                </a:cubicBezTo>
                <a:lnTo>
                  <a:pt x="3583993" y="899772"/>
                </a:lnTo>
                <a:cubicBezTo>
                  <a:pt x="3584335" y="896376"/>
                  <a:pt x="3584678" y="892981"/>
                  <a:pt x="3585020" y="889585"/>
                </a:cubicBezTo>
                <a:cubicBezTo>
                  <a:pt x="3688907" y="381900"/>
                  <a:pt x="4138107" y="0"/>
                  <a:pt x="467650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rIns="137160" bIns="91440" rtlCol="0" anchor="ctr">
            <a:noAutofit/>
          </a:bodyP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9" name="Freeform 8">
            <a:extLst>
              <a:ext uri="{FF2B5EF4-FFF2-40B4-BE49-F238E27FC236}">
                <a16:creationId xmlns:a16="http://schemas.microsoft.com/office/drawing/2014/main" id="{8338EAD2-8F74-B741-8D85-76ADB5632AE4}"/>
              </a:ext>
            </a:extLst>
          </p:cNvPr>
          <p:cNvSpPr/>
          <p:nvPr userDrawn="1"/>
        </p:nvSpPr>
        <p:spPr>
          <a:xfrm>
            <a:off x="7727999" y="4675235"/>
            <a:ext cx="4461444" cy="2182765"/>
          </a:xfrm>
          <a:custGeom>
            <a:avLst/>
            <a:gdLst>
              <a:gd name="connsiteX0" fmla="*/ 4461444 w 4461444"/>
              <a:gd name="connsiteY0" fmla="*/ 0 h 2182765"/>
              <a:gd name="connsiteX1" fmla="*/ 4461444 w 4461444"/>
              <a:gd name="connsiteY1" fmla="*/ 2182765 h 2182765"/>
              <a:gd name="connsiteX2" fmla="*/ 0 w 4461444"/>
              <a:gd name="connsiteY2" fmla="*/ 2182765 h 2182765"/>
              <a:gd name="connsiteX3" fmla="*/ 24342 w 4461444"/>
              <a:gd name="connsiteY3" fmla="*/ 2153263 h 2182765"/>
              <a:gd name="connsiteX4" fmla="*/ 481037 w 4461444"/>
              <a:gd name="connsiteY4" fmla="*/ 1964093 h 2182765"/>
              <a:gd name="connsiteX5" fmla="*/ 732436 w 4461444"/>
              <a:gd name="connsiteY5" fmla="*/ 2014848 h 2182765"/>
              <a:gd name="connsiteX6" fmla="*/ 787285 w 4461444"/>
              <a:gd name="connsiteY6" fmla="*/ 2044619 h 2182765"/>
              <a:gd name="connsiteX7" fmla="*/ 809805 w 4461444"/>
              <a:gd name="connsiteY7" fmla="*/ 1961250 h 2182765"/>
              <a:gd name="connsiteX8" fmla="*/ 1286315 w 4461444"/>
              <a:gd name="connsiteY8" fmla="*/ 1550577 h 2182765"/>
              <a:gd name="connsiteX9" fmla="*/ 1321466 w 4461444"/>
              <a:gd name="connsiteY9" fmla="*/ 1547033 h 2182765"/>
              <a:gd name="connsiteX10" fmla="*/ 1323271 w 4461444"/>
              <a:gd name="connsiteY10" fmla="*/ 1529127 h 2182765"/>
              <a:gd name="connsiteX11" fmla="*/ 2205095 w 4461444"/>
              <a:gd name="connsiteY11" fmla="*/ 810420 h 2182765"/>
              <a:gd name="connsiteX12" fmla="*/ 2708356 w 4461444"/>
              <a:gd name="connsiteY12" fmla="*/ 964145 h 2182765"/>
              <a:gd name="connsiteX13" fmla="*/ 2798296 w 4461444"/>
              <a:gd name="connsiteY13" fmla="*/ 1038353 h 2182765"/>
              <a:gd name="connsiteX14" fmla="*/ 2868637 w 4461444"/>
              <a:gd name="connsiteY14" fmla="*/ 1020266 h 2182765"/>
              <a:gd name="connsiteX15" fmla="*/ 3050041 w 4461444"/>
              <a:gd name="connsiteY15" fmla="*/ 1001979 h 2182765"/>
              <a:gd name="connsiteX16" fmla="*/ 3231445 w 4461444"/>
              <a:gd name="connsiteY16" fmla="*/ 1020266 h 2182765"/>
              <a:gd name="connsiteX17" fmla="*/ 3245588 w 4461444"/>
              <a:gd name="connsiteY17" fmla="*/ 1023903 h 2182765"/>
              <a:gd name="connsiteX18" fmla="*/ 3297823 w 4461444"/>
              <a:gd name="connsiteY18" fmla="*/ 960592 h 2182765"/>
              <a:gd name="connsiteX19" fmla="*/ 3934298 w 4461444"/>
              <a:gd name="connsiteY19" fmla="*/ 696956 h 2182765"/>
              <a:gd name="connsiteX20" fmla="*/ 4115702 w 4461444"/>
              <a:gd name="connsiteY20" fmla="*/ 715243 h 2182765"/>
              <a:gd name="connsiteX21" fmla="*/ 4127211 w 4461444"/>
              <a:gd name="connsiteY21" fmla="*/ 718203 h 2182765"/>
              <a:gd name="connsiteX22" fmla="*/ 4126073 w 4461444"/>
              <a:gd name="connsiteY22" fmla="*/ 695661 h 2182765"/>
              <a:gd name="connsiteX23" fmla="*/ 4389709 w 4461444"/>
              <a:gd name="connsiteY23" fmla="*/ 59186 h 2182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461444" h="2182765">
                <a:moveTo>
                  <a:pt x="4461444" y="0"/>
                </a:moveTo>
                <a:lnTo>
                  <a:pt x="4461444" y="2182765"/>
                </a:lnTo>
                <a:lnTo>
                  <a:pt x="0" y="2182765"/>
                </a:lnTo>
                <a:lnTo>
                  <a:pt x="24342" y="2153263"/>
                </a:lnTo>
                <a:cubicBezTo>
                  <a:pt x="141221" y="2036384"/>
                  <a:pt x="302687" y="1964093"/>
                  <a:pt x="481037" y="1964093"/>
                </a:cubicBezTo>
                <a:cubicBezTo>
                  <a:pt x="570212" y="1964093"/>
                  <a:pt x="655166" y="1982166"/>
                  <a:pt x="732436" y="2014848"/>
                </a:cubicBezTo>
                <a:lnTo>
                  <a:pt x="787285" y="2044619"/>
                </a:lnTo>
                <a:lnTo>
                  <a:pt x="809805" y="1961250"/>
                </a:lnTo>
                <a:cubicBezTo>
                  <a:pt x="885867" y="1753515"/>
                  <a:pt x="1065582" y="1595745"/>
                  <a:pt x="1286315" y="1550577"/>
                </a:cubicBezTo>
                <a:lnTo>
                  <a:pt x="1321466" y="1547033"/>
                </a:lnTo>
                <a:lnTo>
                  <a:pt x="1323271" y="1529127"/>
                </a:lnTo>
                <a:cubicBezTo>
                  <a:pt x="1407203" y="1118962"/>
                  <a:pt x="1770117" y="810420"/>
                  <a:pt x="2205095" y="810420"/>
                </a:cubicBezTo>
                <a:cubicBezTo>
                  <a:pt x="2391514" y="810420"/>
                  <a:pt x="2564697" y="867091"/>
                  <a:pt x="2708356" y="964145"/>
                </a:cubicBezTo>
                <a:lnTo>
                  <a:pt x="2798296" y="1038353"/>
                </a:lnTo>
                <a:lnTo>
                  <a:pt x="2868637" y="1020266"/>
                </a:lnTo>
                <a:cubicBezTo>
                  <a:pt x="2927232" y="1008276"/>
                  <a:pt x="2987901" y="1001979"/>
                  <a:pt x="3050041" y="1001979"/>
                </a:cubicBezTo>
                <a:cubicBezTo>
                  <a:pt x="3112181" y="1001979"/>
                  <a:pt x="3172850" y="1008276"/>
                  <a:pt x="3231445" y="1020266"/>
                </a:cubicBezTo>
                <a:lnTo>
                  <a:pt x="3245588" y="1023903"/>
                </a:lnTo>
                <a:lnTo>
                  <a:pt x="3297823" y="960592"/>
                </a:lnTo>
                <a:cubicBezTo>
                  <a:pt x="3460711" y="797704"/>
                  <a:pt x="3685739" y="696956"/>
                  <a:pt x="3934298" y="696956"/>
                </a:cubicBezTo>
                <a:cubicBezTo>
                  <a:pt x="3996438" y="696956"/>
                  <a:pt x="4057107" y="703253"/>
                  <a:pt x="4115702" y="715243"/>
                </a:cubicBezTo>
                <a:lnTo>
                  <a:pt x="4127211" y="718203"/>
                </a:lnTo>
                <a:lnTo>
                  <a:pt x="4126073" y="695661"/>
                </a:lnTo>
                <a:cubicBezTo>
                  <a:pt x="4126073" y="447102"/>
                  <a:pt x="4226821" y="222074"/>
                  <a:pt x="4389709" y="59186"/>
                </a:cubicBezTo>
                <a:close/>
              </a:path>
            </a:pathLst>
          </a:custGeom>
          <a:solidFill>
            <a:schemeClr val="bg1"/>
          </a:solidFill>
          <a:ln>
            <a:noFill/>
          </a:ln>
          <a:effectLst>
            <a:outerShdw blurRad="279400" dist="76200" dir="13800000"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37160" tIns="91440" rIns="137160" bIns="91440" rtlCol="0" anchor="ctr">
            <a:noAutofit/>
          </a:bodyPr>
          <a:lstStyle/>
          <a:p>
            <a:pPr lvl="0" algn="ctr"/>
            <a:endParaRPr lang="en-US" sz="1600">
              <a:solidFill>
                <a:schemeClr val="bg1"/>
              </a:solidFill>
              <a:latin typeface="Roboto" panose="02000000000000000000" pitchFamily="2" charset="0"/>
              <a:ea typeface="Roboto" panose="02000000000000000000" pitchFamily="2" charset="0"/>
              <a:cs typeface="Roboto" charset="0"/>
            </a:endParaRPr>
          </a:p>
        </p:txBody>
      </p:sp>
      <p:pic>
        <p:nvPicPr>
          <p:cNvPr id="13" name="Picture 12">
            <a:extLst>
              <a:ext uri="{FF2B5EF4-FFF2-40B4-BE49-F238E27FC236}">
                <a16:creationId xmlns:a16="http://schemas.microsoft.com/office/drawing/2014/main" id="{66389566-7648-904B-9A7C-78A56AA0AA15}"/>
              </a:ext>
            </a:extLst>
          </p:cNvPr>
          <p:cNvPicPr>
            <a:picLocks noChangeAspect="1"/>
          </p:cNvPicPr>
          <p:nvPr userDrawn="1"/>
        </p:nvPicPr>
        <p:blipFill>
          <a:blip r:embed="rId2"/>
          <a:stretch>
            <a:fillRect/>
          </a:stretch>
        </p:blipFill>
        <p:spPr>
          <a:xfrm>
            <a:off x="9743687" y="6098796"/>
            <a:ext cx="2040934" cy="699990"/>
          </a:xfrm>
          <a:prstGeom prst="rect">
            <a:avLst/>
          </a:prstGeom>
        </p:spPr>
      </p:pic>
      <p:sp>
        <p:nvSpPr>
          <p:cNvPr id="11" name="Text Placeholder 4">
            <a:extLst>
              <a:ext uri="{FF2B5EF4-FFF2-40B4-BE49-F238E27FC236}">
                <a16:creationId xmlns:a16="http://schemas.microsoft.com/office/drawing/2014/main" id="{23E00955-A400-5B4E-B361-C42539018EAD}"/>
              </a:ext>
            </a:extLst>
          </p:cNvPr>
          <p:cNvSpPr>
            <a:spLocks noGrp="1"/>
          </p:cNvSpPr>
          <p:nvPr>
            <p:ph type="body" sz="quarter" idx="13" hasCustomPrompt="1"/>
          </p:nvPr>
        </p:nvSpPr>
        <p:spPr>
          <a:xfrm>
            <a:off x="493714" y="1058899"/>
            <a:ext cx="11188532" cy="331601"/>
          </a:xfrm>
          <a:prstGeom prst="rect">
            <a:avLst/>
          </a:prstGeom>
        </p:spPr>
        <p:txBody>
          <a:bodyPr lIns="0" anchor="t"/>
          <a:lstStyle>
            <a:lvl1pPr marL="0" indent="0">
              <a:buNone/>
              <a:defRPr sz="2400" i="0">
                <a:solidFill>
                  <a:schemeClr val="bg1"/>
                </a:solidFill>
                <a:latin typeface="Roboto" panose="02000000000000000000" pitchFamily="2" charset="0"/>
                <a:ea typeface="Roboto" panose="02000000000000000000" pitchFamily="2" charset="0"/>
              </a:defRPr>
            </a:lvl1pPr>
            <a:lvl2pPr marL="169863" indent="0">
              <a:buNone/>
              <a:defRPr/>
            </a:lvl2pPr>
            <a:lvl3pPr marL="344487" indent="0">
              <a:buNone/>
              <a:defRPr/>
            </a:lvl3pPr>
            <a:lvl4pPr marL="458788" indent="0">
              <a:buNone/>
              <a:defRPr/>
            </a:lvl4pPr>
            <a:lvl5pPr marL="630237" indent="0">
              <a:buNone/>
              <a:defRPr/>
            </a:lvl5pPr>
          </a:lstStyle>
          <a:p>
            <a:pPr lvl="0"/>
            <a:r>
              <a:rPr lang="en-US"/>
              <a:t>Subtitle goes here, </a:t>
            </a:r>
            <a:r>
              <a:rPr lang="en-US" err="1"/>
              <a:t>Roboto</a:t>
            </a:r>
            <a:r>
              <a:rPr lang="en-US"/>
              <a:t> Regular 24 point, no longer than one line</a:t>
            </a:r>
          </a:p>
        </p:txBody>
      </p:sp>
    </p:spTree>
    <p:extLst>
      <p:ext uri="{BB962C8B-B14F-4D97-AF65-F5344CB8AC3E}">
        <p14:creationId xmlns:p14="http://schemas.microsoft.com/office/powerpoint/2010/main" val="1648799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Statement 1">
    <p:bg>
      <p:bgPr>
        <a:solidFill>
          <a:schemeClr val="accent2"/>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E2818C71-32BA-E848-A621-6FB7AFD14E6F}"/>
              </a:ext>
            </a:extLst>
          </p:cNvPr>
          <p:cNvSpPr>
            <a:spLocks noGrp="1"/>
          </p:cNvSpPr>
          <p:nvPr>
            <p:ph type="title" hasCustomPrompt="1"/>
          </p:nvPr>
        </p:nvSpPr>
        <p:spPr>
          <a:xfrm>
            <a:off x="1155588" y="978954"/>
            <a:ext cx="9326943" cy="1711083"/>
          </a:xfrm>
          <a:prstGeom prst="rect">
            <a:avLst/>
          </a:prstGeom>
        </p:spPr>
        <p:txBody>
          <a:bodyPr lIns="0"/>
          <a:lstStyle>
            <a:lvl1pPr>
              <a:defRPr sz="5400" baseline="0">
                <a:solidFill>
                  <a:schemeClr val="bg1"/>
                </a:solidFill>
              </a:defRPr>
            </a:lvl1pPr>
          </a:lstStyle>
          <a:p>
            <a:r>
              <a:rPr lang="en-US"/>
              <a:t>Headline goes here, Roboto Light, 54 points</a:t>
            </a:r>
          </a:p>
        </p:txBody>
      </p:sp>
      <p:sp>
        <p:nvSpPr>
          <p:cNvPr id="9" name="Text Placeholder 37">
            <a:extLst>
              <a:ext uri="{FF2B5EF4-FFF2-40B4-BE49-F238E27FC236}">
                <a16:creationId xmlns:a16="http://schemas.microsoft.com/office/drawing/2014/main" id="{4AD6E01F-34E8-344A-AD31-A95D43256ED8}"/>
              </a:ext>
            </a:extLst>
          </p:cNvPr>
          <p:cNvSpPr>
            <a:spLocks noGrp="1"/>
          </p:cNvSpPr>
          <p:nvPr>
            <p:ph type="body" sz="quarter" idx="10" hasCustomPrompt="1"/>
          </p:nvPr>
        </p:nvSpPr>
        <p:spPr>
          <a:xfrm>
            <a:off x="1155588" y="2869909"/>
            <a:ext cx="6491549" cy="1528756"/>
          </a:xfrm>
          <a:prstGeom prst="rect">
            <a:avLst/>
          </a:prstGeom>
        </p:spPr>
        <p:txBody>
          <a:bodyPr lIns="0"/>
          <a:lstStyle>
            <a:lvl1pPr marL="0" indent="0">
              <a:buNone/>
              <a:defRPr lang="en-US" sz="2400" baseline="0" smtClean="0">
                <a:solidFill>
                  <a:schemeClr val="bg1"/>
                </a:solidFill>
                <a:latin typeface="Roboto Light" panose="02000000000000000000" pitchFamily="2" charset="0"/>
                <a:ea typeface="Roboto Light" panose="02000000000000000000" pitchFamily="2" charset="0"/>
                <a:cs typeface="Roboto Light" panose="02000000000000000000" pitchFamily="2" charset="0"/>
              </a:defRPr>
            </a:lvl1pPr>
            <a:lvl2pPr>
              <a:defRPr lang="en-US" smtClean="0"/>
            </a:lvl2pPr>
            <a:lvl3pPr>
              <a:defRPr lang="en-US" smtClean="0"/>
            </a:lvl3pPr>
            <a:lvl4pPr>
              <a:defRPr lang="en-US" smtClean="0"/>
            </a:lvl4pPr>
            <a:lvl5pPr>
              <a:defRPr lang="en-US"/>
            </a:lvl5pPr>
          </a:lstStyle>
          <a:p>
            <a:pPr marL="457200" lvl="0" indent="-457200">
              <a:lnSpc>
                <a:spcPct val="90000"/>
              </a:lnSpc>
              <a:spcBef>
                <a:spcPct val="0"/>
              </a:spcBef>
            </a:pPr>
            <a:r>
              <a:rPr lang="en-US"/>
              <a:t>Secondary statement</a:t>
            </a:r>
          </a:p>
        </p:txBody>
      </p:sp>
      <p:sp>
        <p:nvSpPr>
          <p:cNvPr id="13" name="Freeform 12">
            <a:extLst>
              <a:ext uri="{FF2B5EF4-FFF2-40B4-BE49-F238E27FC236}">
                <a16:creationId xmlns:a16="http://schemas.microsoft.com/office/drawing/2014/main" id="{A43220F5-9CFC-624E-9E5D-81A03D9B943D}"/>
              </a:ext>
            </a:extLst>
          </p:cNvPr>
          <p:cNvSpPr/>
          <p:nvPr userDrawn="1"/>
        </p:nvSpPr>
        <p:spPr>
          <a:xfrm>
            <a:off x="7407017" y="4547198"/>
            <a:ext cx="4785372" cy="2310802"/>
          </a:xfrm>
          <a:custGeom>
            <a:avLst/>
            <a:gdLst>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16268 w 4717029"/>
              <a:gd name="connsiteY12" fmla="*/ 1924881 h 2310802"/>
              <a:gd name="connsiteX13" fmla="*/ 537304 w 4717029"/>
              <a:gd name="connsiteY13" fmla="*/ 1927002 h 2310802"/>
              <a:gd name="connsiteX14" fmla="*/ 555320 w 4717029"/>
              <a:gd name="connsiteY14" fmla="*/ 1748290 h 2310802"/>
              <a:gd name="connsiteX15" fmla="*/ 1458267 w 4717029"/>
              <a:gd name="connsiteY15" fmla="*/ 1012367 h 2310802"/>
              <a:gd name="connsiteX16" fmla="*/ 2307510 w 4717029"/>
              <a:gd name="connsiteY16" fmla="*/ 1575283 h 2310802"/>
              <a:gd name="connsiteX17" fmla="*/ 2359658 w 4717029"/>
              <a:gd name="connsiteY17" fmla="*/ 1743278 h 2310802"/>
              <a:gd name="connsiteX18" fmla="*/ 2697671 w 4717029"/>
              <a:gd name="connsiteY18" fmla="*/ 1743278 h 2310802"/>
              <a:gd name="connsiteX19" fmla="*/ 2691684 w 4717029"/>
              <a:gd name="connsiteY19" fmla="*/ 1683894 h 2310802"/>
              <a:gd name="connsiteX20" fmla="*/ 3479644 w 4717029"/>
              <a:gd name="connsiteY20" fmla="*/ 895934 h 2310802"/>
              <a:gd name="connsiteX21" fmla="*/ 3555657 w 4717029"/>
              <a:gd name="connsiteY21" fmla="*/ 899772 h 2310802"/>
              <a:gd name="connsiteX22" fmla="*/ 3556684 w 4717029"/>
              <a:gd name="connsiteY22" fmla="*/ 889585 h 2310802"/>
              <a:gd name="connsiteX23" fmla="*/ 4648168 w 4717029"/>
              <a:gd name="connsiteY23"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16268 w 4717029"/>
              <a:gd name="connsiteY12" fmla="*/ 1924881 h 2310802"/>
              <a:gd name="connsiteX13" fmla="*/ 555320 w 4717029"/>
              <a:gd name="connsiteY13" fmla="*/ 1748290 h 2310802"/>
              <a:gd name="connsiteX14" fmla="*/ 1458267 w 4717029"/>
              <a:gd name="connsiteY14" fmla="*/ 1012367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55320 w 4717029"/>
              <a:gd name="connsiteY13" fmla="*/ 1748290 h 2310802"/>
              <a:gd name="connsiteX14" fmla="*/ 1458267 w 4717029"/>
              <a:gd name="connsiteY14" fmla="*/ 1012367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55320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55320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55320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73608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73608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73608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479620 w 4717029"/>
              <a:gd name="connsiteY14" fmla="*/ 1020114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6903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76504 w 4745365"/>
              <a:gd name="connsiteY0" fmla="*/ 0 h 2310802"/>
              <a:gd name="connsiteX1" fmla="*/ 4745365 w 4745365"/>
              <a:gd name="connsiteY1" fmla="*/ 3477 h 2310802"/>
              <a:gd name="connsiteX2" fmla="*/ 4745365 w 4745365"/>
              <a:gd name="connsiteY2" fmla="*/ 2224761 h 2310802"/>
              <a:gd name="connsiteX3" fmla="*/ 4676504 w 4745365"/>
              <a:gd name="connsiteY3" fmla="*/ 2228238 h 2310802"/>
              <a:gd name="connsiteX4" fmla="*/ 4193487 w 4745365"/>
              <a:gd name="connsiteY4" fmla="*/ 2118374 h 2310802"/>
              <a:gd name="connsiteX5" fmla="*/ 4171520 w 4745365"/>
              <a:gd name="connsiteY5" fmla="*/ 2105748 h 2310802"/>
              <a:gd name="connsiteX6" fmla="*/ 4161369 w 4745365"/>
              <a:gd name="connsiteY6" fmla="*/ 2124450 h 2310802"/>
              <a:gd name="connsiteX7" fmla="*/ 4065152 w 4745365"/>
              <a:gd name="connsiteY7" fmla="*/ 2241066 h 2310802"/>
              <a:gd name="connsiteX8" fmla="*/ 3986221 w 4745365"/>
              <a:gd name="connsiteY8" fmla="*/ 2306190 h 2310802"/>
              <a:gd name="connsiteX9" fmla="*/ 3986221 w 4745365"/>
              <a:gd name="connsiteY9" fmla="*/ 2310802 h 2310802"/>
              <a:gd name="connsiteX10" fmla="*/ 0 w 4745365"/>
              <a:gd name="connsiteY10" fmla="*/ 2310802 h 2310802"/>
              <a:gd name="connsiteX11" fmla="*/ 45422 w 4745365"/>
              <a:gd name="connsiteY11" fmla="*/ 2255761 h 2310802"/>
              <a:gd name="connsiteX12" fmla="*/ 551119 w 4745365"/>
              <a:gd name="connsiteY12" fmla="*/ 1890083 h 2310802"/>
              <a:gd name="connsiteX13" fmla="*/ 575332 w 4745365"/>
              <a:gd name="connsiteY13" fmla="*/ 1748290 h 2310802"/>
              <a:gd name="connsiteX14" fmla="*/ 1504807 w 4745365"/>
              <a:gd name="connsiteY14" fmla="*/ 1035989 h 2310802"/>
              <a:gd name="connsiteX15" fmla="*/ 2335846 w 4745365"/>
              <a:gd name="connsiteY15" fmla="*/ 1575283 h 2310802"/>
              <a:gd name="connsiteX16" fmla="*/ 2387994 w 4745365"/>
              <a:gd name="connsiteY16" fmla="*/ 1743278 h 2310802"/>
              <a:gd name="connsiteX17" fmla="*/ 2726007 w 4745365"/>
              <a:gd name="connsiteY17" fmla="*/ 1743278 h 2310802"/>
              <a:gd name="connsiteX18" fmla="*/ 2720020 w 4745365"/>
              <a:gd name="connsiteY18" fmla="*/ 1683894 h 2310802"/>
              <a:gd name="connsiteX19" fmla="*/ 3507980 w 4745365"/>
              <a:gd name="connsiteY19" fmla="*/ 895934 h 2310802"/>
              <a:gd name="connsiteX20" fmla="*/ 3583993 w 4745365"/>
              <a:gd name="connsiteY20" fmla="*/ 899772 h 2310802"/>
              <a:gd name="connsiteX21" fmla="*/ 3585020 w 4745365"/>
              <a:gd name="connsiteY21" fmla="*/ 889585 h 2310802"/>
              <a:gd name="connsiteX22" fmla="*/ 4676504 w 4745365"/>
              <a:gd name="connsiteY22" fmla="*/ 0 h 2310802"/>
              <a:gd name="connsiteX0" fmla="*/ 4676504 w 4745365"/>
              <a:gd name="connsiteY0" fmla="*/ 0 h 2310802"/>
              <a:gd name="connsiteX1" fmla="*/ 4745365 w 4745365"/>
              <a:gd name="connsiteY1" fmla="*/ 3477 h 2310802"/>
              <a:gd name="connsiteX2" fmla="*/ 4745365 w 4745365"/>
              <a:gd name="connsiteY2" fmla="*/ 2224761 h 2310802"/>
              <a:gd name="connsiteX3" fmla="*/ 4676504 w 4745365"/>
              <a:gd name="connsiteY3" fmla="*/ 2228238 h 2310802"/>
              <a:gd name="connsiteX4" fmla="*/ 4193487 w 4745365"/>
              <a:gd name="connsiteY4" fmla="*/ 2118374 h 2310802"/>
              <a:gd name="connsiteX5" fmla="*/ 4171520 w 4745365"/>
              <a:gd name="connsiteY5" fmla="*/ 2105748 h 2310802"/>
              <a:gd name="connsiteX6" fmla="*/ 4161369 w 4745365"/>
              <a:gd name="connsiteY6" fmla="*/ 2124450 h 2310802"/>
              <a:gd name="connsiteX7" fmla="*/ 4065152 w 4745365"/>
              <a:gd name="connsiteY7" fmla="*/ 2241066 h 2310802"/>
              <a:gd name="connsiteX8" fmla="*/ 3986221 w 4745365"/>
              <a:gd name="connsiteY8" fmla="*/ 2306190 h 2310802"/>
              <a:gd name="connsiteX9" fmla="*/ 3986221 w 4745365"/>
              <a:gd name="connsiteY9" fmla="*/ 2310802 h 2310802"/>
              <a:gd name="connsiteX10" fmla="*/ 0 w 4745365"/>
              <a:gd name="connsiteY10" fmla="*/ 2310802 h 2310802"/>
              <a:gd name="connsiteX11" fmla="*/ 35977 w 4745365"/>
              <a:gd name="connsiteY11" fmla="*/ 2249411 h 2310802"/>
              <a:gd name="connsiteX12" fmla="*/ 551119 w 4745365"/>
              <a:gd name="connsiteY12" fmla="*/ 1890083 h 2310802"/>
              <a:gd name="connsiteX13" fmla="*/ 575332 w 4745365"/>
              <a:gd name="connsiteY13" fmla="*/ 1748290 h 2310802"/>
              <a:gd name="connsiteX14" fmla="*/ 1504807 w 4745365"/>
              <a:gd name="connsiteY14" fmla="*/ 1035989 h 2310802"/>
              <a:gd name="connsiteX15" fmla="*/ 2335846 w 4745365"/>
              <a:gd name="connsiteY15" fmla="*/ 1575283 h 2310802"/>
              <a:gd name="connsiteX16" fmla="*/ 2387994 w 4745365"/>
              <a:gd name="connsiteY16" fmla="*/ 1743278 h 2310802"/>
              <a:gd name="connsiteX17" fmla="*/ 2726007 w 4745365"/>
              <a:gd name="connsiteY17" fmla="*/ 1743278 h 2310802"/>
              <a:gd name="connsiteX18" fmla="*/ 2720020 w 4745365"/>
              <a:gd name="connsiteY18" fmla="*/ 1683894 h 2310802"/>
              <a:gd name="connsiteX19" fmla="*/ 3507980 w 4745365"/>
              <a:gd name="connsiteY19" fmla="*/ 895934 h 2310802"/>
              <a:gd name="connsiteX20" fmla="*/ 3583993 w 4745365"/>
              <a:gd name="connsiteY20" fmla="*/ 899772 h 2310802"/>
              <a:gd name="connsiteX21" fmla="*/ 3585020 w 4745365"/>
              <a:gd name="connsiteY21" fmla="*/ 889585 h 2310802"/>
              <a:gd name="connsiteX22" fmla="*/ 4676504 w 4745365"/>
              <a:gd name="connsiteY22" fmla="*/ 0 h 2310802"/>
              <a:gd name="connsiteX0" fmla="*/ 4676504 w 4745365"/>
              <a:gd name="connsiteY0" fmla="*/ 0 h 2310802"/>
              <a:gd name="connsiteX1" fmla="*/ 4745365 w 4745365"/>
              <a:gd name="connsiteY1" fmla="*/ 3477 h 2310802"/>
              <a:gd name="connsiteX2" fmla="*/ 4745365 w 4745365"/>
              <a:gd name="connsiteY2" fmla="*/ 2224761 h 2310802"/>
              <a:gd name="connsiteX3" fmla="*/ 4676504 w 4745365"/>
              <a:gd name="connsiteY3" fmla="*/ 2228238 h 2310802"/>
              <a:gd name="connsiteX4" fmla="*/ 4193487 w 4745365"/>
              <a:gd name="connsiteY4" fmla="*/ 2118374 h 2310802"/>
              <a:gd name="connsiteX5" fmla="*/ 4171520 w 4745365"/>
              <a:gd name="connsiteY5" fmla="*/ 2105748 h 2310802"/>
              <a:gd name="connsiteX6" fmla="*/ 4161369 w 4745365"/>
              <a:gd name="connsiteY6" fmla="*/ 2124450 h 2310802"/>
              <a:gd name="connsiteX7" fmla="*/ 4065152 w 4745365"/>
              <a:gd name="connsiteY7" fmla="*/ 2241066 h 2310802"/>
              <a:gd name="connsiteX8" fmla="*/ 3986221 w 4745365"/>
              <a:gd name="connsiteY8" fmla="*/ 2306190 h 2310802"/>
              <a:gd name="connsiteX9" fmla="*/ 3986221 w 4745365"/>
              <a:gd name="connsiteY9" fmla="*/ 2310802 h 2310802"/>
              <a:gd name="connsiteX10" fmla="*/ 0 w 4745365"/>
              <a:gd name="connsiteY10" fmla="*/ 2310802 h 2310802"/>
              <a:gd name="connsiteX11" fmla="*/ 35977 w 4745365"/>
              <a:gd name="connsiteY11" fmla="*/ 2249411 h 2310802"/>
              <a:gd name="connsiteX12" fmla="*/ 551119 w 4745365"/>
              <a:gd name="connsiteY12" fmla="*/ 1890083 h 2310802"/>
              <a:gd name="connsiteX13" fmla="*/ 575332 w 4745365"/>
              <a:gd name="connsiteY13" fmla="*/ 1748290 h 2310802"/>
              <a:gd name="connsiteX14" fmla="*/ 1504807 w 4745365"/>
              <a:gd name="connsiteY14" fmla="*/ 1035989 h 2310802"/>
              <a:gd name="connsiteX15" fmla="*/ 2335846 w 4745365"/>
              <a:gd name="connsiteY15" fmla="*/ 1575283 h 2310802"/>
              <a:gd name="connsiteX16" fmla="*/ 2387994 w 4745365"/>
              <a:gd name="connsiteY16" fmla="*/ 1743278 h 2310802"/>
              <a:gd name="connsiteX17" fmla="*/ 2726007 w 4745365"/>
              <a:gd name="connsiteY17" fmla="*/ 1743278 h 2310802"/>
              <a:gd name="connsiteX18" fmla="*/ 2720020 w 4745365"/>
              <a:gd name="connsiteY18" fmla="*/ 1683894 h 2310802"/>
              <a:gd name="connsiteX19" fmla="*/ 3507980 w 4745365"/>
              <a:gd name="connsiteY19" fmla="*/ 895934 h 2310802"/>
              <a:gd name="connsiteX20" fmla="*/ 3583993 w 4745365"/>
              <a:gd name="connsiteY20" fmla="*/ 899772 h 2310802"/>
              <a:gd name="connsiteX21" fmla="*/ 3585020 w 4745365"/>
              <a:gd name="connsiteY21" fmla="*/ 889585 h 2310802"/>
              <a:gd name="connsiteX22" fmla="*/ 4676504 w 4745365"/>
              <a:gd name="connsiteY22" fmla="*/ 0 h 2310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45365" h="2310802">
                <a:moveTo>
                  <a:pt x="4676504" y="0"/>
                </a:moveTo>
                <a:lnTo>
                  <a:pt x="4745365" y="3477"/>
                </a:lnTo>
                <a:lnTo>
                  <a:pt x="4745365" y="2224761"/>
                </a:lnTo>
                <a:lnTo>
                  <a:pt x="4676504" y="2228238"/>
                </a:lnTo>
                <a:cubicBezTo>
                  <a:pt x="4503447" y="2228238"/>
                  <a:pt x="4339607" y="2188782"/>
                  <a:pt x="4193487" y="2118374"/>
                </a:cubicBezTo>
                <a:lnTo>
                  <a:pt x="4171520" y="2105748"/>
                </a:lnTo>
                <a:lnTo>
                  <a:pt x="4161369" y="2124450"/>
                </a:lnTo>
                <a:cubicBezTo>
                  <a:pt x="4133048" y="2166370"/>
                  <a:pt x="4100800" y="2205418"/>
                  <a:pt x="4065152" y="2241066"/>
                </a:cubicBezTo>
                <a:lnTo>
                  <a:pt x="3986221" y="2306190"/>
                </a:lnTo>
                <a:lnTo>
                  <a:pt x="3986221" y="2310802"/>
                </a:lnTo>
                <a:lnTo>
                  <a:pt x="0" y="2310802"/>
                </a:lnTo>
                <a:lnTo>
                  <a:pt x="35977" y="2249411"/>
                </a:lnTo>
                <a:cubicBezTo>
                  <a:pt x="146556" y="2054967"/>
                  <a:pt x="326716" y="1890083"/>
                  <a:pt x="551119" y="1890083"/>
                </a:cubicBezTo>
                <a:cubicBezTo>
                  <a:pt x="553569" y="1819535"/>
                  <a:pt x="576031" y="1793438"/>
                  <a:pt x="575332" y="1748290"/>
                </a:cubicBezTo>
                <a:cubicBezTo>
                  <a:pt x="699055" y="1334650"/>
                  <a:pt x="1082288" y="1035078"/>
                  <a:pt x="1504807" y="1035989"/>
                </a:cubicBezTo>
                <a:cubicBezTo>
                  <a:pt x="1865747" y="1036767"/>
                  <a:pt x="2195928" y="1244481"/>
                  <a:pt x="2335846" y="1575283"/>
                </a:cubicBezTo>
                <a:lnTo>
                  <a:pt x="2387994" y="1743278"/>
                </a:lnTo>
                <a:lnTo>
                  <a:pt x="2726007" y="1743278"/>
                </a:lnTo>
                <a:lnTo>
                  <a:pt x="2720020" y="1683894"/>
                </a:lnTo>
                <a:cubicBezTo>
                  <a:pt x="2720020" y="1248716"/>
                  <a:pt x="3072802" y="895934"/>
                  <a:pt x="3507980" y="895934"/>
                </a:cubicBezTo>
                <a:lnTo>
                  <a:pt x="3583993" y="899772"/>
                </a:lnTo>
                <a:cubicBezTo>
                  <a:pt x="3584335" y="896376"/>
                  <a:pt x="3584678" y="892981"/>
                  <a:pt x="3585020" y="889585"/>
                </a:cubicBezTo>
                <a:cubicBezTo>
                  <a:pt x="3688907" y="381900"/>
                  <a:pt x="4138107" y="0"/>
                  <a:pt x="467650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rIns="137160" bIns="91440" rtlCol="0" anchor="ctr">
            <a:noAutofit/>
          </a:bodyP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14" name="Freeform 13">
            <a:extLst>
              <a:ext uri="{FF2B5EF4-FFF2-40B4-BE49-F238E27FC236}">
                <a16:creationId xmlns:a16="http://schemas.microsoft.com/office/drawing/2014/main" id="{4E904644-2503-E94E-AB6F-8E2BC7E60886}"/>
              </a:ext>
            </a:extLst>
          </p:cNvPr>
          <p:cNvSpPr/>
          <p:nvPr userDrawn="1"/>
        </p:nvSpPr>
        <p:spPr>
          <a:xfrm>
            <a:off x="7727999" y="4675235"/>
            <a:ext cx="4461444" cy="2182765"/>
          </a:xfrm>
          <a:custGeom>
            <a:avLst/>
            <a:gdLst>
              <a:gd name="connsiteX0" fmla="*/ 4461444 w 4461444"/>
              <a:gd name="connsiteY0" fmla="*/ 0 h 2182765"/>
              <a:gd name="connsiteX1" fmla="*/ 4461444 w 4461444"/>
              <a:gd name="connsiteY1" fmla="*/ 2182765 h 2182765"/>
              <a:gd name="connsiteX2" fmla="*/ 0 w 4461444"/>
              <a:gd name="connsiteY2" fmla="*/ 2182765 h 2182765"/>
              <a:gd name="connsiteX3" fmla="*/ 24342 w 4461444"/>
              <a:gd name="connsiteY3" fmla="*/ 2153263 h 2182765"/>
              <a:gd name="connsiteX4" fmla="*/ 481037 w 4461444"/>
              <a:gd name="connsiteY4" fmla="*/ 1964093 h 2182765"/>
              <a:gd name="connsiteX5" fmla="*/ 732436 w 4461444"/>
              <a:gd name="connsiteY5" fmla="*/ 2014848 h 2182765"/>
              <a:gd name="connsiteX6" fmla="*/ 787285 w 4461444"/>
              <a:gd name="connsiteY6" fmla="*/ 2044619 h 2182765"/>
              <a:gd name="connsiteX7" fmla="*/ 809805 w 4461444"/>
              <a:gd name="connsiteY7" fmla="*/ 1961250 h 2182765"/>
              <a:gd name="connsiteX8" fmla="*/ 1286315 w 4461444"/>
              <a:gd name="connsiteY8" fmla="*/ 1550577 h 2182765"/>
              <a:gd name="connsiteX9" fmla="*/ 1321466 w 4461444"/>
              <a:gd name="connsiteY9" fmla="*/ 1547033 h 2182765"/>
              <a:gd name="connsiteX10" fmla="*/ 1323271 w 4461444"/>
              <a:gd name="connsiteY10" fmla="*/ 1529127 h 2182765"/>
              <a:gd name="connsiteX11" fmla="*/ 2205095 w 4461444"/>
              <a:gd name="connsiteY11" fmla="*/ 810420 h 2182765"/>
              <a:gd name="connsiteX12" fmla="*/ 2708356 w 4461444"/>
              <a:gd name="connsiteY12" fmla="*/ 964145 h 2182765"/>
              <a:gd name="connsiteX13" fmla="*/ 2798296 w 4461444"/>
              <a:gd name="connsiteY13" fmla="*/ 1038353 h 2182765"/>
              <a:gd name="connsiteX14" fmla="*/ 2868637 w 4461444"/>
              <a:gd name="connsiteY14" fmla="*/ 1020266 h 2182765"/>
              <a:gd name="connsiteX15" fmla="*/ 3050041 w 4461444"/>
              <a:gd name="connsiteY15" fmla="*/ 1001979 h 2182765"/>
              <a:gd name="connsiteX16" fmla="*/ 3231445 w 4461444"/>
              <a:gd name="connsiteY16" fmla="*/ 1020266 h 2182765"/>
              <a:gd name="connsiteX17" fmla="*/ 3245588 w 4461444"/>
              <a:gd name="connsiteY17" fmla="*/ 1023903 h 2182765"/>
              <a:gd name="connsiteX18" fmla="*/ 3297823 w 4461444"/>
              <a:gd name="connsiteY18" fmla="*/ 960592 h 2182765"/>
              <a:gd name="connsiteX19" fmla="*/ 3934298 w 4461444"/>
              <a:gd name="connsiteY19" fmla="*/ 696956 h 2182765"/>
              <a:gd name="connsiteX20" fmla="*/ 4115702 w 4461444"/>
              <a:gd name="connsiteY20" fmla="*/ 715243 h 2182765"/>
              <a:gd name="connsiteX21" fmla="*/ 4127211 w 4461444"/>
              <a:gd name="connsiteY21" fmla="*/ 718203 h 2182765"/>
              <a:gd name="connsiteX22" fmla="*/ 4126073 w 4461444"/>
              <a:gd name="connsiteY22" fmla="*/ 695661 h 2182765"/>
              <a:gd name="connsiteX23" fmla="*/ 4389709 w 4461444"/>
              <a:gd name="connsiteY23" fmla="*/ 59186 h 2182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461444" h="2182765">
                <a:moveTo>
                  <a:pt x="4461444" y="0"/>
                </a:moveTo>
                <a:lnTo>
                  <a:pt x="4461444" y="2182765"/>
                </a:lnTo>
                <a:lnTo>
                  <a:pt x="0" y="2182765"/>
                </a:lnTo>
                <a:lnTo>
                  <a:pt x="24342" y="2153263"/>
                </a:lnTo>
                <a:cubicBezTo>
                  <a:pt x="141221" y="2036384"/>
                  <a:pt x="302687" y="1964093"/>
                  <a:pt x="481037" y="1964093"/>
                </a:cubicBezTo>
                <a:cubicBezTo>
                  <a:pt x="570212" y="1964093"/>
                  <a:pt x="655166" y="1982166"/>
                  <a:pt x="732436" y="2014848"/>
                </a:cubicBezTo>
                <a:lnTo>
                  <a:pt x="787285" y="2044619"/>
                </a:lnTo>
                <a:lnTo>
                  <a:pt x="809805" y="1961250"/>
                </a:lnTo>
                <a:cubicBezTo>
                  <a:pt x="885867" y="1753515"/>
                  <a:pt x="1065582" y="1595745"/>
                  <a:pt x="1286315" y="1550577"/>
                </a:cubicBezTo>
                <a:lnTo>
                  <a:pt x="1321466" y="1547033"/>
                </a:lnTo>
                <a:lnTo>
                  <a:pt x="1323271" y="1529127"/>
                </a:lnTo>
                <a:cubicBezTo>
                  <a:pt x="1407203" y="1118962"/>
                  <a:pt x="1770117" y="810420"/>
                  <a:pt x="2205095" y="810420"/>
                </a:cubicBezTo>
                <a:cubicBezTo>
                  <a:pt x="2391514" y="810420"/>
                  <a:pt x="2564697" y="867091"/>
                  <a:pt x="2708356" y="964145"/>
                </a:cubicBezTo>
                <a:lnTo>
                  <a:pt x="2798296" y="1038353"/>
                </a:lnTo>
                <a:lnTo>
                  <a:pt x="2868637" y="1020266"/>
                </a:lnTo>
                <a:cubicBezTo>
                  <a:pt x="2927232" y="1008276"/>
                  <a:pt x="2987901" y="1001979"/>
                  <a:pt x="3050041" y="1001979"/>
                </a:cubicBezTo>
                <a:cubicBezTo>
                  <a:pt x="3112181" y="1001979"/>
                  <a:pt x="3172850" y="1008276"/>
                  <a:pt x="3231445" y="1020266"/>
                </a:cubicBezTo>
                <a:lnTo>
                  <a:pt x="3245588" y="1023903"/>
                </a:lnTo>
                <a:lnTo>
                  <a:pt x="3297823" y="960592"/>
                </a:lnTo>
                <a:cubicBezTo>
                  <a:pt x="3460711" y="797704"/>
                  <a:pt x="3685739" y="696956"/>
                  <a:pt x="3934298" y="696956"/>
                </a:cubicBezTo>
                <a:cubicBezTo>
                  <a:pt x="3996438" y="696956"/>
                  <a:pt x="4057107" y="703253"/>
                  <a:pt x="4115702" y="715243"/>
                </a:cubicBezTo>
                <a:lnTo>
                  <a:pt x="4127211" y="718203"/>
                </a:lnTo>
                <a:lnTo>
                  <a:pt x="4126073" y="695661"/>
                </a:lnTo>
                <a:cubicBezTo>
                  <a:pt x="4126073" y="447102"/>
                  <a:pt x="4226821" y="222074"/>
                  <a:pt x="4389709" y="59186"/>
                </a:cubicBezTo>
                <a:close/>
              </a:path>
            </a:pathLst>
          </a:custGeom>
          <a:solidFill>
            <a:schemeClr val="bg1"/>
          </a:solidFill>
          <a:ln>
            <a:noFill/>
          </a:ln>
          <a:effectLst>
            <a:outerShdw blurRad="279400" dist="76200" dir="13800000"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37160" tIns="91440" rIns="137160" bIns="91440" rtlCol="0" anchor="ctr">
            <a:noAutofit/>
          </a:bodyPr>
          <a:lstStyle/>
          <a:p>
            <a:pPr lvl="0" algn="ctr"/>
            <a:endParaRPr lang="en-US" sz="1600">
              <a:solidFill>
                <a:schemeClr val="bg1"/>
              </a:solidFill>
              <a:latin typeface="Roboto" panose="02000000000000000000" pitchFamily="2" charset="0"/>
              <a:ea typeface="Roboto" panose="02000000000000000000" pitchFamily="2" charset="0"/>
              <a:cs typeface="Roboto" charset="0"/>
            </a:endParaRPr>
          </a:p>
        </p:txBody>
      </p:sp>
      <p:pic>
        <p:nvPicPr>
          <p:cNvPr id="16" name="Picture 15">
            <a:extLst>
              <a:ext uri="{FF2B5EF4-FFF2-40B4-BE49-F238E27FC236}">
                <a16:creationId xmlns:a16="http://schemas.microsoft.com/office/drawing/2014/main" id="{BC04B84B-F25A-6B4F-8C60-4684C132539E}"/>
              </a:ext>
            </a:extLst>
          </p:cNvPr>
          <p:cNvPicPr>
            <a:picLocks noChangeAspect="1"/>
          </p:cNvPicPr>
          <p:nvPr userDrawn="1"/>
        </p:nvPicPr>
        <p:blipFill>
          <a:blip r:embed="rId2"/>
          <a:stretch>
            <a:fillRect/>
          </a:stretch>
        </p:blipFill>
        <p:spPr>
          <a:xfrm>
            <a:off x="9743687" y="6098796"/>
            <a:ext cx="2040934" cy="699990"/>
          </a:xfrm>
          <a:prstGeom prst="rect">
            <a:avLst/>
          </a:prstGeom>
        </p:spPr>
      </p:pic>
    </p:spTree>
    <p:extLst>
      <p:ext uri="{BB962C8B-B14F-4D97-AF65-F5344CB8AC3E}">
        <p14:creationId xmlns:p14="http://schemas.microsoft.com/office/powerpoint/2010/main" val="1374036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Subtitle_Blank+Logo">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8FA70B36-FD85-46EB-9073-620538C6248E}"/>
              </a:ext>
            </a:extLst>
          </p:cNvPr>
          <p:cNvSpPr txBox="1"/>
          <p:nvPr userDrawn="1"/>
        </p:nvSpPr>
        <p:spPr>
          <a:xfrm>
            <a:off x="176868" y="6365106"/>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900" b="0" i="0" kern="1200" smtClean="0">
                <a:solidFill>
                  <a:schemeClr val="tx1"/>
                </a:solidFill>
                <a:latin typeface="Roboto" charset="0"/>
                <a:ea typeface="Roboto" charset="0"/>
                <a:cs typeface="Roboto" charset="0"/>
              </a:rPr>
              <a:pPr marL="0" lvl="0" algn="ctr" defTabSz="457200" rtl="0" eaLnBrk="1" latinLnBrk="0" hangingPunct="1"/>
              <a:t>‹#›</a:t>
            </a:fld>
            <a:endParaRPr lang="en-US" sz="900" b="0" i="0" kern="1200" dirty="0">
              <a:solidFill>
                <a:schemeClr val="tx1"/>
              </a:solidFill>
              <a:latin typeface="Roboto" charset="0"/>
              <a:ea typeface="Roboto" charset="0"/>
              <a:cs typeface="Roboto" charset="0"/>
            </a:endParaRPr>
          </a:p>
        </p:txBody>
      </p:sp>
      <p:sp>
        <p:nvSpPr>
          <p:cNvPr id="2" name="TextBox 1">
            <a:extLst>
              <a:ext uri="{FF2B5EF4-FFF2-40B4-BE49-F238E27FC236}">
                <a16:creationId xmlns:a16="http://schemas.microsoft.com/office/drawing/2014/main" id="{23179817-899D-4A7E-B58B-236E81BA41DD}"/>
              </a:ext>
            </a:extLst>
          </p:cNvPr>
          <p:cNvSpPr txBox="1"/>
          <p:nvPr userDrawn="1"/>
        </p:nvSpPr>
        <p:spPr>
          <a:xfrm>
            <a:off x="1023708"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dirty="0">
                <a:solidFill>
                  <a:schemeClr val="tx1"/>
                </a:solidFill>
                <a:latin typeface="Roboto" charset="0"/>
                <a:ea typeface="Roboto" charset="0"/>
                <a:cs typeface="Roboto" charset="0"/>
              </a:rPr>
              <a:t>© Informatica. Proprietary and Confidential.</a:t>
            </a:r>
          </a:p>
        </p:txBody>
      </p:sp>
      <p:pic>
        <p:nvPicPr>
          <p:cNvPr id="7" name="Picture 6">
            <a:extLst>
              <a:ext uri="{FF2B5EF4-FFF2-40B4-BE49-F238E27FC236}">
                <a16:creationId xmlns:a16="http://schemas.microsoft.com/office/drawing/2014/main" id="{50FBECDC-D499-8D45-9AB8-EAAF8E7D81E5}"/>
              </a:ext>
            </a:extLst>
          </p:cNvPr>
          <p:cNvPicPr>
            <a:picLocks noChangeAspect="1"/>
          </p:cNvPicPr>
          <p:nvPr userDrawn="1"/>
        </p:nvPicPr>
        <p:blipFill>
          <a:blip r:embed="rId2"/>
          <a:stretch>
            <a:fillRect/>
          </a:stretch>
        </p:blipFill>
        <p:spPr>
          <a:xfrm>
            <a:off x="9743687" y="6098796"/>
            <a:ext cx="2040934" cy="699990"/>
          </a:xfrm>
          <a:prstGeom prst="rect">
            <a:avLst/>
          </a:prstGeom>
        </p:spPr>
      </p:pic>
      <p:sp>
        <p:nvSpPr>
          <p:cNvPr id="9" name="Title 1">
            <a:extLst>
              <a:ext uri="{FF2B5EF4-FFF2-40B4-BE49-F238E27FC236}">
                <a16:creationId xmlns:a16="http://schemas.microsoft.com/office/drawing/2014/main" id="{39E2055F-6CD8-DE42-9519-3D5BAED526B2}"/>
              </a:ext>
            </a:extLst>
          </p:cNvPr>
          <p:cNvSpPr>
            <a:spLocks noGrp="1"/>
          </p:cNvSpPr>
          <p:nvPr>
            <p:ph type="title" hasCustomPrompt="1"/>
          </p:nvPr>
        </p:nvSpPr>
        <p:spPr>
          <a:xfrm>
            <a:off x="488950" y="482602"/>
            <a:ext cx="11188700" cy="562427"/>
          </a:xfrm>
          <a:prstGeom prst="rect">
            <a:avLst/>
          </a:prstGeom>
        </p:spPr>
        <p:txBody>
          <a:bodyPr lIns="0"/>
          <a:lstStyle>
            <a:lvl1pPr>
              <a:defRPr baseline="0">
                <a:solidFill>
                  <a:schemeClr val="tx1"/>
                </a:solidFill>
              </a:defRPr>
            </a:lvl1pPr>
          </a:lstStyle>
          <a:p>
            <a:r>
              <a:rPr lang="en-US" dirty="0"/>
              <a:t>Headline Goes Here, Roboto Light, 36 Points, 1 Line</a:t>
            </a:r>
          </a:p>
        </p:txBody>
      </p:sp>
      <p:sp>
        <p:nvSpPr>
          <p:cNvPr id="14" name="Text Placeholder 4">
            <a:extLst>
              <a:ext uri="{FF2B5EF4-FFF2-40B4-BE49-F238E27FC236}">
                <a16:creationId xmlns:a16="http://schemas.microsoft.com/office/drawing/2014/main" id="{24B83EB3-2977-9346-AF0F-A0695B915352}"/>
              </a:ext>
            </a:extLst>
          </p:cNvPr>
          <p:cNvSpPr>
            <a:spLocks noGrp="1"/>
          </p:cNvSpPr>
          <p:nvPr>
            <p:ph type="body" sz="quarter" idx="13" hasCustomPrompt="1"/>
          </p:nvPr>
        </p:nvSpPr>
        <p:spPr>
          <a:xfrm>
            <a:off x="488951" y="1043417"/>
            <a:ext cx="11193296" cy="331601"/>
          </a:xfrm>
        </p:spPr>
        <p:txBody>
          <a:bodyPr anchor="t"/>
          <a:lstStyle>
            <a:lvl1pPr marL="0" indent="0">
              <a:buNone/>
              <a:defRPr sz="2400" i="0">
                <a:solidFill>
                  <a:schemeClr val="bg1">
                    <a:lumMod val="50000"/>
                  </a:schemeClr>
                </a:solidFill>
              </a:defRPr>
            </a:lvl1pPr>
            <a:lvl2pPr marL="169863" indent="0">
              <a:buNone/>
              <a:defRPr/>
            </a:lvl2pPr>
            <a:lvl3pPr marL="344487" indent="0">
              <a:buNone/>
              <a:defRPr/>
            </a:lvl3pPr>
            <a:lvl4pPr marL="458788" indent="0">
              <a:buNone/>
              <a:defRPr/>
            </a:lvl4pPr>
            <a:lvl5pPr marL="630237" indent="0">
              <a:buNone/>
              <a:defRPr/>
            </a:lvl5pPr>
          </a:lstStyle>
          <a:p>
            <a:pPr lvl="0"/>
            <a:r>
              <a:rPr lang="en-US" dirty="0"/>
              <a:t>Subtitle goes here, </a:t>
            </a:r>
            <a:r>
              <a:rPr lang="en-US" dirty="0" err="1"/>
              <a:t>Roboto</a:t>
            </a:r>
            <a:r>
              <a:rPr lang="en-US" dirty="0"/>
              <a:t> Regular 24 point, no longer than one line</a:t>
            </a:r>
          </a:p>
        </p:txBody>
      </p:sp>
    </p:spTree>
    <p:extLst>
      <p:ext uri="{BB962C8B-B14F-4D97-AF65-F5344CB8AC3E}">
        <p14:creationId xmlns:p14="http://schemas.microsoft.com/office/powerpoint/2010/main" val="83768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Demo slide">
    <p:bg>
      <p:bgPr>
        <a:solidFill>
          <a:schemeClr val="accent2"/>
        </a:solidFill>
        <a:effectLst/>
      </p:bgPr>
    </p:bg>
    <p:spTree>
      <p:nvGrpSpPr>
        <p:cNvPr id="1" name=""/>
        <p:cNvGrpSpPr/>
        <p:nvPr/>
      </p:nvGrpSpPr>
      <p:grpSpPr>
        <a:xfrm>
          <a:off x="0" y="0"/>
          <a:ext cx="0" cy="0"/>
          <a:chOff x="0" y="0"/>
          <a:chExt cx="0" cy="0"/>
        </a:xfrm>
      </p:grpSpPr>
      <p:sp>
        <p:nvSpPr>
          <p:cNvPr id="32" name="Text Placeholder 2">
            <a:extLst>
              <a:ext uri="{FF2B5EF4-FFF2-40B4-BE49-F238E27FC236}">
                <a16:creationId xmlns:a16="http://schemas.microsoft.com/office/drawing/2014/main" id="{03D036BC-CEE4-495F-AE6C-C29B6F739424}"/>
              </a:ext>
            </a:extLst>
          </p:cNvPr>
          <p:cNvSpPr>
            <a:spLocks noGrp="1"/>
          </p:cNvSpPr>
          <p:nvPr>
            <p:ph type="body" idx="27" hasCustomPrompt="1"/>
          </p:nvPr>
        </p:nvSpPr>
        <p:spPr>
          <a:xfrm>
            <a:off x="1008872" y="4129458"/>
            <a:ext cx="5046038" cy="741664"/>
          </a:xfrm>
          <a:prstGeom prst="rect">
            <a:avLst/>
          </a:prstGeom>
        </p:spPr>
        <p:txBody>
          <a:bodyPr lIns="0" anchor="t"/>
          <a:lstStyle>
            <a:lvl1pPr marL="0" indent="0" algn="l">
              <a:buNone/>
              <a:defRPr sz="2400" b="0" baseline="0">
                <a:solidFill>
                  <a:schemeClr val="bg1"/>
                </a:solidFill>
                <a:latin typeface="Roboto" panose="02000000000000000000" pitchFamily="2" charset="0"/>
                <a:ea typeface="Roboto" panose="02000000000000000000" pitchFamily="2" charset="0"/>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2" indent="0">
              <a:buNone/>
              <a:defRPr sz="1600" b="1"/>
            </a:lvl6pPr>
            <a:lvl7pPr marL="2742651" indent="0">
              <a:buNone/>
              <a:defRPr sz="1600" b="1"/>
            </a:lvl7pPr>
            <a:lvl8pPr marL="3199760" indent="0">
              <a:buNone/>
              <a:defRPr sz="1600" b="1"/>
            </a:lvl8pPr>
            <a:lvl9pPr marL="3656869" indent="0">
              <a:buNone/>
              <a:defRPr sz="1600" b="1"/>
            </a:lvl9pPr>
          </a:lstStyle>
          <a:p>
            <a:pPr lvl="0"/>
            <a:r>
              <a:rPr lang="en-US"/>
              <a:t>Subtitle goes here</a:t>
            </a:r>
          </a:p>
        </p:txBody>
      </p:sp>
      <p:pic>
        <p:nvPicPr>
          <p:cNvPr id="21" name="Shape 837">
            <a:extLst>
              <a:ext uri="{FF2B5EF4-FFF2-40B4-BE49-F238E27FC236}">
                <a16:creationId xmlns:a16="http://schemas.microsoft.com/office/drawing/2014/main" id="{FCE5B30E-BD98-4A8E-AC96-A66F728F6770}"/>
              </a:ext>
            </a:extLst>
          </p:cNvPr>
          <p:cNvPicPr preferRelativeResize="0"/>
          <p:nvPr userDrawn="1"/>
        </p:nvPicPr>
        <p:blipFill rotWithShape="1">
          <a:blip r:embed="rId2" cstate="screen">
            <a:alphaModFix/>
            <a:extLst>
              <a:ext uri="{28A0092B-C50C-407E-A947-70E740481C1C}">
                <a14:useLocalDpi xmlns:a14="http://schemas.microsoft.com/office/drawing/2010/main"/>
              </a:ext>
            </a:extLst>
          </a:blip>
          <a:srcRect/>
          <a:stretch/>
        </p:blipFill>
        <p:spPr>
          <a:xfrm>
            <a:off x="5941606" y="919357"/>
            <a:ext cx="5433383" cy="4455053"/>
          </a:xfrm>
          <a:prstGeom prst="rect">
            <a:avLst/>
          </a:prstGeom>
          <a:noFill/>
          <a:ln>
            <a:noFill/>
          </a:ln>
        </p:spPr>
      </p:pic>
      <p:sp>
        <p:nvSpPr>
          <p:cNvPr id="24" name="Picture Placeholder 6">
            <a:extLst>
              <a:ext uri="{FF2B5EF4-FFF2-40B4-BE49-F238E27FC236}">
                <a16:creationId xmlns:a16="http://schemas.microsoft.com/office/drawing/2014/main" id="{278EB4C9-6423-4889-877F-CF2AB219040E}"/>
              </a:ext>
            </a:extLst>
          </p:cNvPr>
          <p:cNvSpPr>
            <a:spLocks noGrp="1"/>
          </p:cNvSpPr>
          <p:nvPr>
            <p:ph type="pic" sz="quarter" idx="15" hasCustomPrompt="1"/>
          </p:nvPr>
        </p:nvSpPr>
        <p:spPr>
          <a:xfrm>
            <a:off x="6367357" y="1169109"/>
            <a:ext cx="4617739" cy="2542488"/>
          </a:xfrm>
          <a:prstGeom prst="rect">
            <a:avLst/>
          </a:prstGeom>
          <a:solidFill>
            <a:schemeClr val="bg1">
              <a:lumMod val="95000"/>
            </a:schemeClr>
          </a:solidFill>
        </p:spPr>
        <p:txBody>
          <a:bodyPr anchor="ctr"/>
          <a:lstStyle>
            <a:lvl1pPr marL="0" indent="0" algn="ctr">
              <a:buNone/>
              <a:defRPr>
                <a:latin typeface="Roboto" panose="02000000000000000000" pitchFamily="2" charset="0"/>
                <a:ea typeface="Roboto" panose="02000000000000000000" pitchFamily="2" charset="0"/>
              </a:defRPr>
            </a:lvl1pPr>
          </a:lstStyle>
          <a:p>
            <a:r>
              <a:rPr lang="en-US"/>
              <a:t>CLICK TO INSERT SCREENSHOT</a:t>
            </a:r>
          </a:p>
        </p:txBody>
      </p:sp>
      <p:sp>
        <p:nvSpPr>
          <p:cNvPr id="11" name="Right Triangle 10">
            <a:extLst>
              <a:ext uri="{FF2B5EF4-FFF2-40B4-BE49-F238E27FC236}">
                <a16:creationId xmlns:a16="http://schemas.microsoft.com/office/drawing/2014/main" id="{4A777C70-5652-864C-86C3-2876743FF62D}"/>
              </a:ext>
            </a:extLst>
          </p:cNvPr>
          <p:cNvSpPr/>
          <p:nvPr userDrawn="1"/>
        </p:nvSpPr>
        <p:spPr>
          <a:xfrm rot="5400000" flipH="1" flipV="1">
            <a:off x="8079706" y="2758965"/>
            <a:ext cx="2123830" cy="6094413"/>
          </a:xfrm>
          <a:prstGeom prst="r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12" name="Right Triangle 11">
            <a:extLst>
              <a:ext uri="{FF2B5EF4-FFF2-40B4-BE49-F238E27FC236}">
                <a16:creationId xmlns:a16="http://schemas.microsoft.com/office/drawing/2014/main" id="{553953B1-E5D9-F744-ADD9-C6DDFA76AAF4}"/>
              </a:ext>
            </a:extLst>
          </p:cNvPr>
          <p:cNvSpPr/>
          <p:nvPr userDrawn="1"/>
        </p:nvSpPr>
        <p:spPr>
          <a:xfrm rot="5400000" flipH="1" flipV="1">
            <a:off x="8199800" y="2879061"/>
            <a:ext cx="1883641" cy="6094413"/>
          </a:xfrm>
          <a:prstGeom prst="rtTriangle">
            <a:avLst/>
          </a:prstGeom>
          <a:solidFill>
            <a:srgbClr val="070606"/>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pic>
        <p:nvPicPr>
          <p:cNvPr id="10" name="Picture 9">
            <a:extLst>
              <a:ext uri="{FF2B5EF4-FFF2-40B4-BE49-F238E27FC236}">
                <a16:creationId xmlns:a16="http://schemas.microsoft.com/office/drawing/2014/main" id="{2CC7850E-D44D-3848-ADF8-1085193142A7}"/>
              </a:ext>
            </a:extLst>
          </p:cNvPr>
          <p:cNvPicPr>
            <a:picLocks noChangeAspect="1"/>
          </p:cNvPicPr>
          <p:nvPr userDrawn="1"/>
        </p:nvPicPr>
        <p:blipFill>
          <a:blip r:embed="rId3"/>
          <a:stretch>
            <a:fillRect/>
          </a:stretch>
        </p:blipFill>
        <p:spPr>
          <a:xfrm>
            <a:off x="9742965" y="6094698"/>
            <a:ext cx="2041656" cy="704088"/>
          </a:xfrm>
          <a:prstGeom prst="rect">
            <a:avLst/>
          </a:prstGeom>
        </p:spPr>
      </p:pic>
      <p:sp>
        <p:nvSpPr>
          <p:cNvPr id="5" name="Text Placeholder 4">
            <a:extLst>
              <a:ext uri="{FF2B5EF4-FFF2-40B4-BE49-F238E27FC236}">
                <a16:creationId xmlns:a16="http://schemas.microsoft.com/office/drawing/2014/main" id="{16D13F5F-F62A-ED4E-A4B4-4A5D0CC0DF06}"/>
              </a:ext>
            </a:extLst>
          </p:cNvPr>
          <p:cNvSpPr>
            <a:spLocks noGrp="1"/>
          </p:cNvSpPr>
          <p:nvPr>
            <p:ph type="body" sz="quarter" idx="28" hasCustomPrompt="1"/>
          </p:nvPr>
        </p:nvSpPr>
        <p:spPr>
          <a:xfrm>
            <a:off x="974325" y="2290539"/>
            <a:ext cx="5027454" cy="914400"/>
          </a:xfrm>
          <a:prstGeom prst="rect">
            <a:avLst/>
          </a:prstGeom>
        </p:spPr>
        <p:txBody>
          <a:bodyPr lIns="0"/>
          <a:lstStyle>
            <a:lvl1pPr marL="0" indent="0">
              <a:buNone/>
              <a:defRPr sz="6600" b="0">
                <a:latin typeface="+mj-lt"/>
                <a:ea typeface="Roboto" panose="02000000000000000000" pitchFamily="2" charset="0"/>
              </a:defRPr>
            </a:lvl1pPr>
          </a:lstStyle>
          <a:p>
            <a:pPr lvl="0"/>
            <a:r>
              <a:rPr lang="en-US"/>
              <a:t>DEMO</a:t>
            </a:r>
          </a:p>
        </p:txBody>
      </p:sp>
    </p:spTree>
    <p:extLst>
      <p:ext uri="{BB962C8B-B14F-4D97-AF65-F5344CB8AC3E}">
        <p14:creationId xmlns:p14="http://schemas.microsoft.com/office/powerpoint/2010/main" val="3067117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Title/Content/Half-Blank 3">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7EA730E-202D-4D0A-9895-8A3DA0473740}"/>
              </a:ext>
            </a:extLst>
          </p:cNvPr>
          <p:cNvSpPr/>
          <p:nvPr userDrawn="1"/>
        </p:nvSpPr>
        <p:spPr>
          <a:xfrm>
            <a:off x="1"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Roboto" panose="02000000000000000000" pitchFamily="2" charset="0"/>
            </a:endParaRPr>
          </a:p>
        </p:txBody>
      </p:sp>
      <p:sp>
        <p:nvSpPr>
          <p:cNvPr id="9" name="Content Placeholder 5">
            <a:extLst>
              <a:ext uri="{FF2B5EF4-FFF2-40B4-BE49-F238E27FC236}">
                <a16:creationId xmlns:a16="http://schemas.microsoft.com/office/drawing/2014/main" id="{72E72F80-91EB-43D3-9057-E2DC59B75471}"/>
              </a:ext>
            </a:extLst>
          </p:cNvPr>
          <p:cNvSpPr>
            <a:spLocks noGrp="1"/>
          </p:cNvSpPr>
          <p:nvPr>
            <p:ph sz="quarter" idx="14" hasCustomPrompt="1"/>
          </p:nvPr>
        </p:nvSpPr>
        <p:spPr>
          <a:xfrm>
            <a:off x="493713" y="1854200"/>
            <a:ext cx="5424487" cy="4165600"/>
          </a:xfrm>
          <a:prstGeom prst="rect">
            <a:avLst/>
          </a:prstGeom>
          <a:noFill/>
        </p:spPr>
        <p:txBody>
          <a:bodyPr lIns="0"/>
          <a:lstStyle>
            <a:lvl1pPr>
              <a:buClr>
                <a:schemeClr val="bg1"/>
              </a:buClr>
              <a:defRPr baseline="0">
                <a:solidFill>
                  <a:schemeClr val="bg1"/>
                </a:solidFill>
                <a:latin typeface="Roboto" panose="02000000000000000000" pitchFamily="2" charset="0"/>
                <a:ea typeface="Roboto" panose="02000000000000000000" pitchFamily="2" charset="0"/>
              </a:defRPr>
            </a:lvl1pPr>
            <a:lvl2pPr marL="514350" indent="-169863">
              <a:defRPr baseline="0">
                <a:solidFill>
                  <a:schemeClr val="bg1"/>
                </a:solidFill>
              </a:defRPr>
            </a:lvl2pPr>
            <a:lvl3pPr>
              <a:defRPr lang="en-US" sz="1600" b="0" i="0" kern="1200" dirty="0">
                <a:solidFill>
                  <a:schemeClr val="bg1"/>
                </a:solidFill>
                <a:latin typeface="Roboto" charset="0"/>
                <a:ea typeface="Roboto" charset="0"/>
                <a:cs typeface="Roboto" charset="0"/>
              </a:defRPr>
            </a:lvl3pPr>
          </a:lstStyle>
          <a:p>
            <a:pPr lvl="0"/>
            <a:r>
              <a:rPr lang="en-US"/>
              <a:t>First bullet, Roboto Regular 20 point</a:t>
            </a:r>
          </a:p>
        </p:txBody>
      </p:sp>
      <p:sp>
        <p:nvSpPr>
          <p:cNvPr id="10" name="Title 1">
            <a:extLst>
              <a:ext uri="{FF2B5EF4-FFF2-40B4-BE49-F238E27FC236}">
                <a16:creationId xmlns:a16="http://schemas.microsoft.com/office/drawing/2014/main" id="{B96418C4-B832-4880-8986-EEAA2D4D84BA}"/>
              </a:ext>
            </a:extLst>
          </p:cNvPr>
          <p:cNvSpPr>
            <a:spLocks noGrp="1"/>
          </p:cNvSpPr>
          <p:nvPr>
            <p:ph type="title" hasCustomPrompt="1"/>
          </p:nvPr>
        </p:nvSpPr>
        <p:spPr>
          <a:xfrm>
            <a:off x="482474" y="482602"/>
            <a:ext cx="5429939" cy="1066798"/>
          </a:xfrm>
          <a:prstGeom prst="rect">
            <a:avLst/>
          </a:prstGeom>
          <a:noFill/>
        </p:spPr>
        <p:txBody>
          <a:bodyPr/>
          <a:lstStyle>
            <a:lvl1pPr>
              <a:defRPr baseline="0">
                <a:solidFill>
                  <a:schemeClr val="bg1"/>
                </a:solidFill>
              </a:defRPr>
            </a:lvl1pPr>
          </a:lstStyle>
          <a:p>
            <a:r>
              <a:rPr lang="en-US"/>
              <a:t>Headline Goes Here, Roboto Light, 36 Points</a:t>
            </a:r>
          </a:p>
        </p:txBody>
      </p:sp>
      <p:sp>
        <p:nvSpPr>
          <p:cNvPr id="2" name="TextBox 1">
            <a:extLst>
              <a:ext uri="{FF2B5EF4-FFF2-40B4-BE49-F238E27FC236}">
                <a16:creationId xmlns:a16="http://schemas.microsoft.com/office/drawing/2014/main" id="{6C099F2A-1805-4D4C-A962-65D06960807B}"/>
              </a:ext>
            </a:extLst>
          </p:cNvPr>
          <p:cNvSpPr txBox="1"/>
          <p:nvPr userDrawn="1"/>
        </p:nvSpPr>
        <p:spPr>
          <a:xfrm>
            <a:off x="176868" y="6365106"/>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900" b="0" i="0" kern="1200" smtClean="0">
                <a:solidFill>
                  <a:schemeClr val="bg1"/>
                </a:solidFill>
                <a:latin typeface="Roboto" panose="02000000000000000000" pitchFamily="2" charset="0"/>
                <a:ea typeface="Roboto" panose="02000000000000000000" pitchFamily="2" charset="0"/>
                <a:cs typeface="Roboto" charset="0"/>
              </a:rPr>
              <a:pPr marL="0" lvl="0" algn="ctr" defTabSz="457200" rtl="0" eaLnBrk="1" latinLnBrk="0" hangingPunct="1"/>
              <a:t>‹#›</a:t>
            </a:fld>
            <a:endParaRPr lang="en-US" sz="900" b="0" i="0" kern="1200">
              <a:solidFill>
                <a:schemeClr val="bg1"/>
              </a:solidFill>
              <a:latin typeface="Roboto" panose="02000000000000000000" pitchFamily="2" charset="0"/>
              <a:ea typeface="Roboto" panose="02000000000000000000" pitchFamily="2" charset="0"/>
              <a:cs typeface="Roboto" charset="0"/>
            </a:endParaRPr>
          </a:p>
        </p:txBody>
      </p:sp>
      <p:sp>
        <p:nvSpPr>
          <p:cNvPr id="5" name="TextBox 4">
            <a:extLst>
              <a:ext uri="{FF2B5EF4-FFF2-40B4-BE49-F238E27FC236}">
                <a16:creationId xmlns:a16="http://schemas.microsoft.com/office/drawing/2014/main" id="{03AA5F3A-99AF-469C-A940-3C0655CBA6CC}"/>
              </a:ext>
            </a:extLst>
          </p:cNvPr>
          <p:cNvSpPr txBox="1"/>
          <p:nvPr userDrawn="1"/>
        </p:nvSpPr>
        <p:spPr>
          <a:xfrm>
            <a:off x="1023708"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a:solidFill>
                  <a:schemeClr val="bg1"/>
                </a:solidFill>
                <a:latin typeface="Roboto" panose="02000000000000000000" pitchFamily="2" charset="0"/>
                <a:ea typeface="Roboto" panose="02000000000000000000" pitchFamily="2" charset="0"/>
                <a:cs typeface="Roboto" charset="0"/>
              </a:rPr>
              <a:t>© Informatica. Proprietary and Confidential.</a:t>
            </a:r>
          </a:p>
        </p:txBody>
      </p:sp>
    </p:spTree>
    <p:extLst>
      <p:ext uri="{BB962C8B-B14F-4D97-AF65-F5344CB8AC3E}">
        <p14:creationId xmlns:p14="http://schemas.microsoft.com/office/powerpoint/2010/main" val="4204987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Title/Content/Half-Blank 4">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7EA730E-202D-4D0A-9895-8A3DA0473740}"/>
              </a:ext>
            </a:extLst>
          </p:cNvPr>
          <p:cNvSpPr/>
          <p:nvPr userDrawn="1"/>
        </p:nvSpPr>
        <p:spPr>
          <a:xfrm>
            <a:off x="6461185" y="0"/>
            <a:ext cx="574424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Roboto" panose="02000000000000000000" pitchFamily="2" charset="0"/>
            </a:endParaRPr>
          </a:p>
        </p:txBody>
      </p:sp>
      <p:sp>
        <p:nvSpPr>
          <p:cNvPr id="9" name="Content Placeholder 5">
            <a:extLst>
              <a:ext uri="{FF2B5EF4-FFF2-40B4-BE49-F238E27FC236}">
                <a16:creationId xmlns:a16="http://schemas.microsoft.com/office/drawing/2014/main" id="{72E72F80-91EB-43D3-9057-E2DC59B75471}"/>
              </a:ext>
            </a:extLst>
          </p:cNvPr>
          <p:cNvSpPr>
            <a:spLocks noGrp="1"/>
          </p:cNvSpPr>
          <p:nvPr>
            <p:ph sz="quarter" idx="14" hasCustomPrompt="1"/>
          </p:nvPr>
        </p:nvSpPr>
        <p:spPr>
          <a:xfrm>
            <a:off x="6694098" y="1854200"/>
            <a:ext cx="4983552" cy="4165600"/>
          </a:xfrm>
          <a:prstGeom prst="rect">
            <a:avLst/>
          </a:prstGeom>
        </p:spPr>
        <p:txBody>
          <a:bodyPr lIns="0"/>
          <a:lstStyle>
            <a:lvl1pPr>
              <a:buClr>
                <a:schemeClr val="bg1"/>
              </a:buClr>
              <a:defRPr baseline="0">
                <a:solidFill>
                  <a:schemeClr val="bg1"/>
                </a:solidFill>
                <a:latin typeface="Roboto" panose="02000000000000000000" pitchFamily="2" charset="0"/>
                <a:ea typeface="Roboto" panose="02000000000000000000" pitchFamily="2" charset="0"/>
              </a:defRPr>
            </a:lvl1pPr>
            <a:lvl2pPr marL="514350" indent="-169863">
              <a:defRPr baseline="0">
                <a:solidFill>
                  <a:schemeClr val="bg1"/>
                </a:solidFill>
              </a:defRPr>
            </a:lvl2pPr>
            <a:lvl3pPr>
              <a:defRPr lang="en-US" sz="1600" b="0" i="0" kern="1200" dirty="0">
                <a:solidFill>
                  <a:schemeClr val="bg1"/>
                </a:solidFill>
                <a:latin typeface="Roboto" charset="0"/>
                <a:ea typeface="Roboto" charset="0"/>
                <a:cs typeface="Roboto" charset="0"/>
              </a:defRPr>
            </a:lvl3pPr>
          </a:lstStyle>
          <a:p>
            <a:pPr lvl="0"/>
            <a:r>
              <a:rPr lang="en-US"/>
              <a:t>First bullet, Roboto Regular 20 point</a:t>
            </a:r>
          </a:p>
        </p:txBody>
      </p:sp>
      <p:sp>
        <p:nvSpPr>
          <p:cNvPr id="10" name="Title 1">
            <a:extLst>
              <a:ext uri="{FF2B5EF4-FFF2-40B4-BE49-F238E27FC236}">
                <a16:creationId xmlns:a16="http://schemas.microsoft.com/office/drawing/2014/main" id="{B96418C4-B832-4880-8986-EEAA2D4D84BA}"/>
              </a:ext>
            </a:extLst>
          </p:cNvPr>
          <p:cNvSpPr>
            <a:spLocks noGrp="1"/>
          </p:cNvSpPr>
          <p:nvPr>
            <p:ph type="title" hasCustomPrompt="1"/>
          </p:nvPr>
        </p:nvSpPr>
        <p:spPr>
          <a:xfrm>
            <a:off x="6683301" y="482602"/>
            <a:ext cx="4988561" cy="1066798"/>
          </a:xfrm>
          <a:prstGeom prst="rect">
            <a:avLst/>
          </a:prstGeom>
        </p:spPr>
        <p:txBody>
          <a:bodyPr/>
          <a:lstStyle>
            <a:lvl1pPr>
              <a:defRPr baseline="0">
                <a:solidFill>
                  <a:schemeClr val="bg1"/>
                </a:solidFill>
              </a:defRPr>
            </a:lvl1pPr>
          </a:lstStyle>
          <a:p>
            <a:r>
              <a:rPr lang="en-US"/>
              <a:t>Headline Goes Here, Roboto Light, 36 Points</a:t>
            </a:r>
          </a:p>
        </p:txBody>
      </p:sp>
      <p:sp>
        <p:nvSpPr>
          <p:cNvPr id="3" name="TextBox 2">
            <a:extLst>
              <a:ext uri="{FF2B5EF4-FFF2-40B4-BE49-F238E27FC236}">
                <a16:creationId xmlns:a16="http://schemas.microsoft.com/office/drawing/2014/main" id="{9A450B05-90D8-4F04-932F-83CD8495F832}"/>
              </a:ext>
            </a:extLst>
          </p:cNvPr>
          <p:cNvSpPr txBox="1"/>
          <p:nvPr userDrawn="1"/>
        </p:nvSpPr>
        <p:spPr>
          <a:xfrm>
            <a:off x="176868" y="6365106"/>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900" b="0" i="0" kern="1200" smtClean="0">
                <a:solidFill>
                  <a:schemeClr val="tx1"/>
                </a:solidFill>
                <a:latin typeface="Roboto" panose="02000000000000000000" pitchFamily="2" charset="0"/>
                <a:ea typeface="Roboto" panose="02000000000000000000" pitchFamily="2" charset="0"/>
                <a:cs typeface="Roboto" charset="0"/>
              </a:rPr>
              <a:pPr marL="0" lvl="0" algn="ctr" defTabSz="457200" rtl="0" eaLnBrk="1" latinLnBrk="0" hangingPunct="1"/>
              <a:t>‹#›</a:t>
            </a:fld>
            <a:endParaRPr lang="en-US" sz="900" b="0" i="0" kern="1200">
              <a:solidFill>
                <a:schemeClr val="tx1"/>
              </a:solidFill>
              <a:latin typeface="Roboto" panose="02000000000000000000" pitchFamily="2" charset="0"/>
              <a:ea typeface="Roboto" panose="02000000000000000000" pitchFamily="2" charset="0"/>
              <a:cs typeface="Roboto" charset="0"/>
            </a:endParaRPr>
          </a:p>
        </p:txBody>
      </p:sp>
      <p:sp>
        <p:nvSpPr>
          <p:cNvPr id="6" name="TextBox 5">
            <a:extLst>
              <a:ext uri="{FF2B5EF4-FFF2-40B4-BE49-F238E27FC236}">
                <a16:creationId xmlns:a16="http://schemas.microsoft.com/office/drawing/2014/main" id="{D04B70F9-FF2A-487C-8807-EEB5ACDB4AD2}"/>
              </a:ext>
            </a:extLst>
          </p:cNvPr>
          <p:cNvSpPr txBox="1"/>
          <p:nvPr userDrawn="1"/>
        </p:nvSpPr>
        <p:spPr>
          <a:xfrm>
            <a:off x="1023708"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a:solidFill>
                  <a:schemeClr val="tx1"/>
                </a:solidFill>
                <a:latin typeface="Roboto" panose="02000000000000000000" pitchFamily="2" charset="0"/>
                <a:ea typeface="Roboto" panose="02000000000000000000" pitchFamily="2" charset="0"/>
                <a:cs typeface="Roboto" charset="0"/>
              </a:rPr>
              <a:t>© Informatica. Proprietary and Confidential.</a:t>
            </a:r>
          </a:p>
        </p:txBody>
      </p:sp>
    </p:spTree>
    <p:extLst>
      <p:ext uri="{BB962C8B-B14F-4D97-AF65-F5344CB8AC3E}">
        <p14:creationId xmlns:p14="http://schemas.microsoft.com/office/powerpoint/2010/main" val="2587917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hank you slide w/ clouds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1CE8D14C-0995-9546-930B-796CBEC37543}"/>
              </a:ext>
            </a:extLst>
          </p:cNvPr>
          <p:cNvSpPr/>
          <p:nvPr userDrawn="1"/>
        </p:nvSpPr>
        <p:spPr>
          <a:xfrm rot="16200000">
            <a:off x="4973323" y="1598218"/>
            <a:ext cx="6865702" cy="3660367"/>
          </a:xfrm>
          <a:custGeom>
            <a:avLst/>
            <a:gdLst>
              <a:gd name="connsiteX0" fmla="*/ 6837041 w 6837041"/>
              <a:gd name="connsiteY0" fmla="*/ 3595080 h 3595080"/>
              <a:gd name="connsiteX1" fmla="*/ 0 w 6837041"/>
              <a:gd name="connsiteY1" fmla="*/ 443330 h 3595080"/>
              <a:gd name="connsiteX2" fmla="*/ 0 w 6837041"/>
              <a:gd name="connsiteY2" fmla="*/ 0 h 3595080"/>
              <a:gd name="connsiteX0" fmla="*/ 6859268 w 6859268"/>
              <a:gd name="connsiteY0" fmla="*/ 3601433 h 3601433"/>
              <a:gd name="connsiteX1" fmla="*/ 0 w 6859268"/>
              <a:gd name="connsiteY1" fmla="*/ 443330 h 3601433"/>
              <a:gd name="connsiteX2" fmla="*/ 0 w 6859268"/>
              <a:gd name="connsiteY2" fmla="*/ 0 h 3601433"/>
              <a:gd name="connsiteX3" fmla="*/ 6859268 w 6859268"/>
              <a:gd name="connsiteY3" fmla="*/ 3601433 h 3601433"/>
              <a:gd name="connsiteX0" fmla="*/ 6881570 w 6881570"/>
              <a:gd name="connsiteY0" fmla="*/ 3657189 h 3657189"/>
              <a:gd name="connsiteX1" fmla="*/ 22302 w 6881570"/>
              <a:gd name="connsiteY1" fmla="*/ 499086 h 3657189"/>
              <a:gd name="connsiteX2" fmla="*/ 0 w 6881570"/>
              <a:gd name="connsiteY2" fmla="*/ 0 h 3657189"/>
              <a:gd name="connsiteX3" fmla="*/ 6881570 w 6881570"/>
              <a:gd name="connsiteY3" fmla="*/ 3657189 h 3657189"/>
              <a:gd name="connsiteX0" fmla="*/ 6862521 w 6862521"/>
              <a:gd name="connsiteY0" fmla="*/ 3657189 h 3657189"/>
              <a:gd name="connsiteX1" fmla="*/ 3253 w 6862521"/>
              <a:gd name="connsiteY1" fmla="*/ 499086 h 3657189"/>
              <a:gd name="connsiteX2" fmla="*/ 0 w 6862521"/>
              <a:gd name="connsiteY2" fmla="*/ 0 h 3657189"/>
              <a:gd name="connsiteX3" fmla="*/ 6862521 w 6862521"/>
              <a:gd name="connsiteY3" fmla="*/ 3657189 h 3657189"/>
              <a:gd name="connsiteX0" fmla="*/ 6862521 w 6862521"/>
              <a:gd name="connsiteY0" fmla="*/ 3654014 h 3654014"/>
              <a:gd name="connsiteX1" fmla="*/ 3253 w 6862521"/>
              <a:gd name="connsiteY1" fmla="*/ 499086 h 3654014"/>
              <a:gd name="connsiteX2" fmla="*/ 0 w 6862521"/>
              <a:gd name="connsiteY2" fmla="*/ 0 h 3654014"/>
              <a:gd name="connsiteX3" fmla="*/ 6862521 w 6862521"/>
              <a:gd name="connsiteY3" fmla="*/ 3654014 h 3654014"/>
              <a:gd name="connsiteX0" fmla="*/ 6865698 w 6865698"/>
              <a:gd name="connsiteY0" fmla="*/ 3660367 h 3660367"/>
              <a:gd name="connsiteX1" fmla="*/ 3253 w 6865698"/>
              <a:gd name="connsiteY1" fmla="*/ 499086 h 3660367"/>
              <a:gd name="connsiteX2" fmla="*/ 0 w 6865698"/>
              <a:gd name="connsiteY2" fmla="*/ 0 h 3660367"/>
              <a:gd name="connsiteX3" fmla="*/ 6865698 w 6865698"/>
              <a:gd name="connsiteY3" fmla="*/ 3660367 h 3660367"/>
            </a:gdLst>
            <a:ahLst/>
            <a:cxnLst>
              <a:cxn ang="0">
                <a:pos x="connsiteX0" y="connsiteY0"/>
              </a:cxn>
              <a:cxn ang="0">
                <a:pos x="connsiteX1" y="connsiteY1"/>
              </a:cxn>
              <a:cxn ang="0">
                <a:pos x="connsiteX2" y="connsiteY2"/>
              </a:cxn>
              <a:cxn ang="0">
                <a:pos x="connsiteX3" y="connsiteY3"/>
              </a:cxn>
            </a:cxnLst>
            <a:rect l="l" t="t" r="r" b="b"/>
            <a:pathLst>
              <a:path w="6865698" h="3660367">
                <a:moveTo>
                  <a:pt x="6865698" y="3660367"/>
                </a:moveTo>
                <a:lnTo>
                  <a:pt x="3253" y="499086"/>
                </a:lnTo>
                <a:cubicBezTo>
                  <a:pt x="2169" y="332724"/>
                  <a:pt x="1084" y="166362"/>
                  <a:pt x="0" y="0"/>
                </a:cubicBezTo>
                <a:lnTo>
                  <a:pt x="6865698" y="3660367"/>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accent1"/>
              </a:solidFill>
              <a:latin typeface="Roboto" panose="02000000000000000000" pitchFamily="2" charset="0"/>
            </a:endParaRPr>
          </a:p>
        </p:txBody>
      </p:sp>
      <p:sp>
        <p:nvSpPr>
          <p:cNvPr id="13" name="Freeform 12">
            <a:extLst>
              <a:ext uri="{FF2B5EF4-FFF2-40B4-BE49-F238E27FC236}">
                <a16:creationId xmlns:a16="http://schemas.microsoft.com/office/drawing/2014/main" id="{FCD3FEBB-463A-0A4C-9DBE-6770EDCA2BE8}"/>
              </a:ext>
            </a:extLst>
          </p:cNvPr>
          <p:cNvSpPr/>
          <p:nvPr userDrawn="1"/>
        </p:nvSpPr>
        <p:spPr>
          <a:xfrm>
            <a:off x="7020383" y="250"/>
            <a:ext cx="5168442" cy="6857751"/>
          </a:xfrm>
          <a:custGeom>
            <a:avLst/>
            <a:gdLst>
              <a:gd name="connsiteX0" fmla="*/ 5168442 w 5168442"/>
              <a:gd name="connsiteY0" fmla="*/ 0 h 6857751"/>
              <a:gd name="connsiteX1" fmla="*/ 5168442 w 5168442"/>
              <a:gd name="connsiteY1" fmla="*/ 6857751 h 6857751"/>
              <a:gd name="connsiteX2" fmla="*/ 4990745 w 5168442"/>
              <a:gd name="connsiteY2" fmla="*/ 6857751 h 6857751"/>
              <a:gd name="connsiteX3" fmla="*/ 3561939 w 5168442"/>
              <a:gd name="connsiteY3" fmla="*/ 6857751 h 6857751"/>
              <a:gd name="connsiteX4" fmla="*/ 3561939 w 5168442"/>
              <a:gd name="connsiteY4" fmla="*/ 6857158 h 6857751"/>
              <a:gd name="connsiteX5" fmla="*/ 0 w 5168442"/>
              <a:gd name="connsiteY5" fmla="*/ 6855677 h 6857751"/>
              <a:gd name="connsiteX6" fmla="*/ 3213596 w 5168442"/>
              <a:gd name="connsiteY6" fmla="*/ 4195 h 6857751"/>
              <a:gd name="connsiteX7" fmla="*/ 3561939 w 5168442"/>
              <a:gd name="connsiteY7" fmla="*/ 4195 h 6857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68442" h="6857751">
                <a:moveTo>
                  <a:pt x="5168442" y="0"/>
                </a:moveTo>
                <a:lnTo>
                  <a:pt x="5168442" y="6857751"/>
                </a:lnTo>
                <a:lnTo>
                  <a:pt x="4990745" y="6857751"/>
                </a:lnTo>
                <a:lnTo>
                  <a:pt x="3561939" y="6857751"/>
                </a:lnTo>
                <a:lnTo>
                  <a:pt x="3561939" y="6857158"/>
                </a:lnTo>
                <a:lnTo>
                  <a:pt x="0" y="6855677"/>
                </a:lnTo>
                <a:lnTo>
                  <a:pt x="3213596" y="4195"/>
                </a:lnTo>
                <a:lnTo>
                  <a:pt x="3561939" y="4195"/>
                </a:lnTo>
                <a:close/>
              </a:path>
            </a:pathLst>
          </a:custGeom>
          <a:gradFill>
            <a:gsLst>
              <a:gs pos="0">
                <a:schemeClr val="accent2"/>
              </a:gs>
              <a:gs pos="76000">
                <a:srgbClr val="FF6500"/>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rIns="137160" bIns="91440" rtlCol="0" anchor="ctr">
            <a:noAutofit/>
          </a:bodyPr>
          <a:lstStyle/>
          <a:p>
            <a:pPr lvl="0"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15" name="Freeform 14">
            <a:extLst>
              <a:ext uri="{FF2B5EF4-FFF2-40B4-BE49-F238E27FC236}">
                <a16:creationId xmlns:a16="http://schemas.microsoft.com/office/drawing/2014/main" id="{7080FCD3-965E-D74F-AFD1-4B52F5799914}"/>
              </a:ext>
            </a:extLst>
          </p:cNvPr>
          <p:cNvSpPr/>
          <p:nvPr userDrawn="1"/>
        </p:nvSpPr>
        <p:spPr>
          <a:xfrm>
            <a:off x="7407017" y="4547198"/>
            <a:ext cx="4785372" cy="2310802"/>
          </a:xfrm>
          <a:custGeom>
            <a:avLst/>
            <a:gdLst>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16268 w 4717029"/>
              <a:gd name="connsiteY12" fmla="*/ 1924881 h 2310802"/>
              <a:gd name="connsiteX13" fmla="*/ 537304 w 4717029"/>
              <a:gd name="connsiteY13" fmla="*/ 1927002 h 2310802"/>
              <a:gd name="connsiteX14" fmla="*/ 555320 w 4717029"/>
              <a:gd name="connsiteY14" fmla="*/ 1748290 h 2310802"/>
              <a:gd name="connsiteX15" fmla="*/ 1458267 w 4717029"/>
              <a:gd name="connsiteY15" fmla="*/ 1012367 h 2310802"/>
              <a:gd name="connsiteX16" fmla="*/ 2307510 w 4717029"/>
              <a:gd name="connsiteY16" fmla="*/ 1575283 h 2310802"/>
              <a:gd name="connsiteX17" fmla="*/ 2359658 w 4717029"/>
              <a:gd name="connsiteY17" fmla="*/ 1743278 h 2310802"/>
              <a:gd name="connsiteX18" fmla="*/ 2697671 w 4717029"/>
              <a:gd name="connsiteY18" fmla="*/ 1743278 h 2310802"/>
              <a:gd name="connsiteX19" fmla="*/ 2691684 w 4717029"/>
              <a:gd name="connsiteY19" fmla="*/ 1683894 h 2310802"/>
              <a:gd name="connsiteX20" fmla="*/ 3479644 w 4717029"/>
              <a:gd name="connsiteY20" fmla="*/ 895934 h 2310802"/>
              <a:gd name="connsiteX21" fmla="*/ 3555657 w 4717029"/>
              <a:gd name="connsiteY21" fmla="*/ 899772 h 2310802"/>
              <a:gd name="connsiteX22" fmla="*/ 3556684 w 4717029"/>
              <a:gd name="connsiteY22" fmla="*/ 889585 h 2310802"/>
              <a:gd name="connsiteX23" fmla="*/ 4648168 w 4717029"/>
              <a:gd name="connsiteY23"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16268 w 4717029"/>
              <a:gd name="connsiteY12" fmla="*/ 1924881 h 2310802"/>
              <a:gd name="connsiteX13" fmla="*/ 555320 w 4717029"/>
              <a:gd name="connsiteY13" fmla="*/ 1748290 h 2310802"/>
              <a:gd name="connsiteX14" fmla="*/ 1458267 w 4717029"/>
              <a:gd name="connsiteY14" fmla="*/ 1012367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55320 w 4717029"/>
              <a:gd name="connsiteY13" fmla="*/ 1748290 h 2310802"/>
              <a:gd name="connsiteX14" fmla="*/ 1458267 w 4717029"/>
              <a:gd name="connsiteY14" fmla="*/ 1012367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55320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55320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55320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73608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73608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73608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479620 w 4717029"/>
              <a:gd name="connsiteY14" fmla="*/ 1020114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6903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76504 w 4745365"/>
              <a:gd name="connsiteY0" fmla="*/ 0 h 2310802"/>
              <a:gd name="connsiteX1" fmla="*/ 4745365 w 4745365"/>
              <a:gd name="connsiteY1" fmla="*/ 3477 h 2310802"/>
              <a:gd name="connsiteX2" fmla="*/ 4745365 w 4745365"/>
              <a:gd name="connsiteY2" fmla="*/ 2224761 h 2310802"/>
              <a:gd name="connsiteX3" fmla="*/ 4676504 w 4745365"/>
              <a:gd name="connsiteY3" fmla="*/ 2228238 h 2310802"/>
              <a:gd name="connsiteX4" fmla="*/ 4193487 w 4745365"/>
              <a:gd name="connsiteY4" fmla="*/ 2118374 h 2310802"/>
              <a:gd name="connsiteX5" fmla="*/ 4171520 w 4745365"/>
              <a:gd name="connsiteY5" fmla="*/ 2105748 h 2310802"/>
              <a:gd name="connsiteX6" fmla="*/ 4161369 w 4745365"/>
              <a:gd name="connsiteY6" fmla="*/ 2124450 h 2310802"/>
              <a:gd name="connsiteX7" fmla="*/ 4065152 w 4745365"/>
              <a:gd name="connsiteY7" fmla="*/ 2241066 h 2310802"/>
              <a:gd name="connsiteX8" fmla="*/ 3986221 w 4745365"/>
              <a:gd name="connsiteY8" fmla="*/ 2306190 h 2310802"/>
              <a:gd name="connsiteX9" fmla="*/ 3986221 w 4745365"/>
              <a:gd name="connsiteY9" fmla="*/ 2310802 h 2310802"/>
              <a:gd name="connsiteX10" fmla="*/ 0 w 4745365"/>
              <a:gd name="connsiteY10" fmla="*/ 2310802 h 2310802"/>
              <a:gd name="connsiteX11" fmla="*/ 45422 w 4745365"/>
              <a:gd name="connsiteY11" fmla="*/ 2255761 h 2310802"/>
              <a:gd name="connsiteX12" fmla="*/ 551119 w 4745365"/>
              <a:gd name="connsiteY12" fmla="*/ 1890083 h 2310802"/>
              <a:gd name="connsiteX13" fmla="*/ 575332 w 4745365"/>
              <a:gd name="connsiteY13" fmla="*/ 1748290 h 2310802"/>
              <a:gd name="connsiteX14" fmla="*/ 1504807 w 4745365"/>
              <a:gd name="connsiteY14" fmla="*/ 1035989 h 2310802"/>
              <a:gd name="connsiteX15" fmla="*/ 2335846 w 4745365"/>
              <a:gd name="connsiteY15" fmla="*/ 1575283 h 2310802"/>
              <a:gd name="connsiteX16" fmla="*/ 2387994 w 4745365"/>
              <a:gd name="connsiteY16" fmla="*/ 1743278 h 2310802"/>
              <a:gd name="connsiteX17" fmla="*/ 2726007 w 4745365"/>
              <a:gd name="connsiteY17" fmla="*/ 1743278 h 2310802"/>
              <a:gd name="connsiteX18" fmla="*/ 2720020 w 4745365"/>
              <a:gd name="connsiteY18" fmla="*/ 1683894 h 2310802"/>
              <a:gd name="connsiteX19" fmla="*/ 3507980 w 4745365"/>
              <a:gd name="connsiteY19" fmla="*/ 895934 h 2310802"/>
              <a:gd name="connsiteX20" fmla="*/ 3583993 w 4745365"/>
              <a:gd name="connsiteY20" fmla="*/ 899772 h 2310802"/>
              <a:gd name="connsiteX21" fmla="*/ 3585020 w 4745365"/>
              <a:gd name="connsiteY21" fmla="*/ 889585 h 2310802"/>
              <a:gd name="connsiteX22" fmla="*/ 4676504 w 4745365"/>
              <a:gd name="connsiteY22" fmla="*/ 0 h 2310802"/>
              <a:gd name="connsiteX0" fmla="*/ 4676504 w 4745365"/>
              <a:gd name="connsiteY0" fmla="*/ 0 h 2310802"/>
              <a:gd name="connsiteX1" fmla="*/ 4745365 w 4745365"/>
              <a:gd name="connsiteY1" fmla="*/ 3477 h 2310802"/>
              <a:gd name="connsiteX2" fmla="*/ 4745365 w 4745365"/>
              <a:gd name="connsiteY2" fmla="*/ 2224761 h 2310802"/>
              <a:gd name="connsiteX3" fmla="*/ 4676504 w 4745365"/>
              <a:gd name="connsiteY3" fmla="*/ 2228238 h 2310802"/>
              <a:gd name="connsiteX4" fmla="*/ 4193487 w 4745365"/>
              <a:gd name="connsiteY4" fmla="*/ 2118374 h 2310802"/>
              <a:gd name="connsiteX5" fmla="*/ 4171520 w 4745365"/>
              <a:gd name="connsiteY5" fmla="*/ 2105748 h 2310802"/>
              <a:gd name="connsiteX6" fmla="*/ 4161369 w 4745365"/>
              <a:gd name="connsiteY6" fmla="*/ 2124450 h 2310802"/>
              <a:gd name="connsiteX7" fmla="*/ 4065152 w 4745365"/>
              <a:gd name="connsiteY7" fmla="*/ 2241066 h 2310802"/>
              <a:gd name="connsiteX8" fmla="*/ 3986221 w 4745365"/>
              <a:gd name="connsiteY8" fmla="*/ 2306190 h 2310802"/>
              <a:gd name="connsiteX9" fmla="*/ 3986221 w 4745365"/>
              <a:gd name="connsiteY9" fmla="*/ 2310802 h 2310802"/>
              <a:gd name="connsiteX10" fmla="*/ 0 w 4745365"/>
              <a:gd name="connsiteY10" fmla="*/ 2310802 h 2310802"/>
              <a:gd name="connsiteX11" fmla="*/ 35977 w 4745365"/>
              <a:gd name="connsiteY11" fmla="*/ 2249411 h 2310802"/>
              <a:gd name="connsiteX12" fmla="*/ 551119 w 4745365"/>
              <a:gd name="connsiteY12" fmla="*/ 1890083 h 2310802"/>
              <a:gd name="connsiteX13" fmla="*/ 575332 w 4745365"/>
              <a:gd name="connsiteY13" fmla="*/ 1748290 h 2310802"/>
              <a:gd name="connsiteX14" fmla="*/ 1504807 w 4745365"/>
              <a:gd name="connsiteY14" fmla="*/ 1035989 h 2310802"/>
              <a:gd name="connsiteX15" fmla="*/ 2335846 w 4745365"/>
              <a:gd name="connsiteY15" fmla="*/ 1575283 h 2310802"/>
              <a:gd name="connsiteX16" fmla="*/ 2387994 w 4745365"/>
              <a:gd name="connsiteY16" fmla="*/ 1743278 h 2310802"/>
              <a:gd name="connsiteX17" fmla="*/ 2726007 w 4745365"/>
              <a:gd name="connsiteY17" fmla="*/ 1743278 h 2310802"/>
              <a:gd name="connsiteX18" fmla="*/ 2720020 w 4745365"/>
              <a:gd name="connsiteY18" fmla="*/ 1683894 h 2310802"/>
              <a:gd name="connsiteX19" fmla="*/ 3507980 w 4745365"/>
              <a:gd name="connsiteY19" fmla="*/ 895934 h 2310802"/>
              <a:gd name="connsiteX20" fmla="*/ 3583993 w 4745365"/>
              <a:gd name="connsiteY20" fmla="*/ 899772 h 2310802"/>
              <a:gd name="connsiteX21" fmla="*/ 3585020 w 4745365"/>
              <a:gd name="connsiteY21" fmla="*/ 889585 h 2310802"/>
              <a:gd name="connsiteX22" fmla="*/ 4676504 w 4745365"/>
              <a:gd name="connsiteY22" fmla="*/ 0 h 2310802"/>
              <a:gd name="connsiteX0" fmla="*/ 4676504 w 4745365"/>
              <a:gd name="connsiteY0" fmla="*/ 0 h 2310802"/>
              <a:gd name="connsiteX1" fmla="*/ 4745365 w 4745365"/>
              <a:gd name="connsiteY1" fmla="*/ 3477 h 2310802"/>
              <a:gd name="connsiteX2" fmla="*/ 4745365 w 4745365"/>
              <a:gd name="connsiteY2" fmla="*/ 2224761 h 2310802"/>
              <a:gd name="connsiteX3" fmla="*/ 4676504 w 4745365"/>
              <a:gd name="connsiteY3" fmla="*/ 2228238 h 2310802"/>
              <a:gd name="connsiteX4" fmla="*/ 4193487 w 4745365"/>
              <a:gd name="connsiteY4" fmla="*/ 2118374 h 2310802"/>
              <a:gd name="connsiteX5" fmla="*/ 4171520 w 4745365"/>
              <a:gd name="connsiteY5" fmla="*/ 2105748 h 2310802"/>
              <a:gd name="connsiteX6" fmla="*/ 4161369 w 4745365"/>
              <a:gd name="connsiteY6" fmla="*/ 2124450 h 2310802"/>
              <a:gd name="connsiteX7" fmla="*/ 4065152 w 4745365"/>
              <a:gd name="connsiteY7" fmla="*/ 2241066 h 2310802"/>
              <a:gd name="connsiteX8" fmla="*/ 3986221 w 4745365"/>
              <a:gd name="connsiteY8" fmla="*/ 2306190 h 2310802"/>
              <a:gd name="connsiteX9" fmla="*/ 3986221 w 4745365"/>
              <a:gd name="connsiteY9" fmla="*/ 2310802 h 2310802"/>
              <a:gd name="connsiteX10" fmla="*/ 0 w 4745365"/>
              <a:gd name="connsiteY10" fmla="*/ 2310802 h 2310802"/>
              <a:gd name="connsiteX11" fmla="*/ 35977 w 4745365"/>
              <a:gd name="connsiteY11" fmla="*/ 2249411 h 2310802"/>
              <a:gd name="connsiteX12" fmla="*/ 551119 w 4745365"/>
              <a:gd name="connsiteY12" fmla="*/ 1890083 h 2310802"/>
              <a:gd name="connsiteX13" fmla="*/ 575332 w 4745365"/>
              <a:gd name="connsiteY13" fmla="*/ 1748290 h 2310802"/>
              <a:gd name="connsiteX14" fmla="*/ 1504807 w 4745365"/>
              <a:gd name="connsiteY14" fmla="*/ 1035989 h 2310802"/>
              <a:gd name="connsiteX15" fmla="*/ 2335846 w 4745365"/>
              <a:gd name="connsiteY15" fmla="*/ 1575283 h 2310802"/>
              <a:gd name="connsiteX16" fmla="*/ 2387994 w 4745365"/>
              <a:gd name="connsiteY16" fmla="*/ 1743278 h 2310802"/>
              <a:gd name="connsiteX17" fmla="*/ 2726007 w 4745365"/>
              <a:gd name="connsiteY17" fmla="*/ 1743278 h 2310802"/>
              <a:gd name="connsiteX18" fmla="*/ 2720020 w 4745365"/>
              <a:gd name="connsiteY18" fmla="*/ 1683894 h 2310802"/>
              <a:gd name="connsiteX19" fmla="*/ 3507980 w 4745365"/>
              <a:gd name="connsiteY19" fmla="*/ 895934 h 2310802"/>
              <a:gd name="connsiteX20" fmla="*/ 3583993 w 4745365"/>
              <a:gd name="connsiteY20" fmla="*/ 899772 h 2310802"/>
              <a:gd name="connsiteX21" fmla="*/ 3585020 w 4745365"/>
              <a:gd name="connsiteY21" fmla="*/ 889585 h 2310802"/>
              <a:gd name="connsiteX22" fmla="*/ 4676504 w 4745365"/>
              <a:gd name="connsiteY22" fmla="*/ 0 h 2310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45365" h="2310802">
                <a:moveTo>
                  <a:pt x="4676504" y="0"/>
                </a:moveTo>
                <a:lnTo>
                  <a:pt x="4745365" y="3477"/>
                </a:lnTo>
                <a:lnTo>
                  <a:pt x="4745365" y="2224761"/>
                </a:lnTo>
                <a:lnTo>
                  <a:pt x="4676504" y="2228238"/>
                </a:lnTo>
                <a:cubicBezTo>
                  <a:pt x="4503447" y="2228238"/>
                  <a:pt x="4339607" y="2188782"/>
                  <a:pt x="4193487" y="2118374"/>
                </a:cubicBezTo>
                <a:lnTo>
                  <a:pt x="4171520" y="2105748"/>
                </a:lnTo>
                <a:lnTo>
                  <a:pt x="4161369" y="2124450"/>
                </a:lnTo>
                <a:cubicBezTo>
                  <a:pt x="4133048" y="2166370"/>
                  <a:pt x="4100800" y="2205418"/>
                  <a:pt x="4065152" y="2241066"/>
                </a:cubicBezTo>
                <a:lnTo>
                  <a:pt x="3986221" y="2306190"/>
                </a:lnTo>
                <a:lnTo>
                  <a:pt x="3986221" y="2310802"/>
                </a:lnTo>
                <a:lnTo>
                  <a:pt x="0" y="2310802"/>
                </a:lnTo>
                <a:lnTo>
                  <a:pt x="35977" y="2249411"/>
                </a:lnTo>
                <a:cubicBezTo>
                  <a:pt x="146556" y="2054967"/>
                  <a:pt x="326716" y="1890083"/>
                  <a:pt x="551119" y="1890083"/>
                </a:cubicBezTo>
                <a:cubicBezTo>
                  <a:pt x="553569" y="1819535"/>
                  <a:pt x="576031" y="1793438"/>
                  <a:pt x="575332" y="1748290"/>
                </a:cubicBezTo>
                <a:cubicBezTo>
                  <a:pt x="699055" y="1334650"/>
                  <a:pt x="1082288" y="1035078"/>
                  <a:pt x="1504807" y="1035989"/>
                </a:cubicBezTo>
                <a:cubicBezTo>
                  <a:pt x="1865747" y="1036767"/>
                  <a:pt x="2195928" y="1244481"/>
                  <a:pt x="2335846" y="1575283"/>
                </a:cubicBezTo>
                <a:lnTo>
                  <a:pt x="2387994" y="1743278"/>
                </a:lnTo>
                <a:lnTo>
                  <a:pt x="2726007" y="1743278"/>
                </a:lnTo>
                <a:lnTo>
                  <a:pt x="2720020" y="1683894"/>
                </a:lnTo>
                <a:cubicBezTo>
                  <a:pt x="2720020" y="1248716"/>
                  <a:pt x="3072802" y="895934"/>
                  <a:pt x="3507980" y="895934"/>
                </a:cubicBezTo>
                <a:lnTo>
                  <a:pt x="3583993" y="899772"/>
                </a:lnTo>
                <a:cubicBezTo>
                  <a:pt x="3584335" y="896376"/>
                  <a:pt x="3584678" y="892981"/>
                  <a:pt x="3585020" y="889585"/>
                </a:cubicBezTo>
                <a:cubicBezTo>
                  <a:pt x="3688907" y="381900"/>
                  <a:pt x="4138107" y="0"/>
                  <a:pt x="467650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rIns="137160" bIns="91440" rtlCol="0" anchor="ctr">
            <a:noAutofit/>
          </a:bodyP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16" name="Freeform 15">
            <a:extLst>
              <a:ext uri="{FF2B5EF4-FFF2-40B4-BE49-F238E27FC236}">
                <a16:creationId xmlns:a16="http://schemas.microsoft.com/office/drawing/2014/main" id="{527C1C46-17D1-984C-A164-40A06222037F}"/>
              </a:ext>
            </a:extLst>
          </p:cNvPr>
          <p:cNvSpPr/>
          <p:nvPr userDrawn="1"/>
        </p:nvSpPr>
        <p:spPr>
          <a:xfrm>
            <a:off x="7727999" y="4675235"/>
            <a:ext cx="4461444" cy="2182765"/>
          </a:xfrm>
          <a:custGeom>
            <a:avLst/>
            <a:gdLst>
              <a:gd name="connsiteX0" fmla="*/ 4461444 w 4461444"/>
              <a:gd name="connsiteY0" fmla="*/ 0 h 2182765"/>
              <a:gd name="connsiteX1" fmla="*/ 4461444 w 4461444"/>
              <a:gd name="connsiteY1" fmla="*/ 2182765 h 2182765"/>
              <a:gd name="connsiteX2" fmla="*/ 0 w 4461444"/>
              <a:gd name="connsiteY2" fmla="*/ 2182765 h 2182765"/>
              <a:gd name="connsiteX3" fmla="*/ 24342 w 4461444"/>
              <a:gd name="connsiteY3" fmla="*/ 2153263 h 2182765"/>
              <a:gd name="connsiteX4" fmla="*/ 481037 w 4461444"/>
              <a:gd name="connsiteY4" fmla="*/ 1964093 h 2182765"/>
              <a:gd name="connsiteX5" fmla="*/ 732436 w 4461444"/>
              <a:gd name="connsiteY5" fmla="*/ 2014848 h 2182765"/>
              <a:gd name="connsiteX6" fmla="*/ 787285 w 4461444"/>
              <a:gd name="connsiteY6" fmla="*/ 2044619 h 2182765"/>
              <a:gd name="connsiteX7" fmla="*/ 809805 w 4461444"/>
              <a:gd name="connsiteY7" fmla="*/ 1961250 h 2182765"/>
              <a:gd name="connsiteX8" fmla="*/ 1286315 w 4461444"/>
              <a:gd name="connsiteY8" fmla="*/ 1550577 h 2182765"/>
              <a:gd name="connsiteX9" fmla="*/ 1321466 w 4461444"/>
              <a:gd name="connsiteY9" fmla="*/ 1547033 h 2182765"/>
              <a:gd name="connsiteX10" fmla="*/ 1323271 w 4461444"/>
              <a:gd name="connsiteY10" fmla="*/ 1529127 h 2182765"/>
              <a:gd name="connsiteX11" fmla="*/ 2205095 w 4461444"/>
              <a:gd name="connsiteY11" fmla="*/ 810420 h 2182765"/>
              <a:gd name="connsiteX12" fmla="*/ 2708356 w 4461444"/>
              <a:gd name="connsiteY12" fmla="*/ 964145 h 2182765"/>
              <a:gd name="connsiteX13" fmla="*/ 2798296 w 4461444"/>
              <a:gd name="connsiteY13" fmla="*/ 1038353 h 2182765"/>
              <a:gd name="connsiteX14" fmla="*/ 2868637 w 4461444"/>
              <a:gd name="connsiteY14" fmla="*/ 1020266 h 2182765"/>
              <a:gd name="connsiteX15" fmla="*/ 3050041 w 4461444"/>
              <a:gd name="connsiteY15" fmla="*/ 1001979 h 2182765"/>
              <a:gd name="connsiteX16" fmla="*/ 3231445 w 4461444"/>
              <a:gd name="connsiteY16" fmla="*/ 1020266 h 2182765"/>
              <a:gd name="connsiteX17" fmla="*/ 3245588 w 4461444"/>
              <a:gd name="connsiteY17" fmla="*/ 1023903 h 2182765"/>
              <a:gd name="connsiteX18" fmla="*/ 3297823 w 4461444"/>
              <a:gd name="connsiteY18" fmla="*/ 960592 h 2182765"/>
              <a:gd name="connsiteX19" fmla="*/ 3934298 w 4461444"/>
              <a:gd name="connsiteY19" fmla="*/ 696956 h 2182765"/>
              <a:gd name="connsiteX20" fmla="*/ 4115702 w 4461444"/>
              <a:gd name="connsiteY20" fmla="*/ 715243 h 2182765"/>
              <a:gd name="connsiteX21" fmla="*/ 4127211 w 4461444"/>
              <a:gd name="connsiteY21" fmla="*/ 718203 h 2182765"/>
              <a:gd name="connsiteX22" fmla="*/ 4126073 w 4461444"/>
              <a:gd name="connsiteY22" fmla="*/ 695661 h 2182765"/>
              <a:gd name="connsiteX23" fmla="*/ 4389709 w 4461444"/>
              <a:gd name="connsiteY23" fmla="*/ 59186 h 2182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461444" h="2182765">
                <a:moveTo>
                  <a:pt x="4461444" y="0"/>
                </a:moveTo>
                <a:lnTo>
                  <a:pt x="4461444" y="2182765"/>
                </a:lnTo>
                <a:lnTo>
                  <a:pt x="0" y="2182765"/>
                </a:lnTo>
                <a:lnTo>
                  <a:pt x="24342" y="2153263"/>
                </a:lnTo>
                <a:cubicBezTo>
                  <a:pt x="141221" y="2036384"/>
                  <a:pt x="302687" y="1964093"/>
                  <a:pt x="481037" y="1964093"/>
                </a:cubicBezTo>
                <a:cubicBezTo>
                  <a:pt x="570212" y="1964093"/>
                  <a:pt x="655166" y="1982166"/>
                  <a:pt x="732436" y="2014848"/>
                </a:cubicBezTo>
                <a:lnTo>
                  <a:pt x="787285" y="2044619"/>
                </a:lnTo>
                <a:lnTo>
                  <a:pt x="809805" y="1961250"/>
                </a:lnTo>
                <a:cubicBezTo>
                  <a:pt x="885867" y="1753515"/>
                  <a:pt x="1065582" y="1595745"/>
                  <a:pt x="1286315" y="1550577"/>
                </a:cubicBezTo>
                <a:lnTo>
                  <a:pt x="1321466" y="1547033"/>
                </a:lnTo>
                <a:lnTo>
                  <a:pt x="1323271" y="1529127"/>
                </a:lnTo>
                <a:cubicBezTo>
                  <a:pt x="1407203" y="1118962"/>
                  <a:pt x="1770117" y="810420"/>
                  <a:pt x="2205095" y="810420"/>
                </a:cubicBezTo>
                <a:cubicBezTo>
                  <a:pt x="2391514" y="810420"/>
                  <a:pt x="2564697" y="867091"/>
                  <a:pt x="2708356" y="964145"/>
                </a:cubicBezTo>
                <a:lnTo>
                  <a:pt x="2798296" y="1038353"/>
                </a:lnTo>
                <a:lnTo>
                  <a:pt x="2868637" y="1020266"/>
                </a:lnTo>
                <a:cubicBezTo>
                  <a:pt x="2927232" y="1008276"/>
                  <a:pt x="2987901" y="1001979"/>
                  <a:pt x="3050041" y="1001979"/>
                </a:cubicBezTo>
                <a:cubicBezTo>
                  <a:pt x="3112181" y="1001979"/>
                  <a:pt x="3172850" y="1008276"/>
                  <a:pt x="3231445" y="1020266"/>
                </a:cubicBezTo>
                <a:lnTo>
                  <a:pt x="3245588" y="1023903"/>
                </a:lnTo>
                <a:lnTo>
                  <a:pt x="3297823" y="960592"/>
                </a:lnTo>
                <a:cubicBezTo>
                  <a:pt x="3460711" y="797704"/>
                  <a:pt x="3685739" y="696956"/>
                  <a:pt x="3934298" y="696956"/>
                </a:cubicBezTo>
                <a:cubicBezTo>
                  <a:pt x="3996438" y="696956"/>
                  <a:pt x="4057107" y="703253"/>
                  <a:pt x="4115702" y="715243"/>
                </a:cubicBezTo>
                <a:lnTo>
                  <a:pt x="4127211" y="718203"/>
                </a:lnTo>
                <a:lnTo>
                  <a:pt x="4126073" y="695661"/>
                </a:lnTo>
                <a:cubicBezTo>
                  <a:pt x="4126073" y="447102"/>
                  <a:pt x="4226821" y="222074"/>
                  <a:pt x="4389709" y="59186"/>
                </a:cubicBezTo>
                <a:close/>
              </a:path>
            </a:pathLst>
          </a:custGeom>
          <a:solidFill>
            <a:schemeClr val="bg1"/>
          </a:solidFill>
          <a:ln>
            <a:noFill/>
          </a:ln>
          <a:effectLst>
            <a:outerShdw blurRad="279400" dist="76200" dir="13800000"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37160" tIns="91440" rIns="137160" bIns="91440" rtlCol="0" anchor="ctr">
            <a:noAutofit/>
          </a:bodyPr>
          <a:lstStyle/>
          <a:p>
            <a:pPr lvl="0" algn="ctr"/>
            <a:endParaRPr lang="en-US" sz="1600">
              <a:solidFill>
                <a:schemeClr val="bg1"/>
              </a:solidFill>
              <a:latin typeface="Roboto" panose="02000000000000000000" pitchFamily="2" charset="0"/>
              <a:ea typeface="Roboto" panose="02000000000000000000" pitchFamily="2" charset="0"/>
              <a:cs typeface="Roboto" charset="0"/>
            </a:endParaRPr>
          </a:p>
        </p:txBody>
      </p:sp>
      <p:pic>
        <p:nvPicPr>
          <p:cNvPr id="17" name="Picture 16">
            <a:extLst>
              <a:ext uri="{FF2B5EF4-FFF2-40B4-BE49-F238E27FC236}">
                <a16:creationId xmlns:a16="http://schemas.microsoft.com/office/drawing/2014/main" id="{C736EE30-4833-504C-A380-58CD5B2CBEBC}"/>
              </a:ext>
            </a:extLst>
          </p:cNvPr>
          <p:cNvPicPr>
            <a:picLocks noChangeAspect="1"/>
          </p:cNvPicPr>
          <p:nvPr userDrawn="1"/>
        </p:nvPicPr>
        <p:blipFill>
          <a:blip r:embed="rId3"/>
          <a:stretch>
            <a:fillRect/>
          </a:stretch>
        </p:blipFill>
        <p:spPr>
          <a:xfrm>
            <a:off x="9458461" y="6007608"/>
            <a:ext cx="2478024" cy="849901"/>
          </a:xfrm>
          <a:prstGeom prst="rect">
            <a:avLst/>
          </a:prstGeom>
        </p:spPr>
      </p:pic>
      <p:sp>
        <p:nvSpPr>
          <p:cNvPr id="18" name="Text Placeholder 23">
            <a:extLst>
              <a:ext uri="{FF2B5EF4-FFF2-40B4-BE49-F238E27FC236}">
                <a16:creationId xmlns:a16="http://schemas.microsoft.com/office/drawing/2014/main" id="{E0EBAF00-B217-E543-9DED-165705472DB8}"/>
              </a:ext>
            </a:extLst>
          </p:cNvPr>
          <p:cNvSpPr>
            <a:spLocks noGrp="1"/>
          </p:cNvSpPr>
          <p:nvPr>
            <p:ph type="body" sz="quarter" idx="11" hasCustomPrompt="1"/>
          </p:nvPr>
        </p:nvSpPr>
        <p:spPr>
          <a:xfrm>
            <a:off x="488950" y="2171830"/>
            <a:ext cx="7065736" cy="1292860"/>
          </a:xfrm>
          <a:prstGeom prst="rect">
            <a:avLst/>
          </a:prstGeom>
        </p:spPr>
        <p:txBody>
          <a:bodyPr lIns="0"/>
          <a:lstStyle>
            <a:lvl1pPr marL="0" indent="0">
              <a:buNone/>
              <a:defRPr sz="6000" b="0" i="0">
                <a:solidFill>
                  <a:schemeClr val="bg1"/>
                </a:solidFill>
                <a:latin typeface="+mj-lt"/>
                <a:ea typeface="Roboto Light" panose="02000000000000000000" pitchFamily="2" charset="0"/>
                <a:cs typeface="Roboto Light" panose="02000000000000000000" pitchFamily="2" charset="0"/>
              </a:defRPr>
            </a:lvl1pPr>
            <a:lvl2pPr marL="457108" indent="0">
              <a:buNone/>
              <a:defRPr/>
            </a:lvl2pPr>
            <a:lvl3pPr marL="914217" indent="0">
              <a:buNone/>
              <a:defRPr/>
            </a:lvl3pPr>
            <a:lvl4pPr marL="1371326" indent="0">
              <a:buNone/>
              <a:defRPr/>
            </a:lvl4pPr>
            <a:lvl5pPr marL="1828435" indent="0">
              <a:buNone/>
              <a:defRPr/>
            </a:lvl5pPr>
          </a:lstStyle>
          <a:p>
            <a:pPr lvl="0"/>
            <a:r>
              <a:rPr lang="en-US"/>
              <a:t>Thank you</a:t>
            </a:r>
          </a:p>
        </p:txBody>
      </p:sp>
      <p:sp>
        <p:nvSpPr>
          <p:cNvPr id="19" name="Text Placeholder 27">
            <a:extLst>
              <a:ext uri="{FF2B5EF4-FFF2-40B4-BE49-F238E27FC236}">
                <a16:creationId xmlns:a16="http://schemas.microsoft.com/office/drawing/2014/main" id="{1824728F-3CBD-1546-86C4-E68EA0ABC51A}"/>
              </a:ext>
            </a:extLst>
          </p:cNvPr>
          <p:cNvSpPr>
            <a:spLocks noGrp="1"/>
          </p:cNvSpPr>
          <p:nvPr>
            <p:ph type="body" sz="quarter" idx="13" hasCustomPrompt="1"/>
          </p:nvPr>
        </p:nvSpPr>
        <p:spPr bwMode="gray">
          <a:xfrm>
            <a:off x="515746" y="3831337"/>
            <a:ext cx="5754688" cy="475487"/>
          </a:xfrm>
          <a:prstGeom prst="rect">
            <a:avLst/>
          </a:prstGeom>
        </p:spPr>
        <p:txBody>
          <a:bodyPr vert="horz" lIns="0" tIns="0" rIns="0" bIns="0" rtlCol="0">
            <a:noAutofit/>
          </a:bodyPr>
          <a:lstStyle>
            <a:lvl1pPr marL="0" indent="0">
              <a:buNone/>
              <a:defRPr lang="en-US" sz="2400" i="0" baseline="0" dirty="0">
                <a:solidFill>
                  <a:schemeClr val="bg1"/>
                </a:solidFill>
                <a:latin typeface="Roboto Light" panose="02000000000000000000" pitchFamily="2" charset="0"/>
                <a:ea typeface="Roboto Light" panose="02000000000000000000" pitchFamily="2" charset="0"/>
                <a:cs typeface="Roboto Light" panose="02000000000000000000" pitchFamily="2" charset="0"/>
              </a:defRPr>
            </a:lvl1pPr>
          </a:lstStyle>
          <a:p>
            <a:pPr marL="173038" lvl="0" indent="-173038"/>
            <a:r>
              <a:rPr lang="en-US"/>
              <a:t>Contact information</a:t>
            </a:r>
          </a:p>
        </p:txBody>
      </p:sp>
    </p:spTree>
    <p:extLst>
      <p:ext uri="{BB962C8B-B14F-4D97-AF65-F5344CB8AC3E}">
        <p14:creationId xmlns:p14="http://schemas.microsoft.com/office/powerpoint/2010/main" val="3135385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65">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Thank you slide">
    <p:bg>
      <p:bgPr>
        <a:solidFill>
          <a:schemeClr val="accent2"/>
        </a:solidFill>
        <a:effectLst/>
      </p:bgPr>
    </p:bg>
    <p:spTree>
      <p:nvGrpSpPr>
        <p:cNvPr id="1" name=""/>
        <p:cNvGrpSpPr/>
        <p:nvPr/>
      </p:nvGrpSpPr>
      <p:grpSpPr>
        <a:xfrm>
          <a:off x="0" y="0"/>
          <a:ext cx="0" cy="0"/>
          <a:chOff x="0" y="0"/>
          <a:chExt cx="0" cy="0"/>
        </a:xfrm>
      </p:grpSpPr>
      <p:sp>
        <p:nvSpPr>
          <p:cNvPr id="9" name="Right Triangle 8">
            <a:extLst>
              <a:ext uri="{FF2B5EF4-FFF2-40B4-BE49-F238E27FC236}">
                <a16:creationId xmlns:a16="http://schemas.microsoft.com/office/drawing/2014/main" id="{78D35A2B-6053-E04F-A1C5-B9798F9C9B7D}"/>
              </a:ext>
            </a:extLst>
          </p:cNvPr>
          <p:cNvSpPr/>
          <p:nvPr userDrawn="1"/>
        </p:nvSpPr>
        <p:spPr>
          <a:xfrm rot="5400000" flipH="1">
            <a:off x="3831485" y="912771"/>
            <a:ext cx="2123832" cy="9786801"/>
          </a:xfrm>
          <a:prstGeom prst="rtTriangle">
            <a:avLst/>
          </a:prstGeom>
          <a:solidFill>
            <a:srgbClr val="FF8A1A"/>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10" name="Right Triangle 9">
            <a:extLst>
              <a:ext uri="{FF2B5EF4-FFF2-40B4-BE49-F238E27FC236}">
                <a16:creationId xmlns:a16="http://schemas.microsoft.com/office/drawing/2014/main" id="{61DB92BF-401F-D84E-9141-70F8803D14EA}"/>
              </a:ext>
            </a:extLst>
          </p:cNvPr>
          <p:cNvSpPr/>
          <p:nvPr userDrawn="1"/>
        </p:nvSpPr>
        <p:spPr>
          <a:xfrm rot="5400000" flipH="1" flipV="1">
            <a:off x="8079706" y="2758965"/>
            <a:ext cx="2123830" cy="6094413"/>
          </a:xfrm>
          <a:prstGeom prst="r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11" name="Right Triangle 10">
            <a:extLst>
              <a:ext uri="{FF2B5EF4-FFF2-40B4-BE49-F238E27FC236}">
                <a16:creationId xmlns:a16="http://schemas.microsoft.com/office/drawing/2014/main" id="{9658DFFD-F62F-CC4B-8F0D-9AA15B75EDD3}"/>
              </a:ext>
            </a:extLst>
          </p:cNvPr>
          <p:cNvSpPr/>
          <p:nvPr userDrawn="1"/>
        </p:nvSpPr>
        <p:spPr>
          <a:xfrm rot="5400000" flipH="1" flipV="1">
            <a:off x="8199800" y="2879061"/>
            <a:ext cx="1883641" cy="6094413"/>
          </a:xfrm>
          <a:prstGeom prst="rtTriangle">
            <a:avLst/>
          </a:prstGeom>
          <a:solidFill>
            <a:srgbClr val="070606"/>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pic>
        <p:nvPicPr>
          <p:cNvPr id="12" name="Picture 11">
            <a:extLst>
              <a:ext uri="{FF2B5EF4-FFF2-40B4-BE49-F238E27FC236}">
                <a16:creationId xmlns:a16="http://schemas.microsoft.com/office/drawing/2014/main" id="{C4AD8F6B-2ADB-6F45-BDD8-0436079D30A5}"/>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100000"/>
                    </a14:imgEffect>
                  </a14:imgLayer>
                </a14:imgProps>
              </a:ext>
            </a:extLst>
          </a:blip>
          <a:srcRect l="31513"/>
          <a:stretch/>
        </p:blipFill>
        <p:spPr>
          <a:xfrm>
            <a:off x="10239375" y="6007608"/>
            <a:ext cx="1697110" cy="849901"/>
          </a:xfrm>
          <a:prstGeom prst="rect">
            <a:avLst/>
          </a:prstGeom>
        </p:spPr>
      </p:pic>
      <p:pic>
        <p:nvPicPr>
          <p:cNvPr id="13" name="Picture 12">
            <a:extLst>
              <a:ext uri="{FF2B5EF4-FFF2-40B4-BE49-F238E27FC236}">
                <a16:creationId xmlns:a16="http://schemas.microsoft.com/office/drawing/2014/main" id="{2362AD09-60B4-D846-857E-35A1834B747F}"/>
              </a:ext>
            </a:extLst>
          </p:cNvPr>
          <p:cNvPicPr>
            <a:picLocks noChangeAspect="1"/>
          </p:cNvPicPr>
          <p:nvPr userDrawn="1"/>
        </p:nvPicPr>
        <p:blipFill rotWithShape="1">
          <a:blip r:embed="rId4"/>
          <a:srcRect r="69640"/>
          <a:stretch/>
        </p:blipFill>
        <p:spPr>
          <a:xfrm>
            <a:off x="9458461" y="6007607"/>
            <a:ext cx="752339" cy="849901"/>
          </a:xfrm>
          <a:prstGeom prst="rect">
            <a:avLst/>
          </a:prstGeom>
        </p:spPr>
      </p:pic>
      <p:sp>
        <p:nvSpPr>
          <p:cNvPr id="14" name="Text Placeholder 23">
            <a:extLst>
              <a:ext uri="{FF2B5EF4-FFF2-40B4-BE49-F238E27FC236}">
                <a16:creationId xmlns:a16="http://schemas.microsoft.com/office/drawing/2014/main" id="{8C73EDD9-B83F-4749-98A8-2291F806EA4A}"/>
              </a:ext>
            </a:extLst>
          </p:cNvPr>
          <p:cNvSpPr>
            <a:spLocks noGrp="1"/>
          </p:cNvSpPr>
          <p:nvPr>
            <p:ph type="body" sz="quarter" idx="11" hasCustomPrompt="1"/>
          </p:nvPr>
        </p:nvSpPr>
        <p:spPr>
          <a:xfrm>
            <a:off x="488950" y="2171830"/>
            <a:ext cx="7065736" cy="1292860"/>
          </a:xfrm>
          <a:prstGeom prst="rect">
            <a:avLst/>
          </a:prstGeom>
        </p:spPr>
        <p:txBody>
          <a:bodyPr lIns="0"/>
          <a:lstStyle>
            <a:lvl1pPr marL="0" indent="0">
              <a:buNone/>
              <a:defRPr sz="6000" b="0" i="0">
                <a:solidFill>
                  <a:schemeClr val="bg1"/>
                </a:solidFill>
                <a:latin typeface="+mj-lt"/>
                <a:ea typeface="Roboto Light" panose="02000000000000000000" pitchFamily="2" charset="0"/>
                <a:cs typeface="Roboto Light" panose="02000000000000000000" pitchFamily="2" charset="0"/>
              </a:defRPr>
            </a:lvl1pPr>
            <a:lvl2pPr marL="457108" indent="0">
              <a:buNone/>
              <a:defRPr/>
            </a:lvl2pPr>
            <a:lvl3pPr marL="914217" indent="0">
              <a:buNone/>
              <a:defRPr/>
            </a:lvl3pPr>
            <a:lvl4pPr marL="1371326" indent="0">
              <a:buNone/>
              <a:defRPr/>
            </a:lvl4pPr>
            <a:lvl5pPr marL="1828435" indent="0">
              <a:buNone/>
              <a:defRPr/>
            </a:lvl5pPr>
          </a:lstStyle>
          <a:p>
            <a:pPr lvl="0"/>
            <a:r>
              <a:rPr lang="en-US"/>
              <a:t>Thank you</a:t>
            </a:r>
          </a:p>
        </p:txBody>
      </p:sp>
      <p:sp>
        <p:nvSpPr>
          <p:cNvPr id="15" name="Text Placeholder 27">
            <a:extLst>
              <a:ext uri="{FF2B5EF4-FFF2-40B4-BE49-F238E27FC236}">
                <a16:creationId xmlns:a16="http://schemas.microsoft.com/office/drawing/2014/main" id="{2C766703-8236-6047-97A6-E6790192B7E8}"/>
              </a:ext>
            </a:extLst>
          </p:cNvPr>
          <p:cNvSpPr>
            <a:spLocks noGrp="1"/>
          </p:cNvSpPr>
          <p:nvPr>
            <p:ph type="body" sz="quarter" idx="13" hasCustomPrompt="1"/>
          </p:nvPr>
        </p:nvSpPr>
        <p:spPr bwMode="gray">
          <a:xfrm>
            <a:off x="515746" y="3831337"/>
            <a:ext cx="5754688" cy="475487"/>
          </a:xfrm>
          <a:prstGeom prst="rect">
            <a:avLst/>
          </a:prstGeom>
        </p:spPr>
        <p:txBody>
          <a:bodyPr vert="horz" lIns="0" tIns="0" rIns="0" bIns="0" rtlCol="0">
            <a:noAutofit/>
          </a:bodyPr>
          <a:lstStyle>
            <a:lvl1pPr marL="0" indent="0">
              <a:buNone/>
              <a:defRPr lang="en-US" sz="2400" i="0" baseline="0" dirty="0">
                <a:solidFill>
                  <a:schemeClr val="bg1"/>
                </a:solidFill>
                <a:latin typeface="Roboto Light" panose="02000000000000000000" pitchFamily="2" charset="0"/>
                <a:ea typeface="Roboto Light" panose="02000000000000000000" pitchFamily="2" charset="0"/>
                <a:cs typeface="Roboto Light" panose="02000000000000000000" pitchFamily="2" charset="0"/>
              </a:defRPr>
            </a:lvl1pPr>
          </a:lstStyle>
          <a:p>
            <a:pPr marL="173038" lvl="0" indent="-173038"/>
            <a:r>
              <a:rPr lang="en-US"/>
              <a:t>Contact information</a:t>
            </a:r>
          </a:p>
        </p:txBody>
      </p:sp>
    </p:spTree>
    <p:extLst>
      <p:ext uri="{BB962C8B-B14F-4D97-AF65-F5344CB8AC3E}">
        <p14:creationId xmlns:p14="http://schemas.microsoft.com/office/powerpoint/2010/main" val="1948572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Thank you slide w/ image">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3FA36244-1229-A542-BA6C-7F8003334D3E}"/>
              </a:ext>
            </a:extLst>
          </p:cNvPr>
          <p:cNvSpPr/>
          <p:nvPr userDrawn="1"/>
        </p:nvSpPr>
        <p:spPr>
          <a:xfrm>
            <a:off x="11980888" y="2199861"/>
            <a:ext cx="207937" cy="4658139"/>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19" name="Freeform 19">
            <a:extLst>
              <a:ext uri="{FF2B5EF4-FFF2-40B4-BE49-F238E27FC236}">
                <a16:creationId xmlns:a16="http://schemas.microsoft.com/office/drawing/2014/main" id="{690757C8-EF67-9848-8F3B-A6FBA8E7A7A1}"/>
              </a:ext>
            </a:extLst>
          </p:cNvPr>
          <p:cNvSpPr/>
          <p:nvPr userDrawn="1"/>
        </p:nvSpPr>
        <p:spPr>
          <a:xfrm>
            <a:off x="0" y="0"/>
            <a:ext cx="11635865" cy="6858000"/>
          </a:xfrm>
          <a:custGeom>
            <a:avLst/>
            <a:gdLst>
              <a:gd name="connsiteX0" fmla="*/ 0 w 10367594"/>
              <a:gd name="connsiteY0" fmla="*/ 0 h 6858000"/>
              <a:gd name="connsiteX1" fmla="*/ 10367594 w 10367594"/>
              <a:gd name="connsiteY1" fmla="*/ 0 h 6858000"/>
              <a:gd name="connsiteX2" fmla="*/ 3509594 w 10367594"/>
              <a:gd name="connsiteY2" fmla="*/ 6858000 h 6858000"/>
              <a:gd name="connsiteX3" fmla="*/ 1520714 w 10367594"/>
              <a:gd name="connsiteY3" fmla="*/ 6858000 h 6858000"/>
              <a:gd name="connsiteX4" fmla="*/ 0 w 10367594"/>
              <a:gd name="connsiteY4" fmla="*/ 5544428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67594" h="6858000">
                <a:moveTo>
                  <a:pt x="0" y="0"/>
                </a:moveTo>
                <a:lnTo>
                  <a:pt x="10367594" y="0"/>
                </a:lnTo>
                <a:lnTo>
                  <a:pt x="3509594" y="6858000"/>
                </a:lnTo>
                <a:lnTo>
                  <a:pt x="1520714" y="6858000"/>
                </a:lnTo>
                <a:lnTo>
                  <a:pt x="0" y="5544428"/>
                </a:lnTo>
                <a:close/>
              </a:path>
            </a:pathLst>
          </a:custGeom>
          <a:solidFill>
            <a:srgbClr val="FF7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Roboto" panose="02000000000000000000" pitchFamily="2" charset="0"/>
            </a:endParaRPr>
          </a:p>
        </p:txBody>
      </p:sp>
      <p:sp>
        <p:nvSpPr>
          <p:cNvPr id="20" name="Picture Placeholder 19">
            <a:extLst>
              <a:ext uri="{FF2B5EF4-FFF2-40B4-BE49-F238E27FC236}">
                <a16:creationId xmlns:a16="http://schemas.microsoft.com/office/drawing/2014/main" id="{F2DC5E9E-D7F6-9B4D-9850-071AC0859FDE}"/>
              </a:ext>
            </a:extLst>
          </p:cNvPr>
          <p:cNvSpPr>
            <a:spLocks noGrp="1"/>
          </p:cNvSpPr>
          <p:nvPr>
            <p:ph type="pic" sz="quarter" idx="17" hasCustomPrompt="1"/>
          </p:nvPr>
        </p:nvSpPr>
        <p:spPr>
          <a:xfrm>
            <a:off x="3916697" y="892758"/>
            <a:ext cx="8275302" cy="5981120"/>
          </a:xfrm>
          <a:custGeom>
            <a:avLst/>
            <a:gdLst>
              <a:gd name="connsiteX0" fmla="*/ 6694975 w 8249900"/>
              <a:gd name="connsiteY0" fmla="*/ 0 h 5965245"/>
              <a:gd name="connsiteX1" fmla="*/ 8249900 w 8249900"/>
              <a:gd name="connsiteY1" fmla="*/ 1324664 h 5965245"/>
              <a:gd name="connsiteX2" fmla="*/ 8249900 w 8249900"/>
              <a:gd name="connsiteY2" fmla="*/ 5965245 h 5965245"/>
              <a:gd name="connsiteX3" fmla="*/ 0 w 8249900"/>
              <a:gd name="connsiteY3" fmla="*/ 5965245 h 5965245"/>
              <a:gd name="connsiteX0" fmla="*/ 6694975 w 8249900"/>
              <a:gd name="connsiteY0" fmla="*/ 0 h 5962070"/>
              <a:gd name="connsiteX1" fmla="*/ 8249900 w 8249900"/>
              <a:gd name="connsiteY1" fmla="*/ 1321489 h 5962070"/>
              <a:gd name="connsiteX2" fmla="*/ 8249900 w 8249900"/>
              <a:gd name="connsiteY2" fmla="*/ 5962070 h 5962070"/>
              <a:gd name="connsiteX3" fmla="*/ 0 w 8249900"/>
              <a:gd name="connsiteY3" fmla="*/ 5962070 h 5962070"/>
              <a:gd name="connsiteX4" fmla="*/ 6694975 w 8249900"/>
              <a:gd name="connsiteY4" fmla="*/ 0 h 5962070"/>
              <a:gd name="connsiteX0" fmla="*/ 6691800 w 8249900"/>
              <a:gd name="connsiteY0" fmla="*/ 0 h 5965245"/>
              <a:gd name="connsiteX1" fmla="*/ 8249900 w 8249900"/>
              <a:gd name="connsiteY1" fmla="*/ 1324664 h 5965245"/>
              <a:gd name="connsiteX2" fmla="*/ 8249900 w 8249900"/>
              <a:gd name="connsiteY2" fmla="*/ 5965245 h 5965245"/>
              <a:gd name="connsiteX3" fmla="*/ 0 w 8249900"/>
              <a:gd name="connsiteY3" fmla="*/ 5965245 h 5965245"/>
              <a:gd name="connsiteX4" fmla="*/ 6691800 w 8249900"/>
              <a:gd name="connsiteY4" fmla="*/ 0 h 5965245"/>
              <a:gd name="connsiteX0" fmla="*/ 6694975 w 8253075"/>
              <a:gd name="connsiteY0" fmla="*/ 0 h 5968420"/>
              <a:gd name="connsiteX1" fmla="*/ 8253075 w 8253075"/>
              <a:gd name="connsiteY1" fmla="*/ 1324664 h 5968420"/>
              <a:gd name="connsiteX2" fmla="*/ 8253075 w 8253075"/>
              <a:gd name="connsiteY2" fmla="*/ 5965245 h 5968420"/>
              <a:gd name="connsiteX3" fmla="*/ 0 w 8253075"/>
              <a:gd name="connsiteY3" fmla="*/ 5968420 h 5968420"/>
              <a:gd name="connsiteX4" fmla="*/ 6694975 w 8253075"/>
              <a:gd name="connsiteY4" fmla="*/ 0 h 5968420"/>
              <a:gd name="connsiteX0" fmla="*/ 6701325 w 8259425"/>
              <a:gd name="connsiteY0" fmla="*/ 0 h 5971595"/>
              <a:gd name="connsiteX1" fmla="*/ 8259425 w 8259425"/>
              <a:gd name="connsiteY1" fmla="*/ 1324664 h 5971595"/>
              <a:gd name="connsiteX2" fmla="*/ 8259425 w 8259425"/>
              <a:gd name="connsiteY2" fmla="*/ 5965245 h 5971595"/>
              <a:gd name="connsiteX3" fmla="*/ 0 w 8259425"/>
              <a:gd name="connsiteY3" fmla="*/ 5971595 h 5971595"/>
              <a:gd name="connsiteX4" fmla="*/ 6701325 w 8259425"/>
              <a:gd name="connsiteY4" fmla="*/ 0 h 5971595"/>
              <a:gd name="connsiteX0" fmla="*/ 6717200 w 8275300"/>
              <a:gd name="connsiteY0" fmla="*/ 0 h 5981120"/>
              <a:gd name="connsiteX1" fmla="*/ 8275300 w 8275300"/>
              <a:gd name="connsiteY1" fmla="*/ 1324664 h 5981120"/>
              <a:gd name="connsiteX2" fmla="*/ 8275300 w 8275300"/>
              <a:gd name="connsiteY2" fmla="*/ 5965245 h 5981120"/>
              <a:gd name="connsiteX3" fmla="*/ 0 w 8275300"/>
              <a:gd name="connsiteY3" fmla="*/ 5981120 h 5981120"/>
              <a:gd name="connsiteX4" fmla="*/ 6717200 w 8275300"/>
              <a:gd name="connsiteY4" fmla="*/ 0 h 5981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5300" h="5981120">
                <a:moveTo>
                  <a:pt x="6717200" y="0"/>
                </a:moveTo>
                <a:lnTo>
                  <a:pt x="8275300" y="1324664"/>
                </a:lnTo>
                <a:lnTo>
                  <a:pt x="8275300" y="5965245"/>
                </a:lnTo>
                <a:lnTo>
                  <a:pt x="0" y="5981120"/>
                </a:lnTo>
                <a:lnTo>
                  <a:pt x="6717200" y="0"/>
                </a:lnTo>
                <a:close/>
              </a:path>
            </a:pathLst>
          </a:custGeom>
          <a:solidFill>
            <a:schemeClr val="bg1">
              <a:lumMod val="95000"/>
            </a:schemeClr>
          </a:solidFill>
        </p:spPr>
        <p:txBody>
          <a:bodyPr wrap="square" anchor="ctr">
            <a:noAutofit/>
          </a:bodyPr>
          <a:lstStyle>
            <a:lvl1pPr marL="0" indent="0" algn="ctr">
              <a:buNone/>
              <a:defRPr>
                <a:latin typeface="Roboto" panose="02000000000000000000" pitchFamily="2" charset="0"/>
                <a:ea typeface="Roboto" panose="02000000000000000000" pitchFamily="2" charset="0"/>
              </a:defRPr>
            </a:lvl1pPr>
          </a:lstStyle>
          <a:p>
            <a:r>
              <a:rPr lang="en-US"/>
              <a:t>                                                    CLICK TO INSERT IMAGE</a:t>
            </a:r>
          </a:p>
        </p:txBody>
      </p:sp>
      <p:sp>
        <p:nvSpPr>
          <p:cNvPr id="9" name="Freeform 20">
            <a:extLst>
              <a:ext uri="{FF2B5EF4-FFF2-40B4-BE49-F238E27FC236}">
                <a16:creationId xmlns:a16="http://schemas.microsoft.com/office/drawing/2014/main" id="{B5062EF4-1C43-4AC0-BB60-08C00AB6C068}"/>
              </a:ext>
            </a:extLst>
          </p:cNvPr>
          <p:cNvSpPr/>
          <p:nvPr/>
        </p:nvSpPr>
        <p:spPr>
          <a:xfrm>
            <a:off x="0" y="5544428"/>
            <a:ext cx="1710308" cy="1313572"/>
          </a:xfrm>
          <a:custGeom>
            <a:avLst/>
            <a:gdLst>
              <a:gd name="connsiteX0" fmla="*/ 3176 w 1523890"/>
              <a:gd name="connsiteY0" fmla="*/ 0 h 1313572"/>
              <a:gd name="connsiteX1" fmla="*/ 1523890 w 1523890"/>
              <a:gd name="connsiteY1" fmla="*/ 1313572 h 1313572"/>
              <a:gd name="connsiteX2" fmla="*/ 0 w 1523890"/>
              <a:gd name="connsiteY2" fmla="*/ 420643 h 1313572"/>
              <a:gd name="connsiteX3" fmla="*/ 0 w 1523890"/>
              <a:gd name="connsiteY3" fmla="*/ 17461 h 1313572"/>
            </a:gdLst>
            <a:ahLst/>
            <a:cxnLst>
              <a:cxn ang="0">
                <a:pos x="connsiteX0" y="connsiteY0"/>
              </a:cxn>
              <a:cxn ang="0">
                <a:pos x="connsiteX1" y="connsiteY1"/>
              </a:cxn>
              <a:cxn ang="0">
                <a:pos x="connsiteX2" y="connsiteY2"/>
              </a:cxn>
              <a:cxn ang="0">
                <a:pos x="connsiteX3" y="connsiteY3"/>
              </a:cxn>
            </a:cxnLst>
            <a:rect l="l" t="t" r="r" b="b"/>
            <a:pathLst>
              <a:path w="1523890" h="1313572">
                <a:moveTo>
                  <a:pt x="3176" y="0"/>
                </a:moveTo>
                <a:lnTo>
                  <a:pt x="1523890" y="1313572"/>
                </a:lnTo>
                <a:lnTo>
                  <a:pt x="0" y="420643"/>
                </a:lnTo>
                <a:lnTo>
                  <a:pt x="0" y="17461"/>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latin typeface="Roboto" panose="02000000000000000000" pitchFamily="2" charset="0"/>
            </a:endParaRPr>
          </a:p>
        </p:txBody>
      </p:sp>
      <p:pic>
        <p:nvPicPr>
          <p:cNvPr id="17" name="Picture 16">
            <a:extLst>
              <a:ext uri="{FF2B5EF4-FFF2-40B4-BE49-F238E27FC236}">
                <a16:creationId xmlns:a16="http://schemas.microsoft.com/office/drawing/2014/main" id="{01572B8A-3E9A-9F41-B79E-0463DD4D0655}"/>
              </a:ext>
            </a:extLst>
          </p:cNvPr>
          <p:cNvPicPr>
            <a:picLocks noChangeAspect="1"/>
          </p:cNvPicPr>
          <p:nvPr userDrawn="1"/>
        </p:nvPicPr>
        <p:blipFill>
          <a:blip r:embed="rId2"/>
          <a:stretch>
            <a:fillRect/>
          </a:stretch>
        </p:blipFill>
        <p:spPr>
          <a:xfrm>
            <a:off x="9458461" y="6007608"/>
            <a:ext cx="2478024" cy="849901"/>
          </a:xfrm>
          <a:prstGeom prst="rect">
            <a:avLst/>
          </a:prstGeom>
        </p:spPr>
      </p:pic>
      <p:sp>
        <p:nvSpPr>
          <p:cNvPr id="21" name="Right Triangle 20">
            <a:extLst>
              <a:ext uri="{FF2B5EF4-FFF2-40B4-BE49-F238E27FC236}">
                <a16:creationId xmlns:a16="http://schemas.microsoft.com/office/drawing/2014/main" id="{DECBBB0C-F0D7-3149-857A-B3FAB1FDB233}"/>
              </a:ext>
            </a:extLst>
          </p:cNvPr>
          <p:cNvSpPr/>
          <p:nvPr userDrawn="1"/>
        </p:nvSpPr>
        <p:spPr>
          <a:xfrm rot="10800000">
            <a:off x="9585960" y="0"/>
            <a:ext cx="2602865" cy="2217420"/>
          </a:xfrm>
          <a:prstGeom prst="rtTriangle">
            <a:avLst/>
          </a:prstGeom>
          <a:solidFill>
            <a:srgbClr val="FF4D00">
              <a:alpha val="8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Roboto" panose="02000000000000000000" pitchFamily="2" charset="0"/>
            </a:endParaRPr>
          </a:p>
        </p:txBody>
      </p:sp>
      <p:sp>
        <p:nvSpPr>
          <p:cNvPr id="16" name="Text Placeholder 23">
            <a:extLst>
              <a:ext uri="{FF2B5EF4-FFF2-40B4-BE49-F238E27FC236}">
                <a16:creationId xmlns:a16="http://schemas.microsoft.com/office/drawing/2014/main" id="{45569E62-86F6-4531-9D5B-C2509C76A642}"/>
              </a:ext>
            </a:extLst>
          </p:cNvPr>
          <p:cNvSpPr>
            <a:spLocks noGrp="1"/>
          </p:cNvSpPr>
          <p:nvPr>
            <p:ph type="body" sz="quarter" idx="11" hasCustomPrompt="1"/>
          </p:nvPr>
        </p:nvSpPr>
        <p:spPr>
          <a:xfrm>
            <a:off x="488950" y="2171830"/>
            <a:ext cx="7065736" cy="1292860"/>
          </a:xfrm>
          <a:prstGeom prst="rect">
            <a:avLst/>
          </a:prstGeom>
        </p:spPr>
        <p:txBody>
          <a:bodyPr lIns="0"/>
          <a:lstStyle>
            <a:lvl1pPr marL="0" indent="0">
              <a:buNone/>
              <a:defRPr sz="6000" b="0" i="0">
                <a:solidFill>
                  <a:schemeClr val="bg1"/>
                </a:solidFill>
                <a:latin typeface="+mj-lt"/>
                <a:ea typeface="Roboto Light" panose="02000000000000000000" pitchFamily="2" charset="0"/>
                <a:cs typeface="Roboto Light" panose="02000000000000000000" pitchFamily="2" charset="0"/>
              </a:defRPr>
            </a:lvl1pPr>
            <a:lvl2pPr marL="457108" indent="0">
              <a:buNone/>
              <a:defRPr/>
            </a:lvl2pPr>
            <a:lvl3pPr marL="914217" indent="0">
              <a:buNone/>
              <a:defRPr/>
            </a:lvl3pPr>
            <a:lvl4pPr marL="1371326" indent="0">
              <a:buNone/>
              <a:defRPr/>
            </a:lvl4pPr>
            <a:lvl5pPr marL="1828435" indent="0">
              <a:buNone/>
              <a:defRPr/>
            </a:lvl5pPr>
          </a:lstStyle>
          <a:p>
            <a:pPr lvl="0"/>
            <a:r>
              <a:rPr lang="en-US"/>
              <a:t>Thank you</a:t>
            </a:r>
          </a:p>
        </p:txBody>
      </p:sp>
      <p:sp>
        <p:nvSpPr>
          <p:cNvPr id="24" name="Text Placeholder 27">
            <a:extLst>
              <a:ext uri="{FF2B5EF4-FFF2-40B4-BE49-F238E27FC236}">
                <a16:creationId xmlns:a16="http://schemas.microsoft.com/office/drawing/2014/main" id="{C7903C58-B9D8-4A90-8FB0-DF22CEFDE72F}"/>
              </a:ext>
            </a:extLst>
          </p:cNvPr>
          <p:cNvSpPr>
            <a:spLocks noGrp="1"/>
          </p:cNvSpPr>
          <p:nvPr>
            <p:ph type="body" sz="quarter" idx="13" hasCustomPrompt="1"/>
          </p:nvPr>
        </p:nvSpPr>
        <p:spPr bwMode="gray">
          <a:xfrm>
            <a:off x="515746" y="3831337"/>
            <a:ext cx="5754688" cy="475487"/>
          </a:xfrm>
          <a:prstGeom prst="rect">
            <a:avLst/>
          </a:prstGeom>
        </p:spPr>
        <p:txBody>
          <a:bodyPr vert="horz" lIns="0" tIns="0" rIns="0" bIns="0" rtlCol="0">
            <a:noAutofit/>
          </a:bodyPr>
          <a:lstStyle>
            <a:lvl1pPr marL="0" indent="0">
              <a:buNone/>
              <a:defRPr lang="en-US" sz="2400" i="0" baseline="0" dirty="0">
                <a:solidFill>
                  <a:schemeClr val="bg1"/>
                </a:solidFill>
                <a:latin typeface="Roboto Light" panose="02000000000000000000" pitchFamily="2" charset="0"/>
                <a:ea typeface="Roboto Light" panose="02000000000000000000" pitchFamily="2" charset="0"/>
                <a:cs typeface="Roboto Light" panose="02000000000000000000" pitchFamily="2" charset="0"/>
              </a:defRPr>
            </a:lvl1pPr>
          </a:lstStyle>
          <a:p>
            <a:pPr marL="173038" lvl="0" indent="-173038"/>
            <a:r>
              <a:rPr lang="en-US"/>
              <a:t>Contact information</a:t>
            </a:r>
          </a:p>
        </p:txBody>
      </p:sp>
    </p:spTree>
    <p:extLst>
      <p:ext uri="{BB962C8B-B14F-4D97-AF65-F5344CB8AC3E}">
        <p14:creationId xmlns:p14="http://schemas.microsoft.com/office/powerpoint/2010/main" val="3484755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Follow Us">
    <p:bg>
      <p:bgPr>
        <a:solidFill>
          <a:schemeClr val="accent2"/>
        </a:solidFill>
        <a:effectLst/>
      </p:bgPr>
    </p:bg>
    <p:spTree>
      <p:nvGrpSpPr>
        <p:cNvPr id="1" name=""/>
        <p:cNvGrpSpPr/>
        <p:nvPr/>
      </p:nvGrpSpPr>
      <p:grpSpPr>
        <a:xfrm>
          <a:off x="0" y="0"/>
          <a:ext cx="0" cy="0"/>
          <a:chOff x="0" y="0"/>
          <a:chExt cx="0" cy="0"/>
        </a:xfrm>
      </p:grpSpPr>
      <p:sp>
        <p:nvSpPr>
          <p:cNvPr id="9" name="Right Triangle 8">
            <a:extLst>
              <a:ext uri="{FF2B5EF4-FFF2-40B4-BE49-F238E27FC236}">
                <a16:creationId xmlns:a16="http://schemas.microsoft.com/office/drawing/2014/main" id="{78D35A2B-6053-E04F-A1C5-B9798F9C9B7D}"/>
              </a:ext>
            </a:extLst>
          </p:cNvPr>
          <p:cNvSpPr/>
          <p:nvPr userDrawn="1"/>
        </p:nvSpPr>
        <p:spPr>
          <a:xfrm rot="5400000" flipH="1">
            <a:off x="3831485" y="912771"/>
            <a:ext cx="2123832" cy="9786801"/>
          </a:xfrm>
          <a:prstGeom prst="rtTriangle">
            <a:avLst/>
          </a:prstGeom>
          <a:solidFill>
            <a:srgbClr val="FF8A1A"/>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10" name="Right Triangle 9">
            <a:extLst>
              <a:ext uri="{FF2B5EF4-FFF2-40B4-BE49-F238E27FC236}">
                <a16:creationId xmlns:a16="http://schemas.microsoft.com/office/drawing/2014/main" id="{61DB92BF-401F-D84E-9141-70F8803D14EA}"/>
              </a:ext>
            </a:extLst>
          </p:cNvPr>
          <p:cNvSpPr/>
          <p:nvPr userDrawn="1"/>
        </p:nvSpPr>
        <p:spPr>
          <a:xfrm rot="5400000" flipH="1" flipV="1">
            <a:off x="8079706" y="2758965"/>
            <a:ext cx="2123830" cy="6094413"/>
          </a:xfrm>
          <a:prstGeom prst="r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11" name="Right Triangle 10">
            <a:extLst>
              <a:ext uri="{FF2B5EF4-FFF2-40B4-BE49-F238E27FC236}">
                <a16:creationId xmlns:a16="http://schemas.microsoft.com/office/drawing/2014/main" id="{9658DFFD-F62F-CC4B-8F0D-9AA15B75EDD3}"/>
              </a:ext>
            </a:extLst>
          </p:cNvPr>
          <p:cNvSpPr/>
          <p:nvPr userDrawn="1"/>
        </p:nvSpPr>
        <p:spPr>
          <a:xfrm rot="5400000" flipH="1" flipV="1">
            <a:off x="8199800" y="2879061"/>
            <a:ext cx="1883641" cy="6094413"/>
          </a:xfrm>
          <a:prstGeom prst="rtTriangle">
            <a:avLst/>
          </a:prstGeom>
          <a:solidFill>
            <a:srgbClr val="070606"/>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pic>
        <p:nvPicPr>
          <p:cNvPr id="12" name="Picture 11">
            <a:extLst>
              <a:ext uri="{FF2B5EF4-FFF2-40B4-BE49-F238E27FC236}">
                <a16:creationId xmlns:a16="http://schemas.microsoft.com/office/drawing/2014/main" id="{C4AD8F6B-2ADB-6F45-BDD8-0436079D30A5}"/>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100000"/>
                    </a14:imgEffect>
                  </a14:imgLayer>
                </a14:imgProps>
              </a:ext>
            </a:extLst>
          </a:blip>
          <a:srcRect l="31513"/>
          <a:stretch/>
        </p:blipFill>
        <p:spPr>
          <a:xfrm>
            <a:off x="10239375" y="6007608"/>
            <a:ext cx="1697110" cy="849901"/>
          </a:xfrm>
          <a:prstGeom prst="rect">
            <a:avLst/>
          </a:prstGeom>
        </p:spPr>
      </p:pic>
      <p:pic>
        <p:nvPicPr>
          <p:cNvPr id="13" name="Picture 12">
            <a:extLst>
              <a:ext uri="{FF2B5EF4-FFF2-40B4-BE49-F238E27FC236}">
                <a16:creationId xmlns:a16="http://schemas.microsoft.com/office/drawing/2014/main" id="{2362AD09-60B4-D846-857E-35A1834B747F}"/>
              </a:ext>
            </a:extLst>
          </p:cNvPr>
          <p:cNvPicPr>
            <a:picLocks noChangeAspect="1"/>
          </p:cNvPicPr>
          <p:nvPr userDrawn="1"/>
        </p:nvPicPr>
        <p:blipFill rotWithShape="1">
          <a:blip r:embed="rId4"/>
          <a:srcRect r="69640"/>
          <a:stretch/>
        </p:blipFill>
        <p:spPr>
          <a:xfrm>
            <a:off x="9458461" y="6007607"/>
            <a:ext cx="752339" cy="849901"/>
          </a:xfrm>
          <a:prstGeom prst="rect">
            <a:avLst/>
          </a:prstGeom>
        </p:spPr>
      </p:pic>
      <p:pic>
        <p:nvPicPr>
          <p:cNvPr id="16" name="Picture 15" descr="Icon&#10;&#10;Description automatically generated">
            <a:hlinkClick r:id="rId5"/>
            <a:extLst>
              <a:ext uri="{FF2B5EF4-FFF2-40B4-BE49-F238E27FC236}">
                <a16:creationId xmlns:a16="http://schemas.microsoft.com/office/drawing/2014/main" id="{ED3CD10C-C3D9-D64E-BD7D-0E559D031DE5}"/>
              </a:ext>
            </a:extLst>
          </p:cNvPr>
          <p:cNvPicPr>
            <a:picLocks noChangeAspect="1"/>
          </p:cNvPicPr>
          <p:nvPr userDrawn="1"/>
        </p:nvPicPr>
        <p:blipFill>
          <a:blip r:embed="rId6"/>
          <a:stretch>
            <a:fillRect/>
          </a:stretch>
        </p:blipFill>
        <p:spPr>
          <a:xfrm>
            <a:off x="2071810" y="4193104"/>
            <a:ext cx="535905" cy="535905"/>
          </a:xfrm>
          <a:prstGeom prst="rect">
            <a:avLst/>
          </a:prstGeom>
        </p:spPr>
      </p:pic>
      <p:pic>
        <p:nvPicPr>
          <p:cNvPr id="17" name="Picture 16" descr="Icon&#10;&#10;Description automatically generated">
            <a:hlinkClick r:id="rId7"/>
            <a:extLst>
              <a:ext uri="{FF2B5EF4-FFF2-40B4-BE49-F238E27FC236}">
                <a16:creationId xmlns:a16="http://schemas.microsoft.com/office/drawing/2014/main" id="{B201485B-244A-FA43-9AB2-22D1C373BCFA}"/>
              </a:ext>
            </a:extLst>
          </p:cNvPr>
          <p:cNvPicPr>
            <a:picLocks noChangeAspect="1"/>
          </p:cNvPicPr>
          <p:nvPr userDrawn="1"/>
        </p:nvPicPr>
        <p:blipFill>
          <a:blip r:embed="rId8"/>
          <a:stretch>
            <a:fillRect/>
          </a:stretch>
        </p:blipFill>
        <p:spPr>
          <a:xfrm>
            <a:off x="488950" y="4193104"/>
            <a:ext cx="535905" cy="535905"/>
          </a:xfrm>
          <a:prstGeom prst="rect">
            <a:avLst/>
          </a:prstGeom>
        </p:spPr>
      </p:pic>
      <p:pic>
        <p:nvPicPr>
          <p:cNvPr id="18" name="Picture 17" descr="A white circle with a black background&#10;&#10;Description automatically generated with low confidence">
            <a:hlinkClick r:id="rId9"/>
            <a:extLst>
              <a:ext uri="{FF2B5EF4-FFF2-40B4-BE49-F238E27FC236}">
                <a16:creationId xmlns:a16="http://schemas.microsoft.com/office/drawing/2014/main" id="{F9B0C0A2-7045-FD48-A886-9FBA76E7772E}"/>
              </a:ext>
            </a:extLst>
          </p:cNvPr>
          <p:cNvPicPr>
            <a:picLocks noChangeAspect="1"/>
          </p:cNvPicPr>
          <p:nvPr userDrawn="1"/>
        </p:nvPicPr>
        <p:blipFill>
          <a:blip r:embed="rId10"/>
          <a:stretch>
            <a:fillRect/>
          </a:stretch>
        </p:blipFill>
        <p:spPr>
          <a:xfrm>
            <a:off x="1280380" y="4193104"/>
            <a:ext cx="535905" cy="535905"/>
          </a:xfrm>
          <a:prstGeom prst="rect">
            <a:avLst/>
          </a:prstGeom>
        </p:spPr>
      </p:pic>
      <p:sp>
        <p:nvSpPr>
          <p:cNvPr id="19" name="Text Placeholder 23">
            <a:extLst>
              <a:ext uri="{FF2B5EF4-FFF2-40B4-BE49-F238E27FC236}">
                <a16:creationId xmlns:a16="http://schemas.microsoft.com/office/drawing/2014/main" id="{A6310CF8-536B-3B46-B545-357C711D0B8A}"/>
              </a:ext>
            </a:extLst>
          </p:cNvPr>
          <p:cNvSpPr txBox="1">
            <a:spLocks/>
          </p:cNvSpPr>
          <p:nvPr userDrawn="1"/>
        </p:nvSpPr>
        <p:spPr>
          <a:xfrm>
            <a:off x="488950" y="2202258"/>
            <a:ext cx="9394638" cy="1292860"/>
          </a:xfrm>
          <a:prstGeom prst="rect">
            <a:avLst/>
          </a:prstGeom>
        </p:spPr>
        <p:txBody>
          <a:bodyPr vert="horz" lIns="0" tIns="0" rIns="0" bIns="0" rtlCol="0" anchor="b">
            <a:noAutofit/>
          </a:bodyPr>
          <a:lstStyle>
            <a:lvl1pPr marL="0" indent="0" algn="l" defTabSz="914217" rtl="0" eaLnBrk="1" latinLnBrk="0" hangingPunct="1">
              <a:lnSpc>
                <a:spcPct val="95000"/>
              </a:lnSpc>
              <a:spcBef>
                <a:spcPts val="1200"/>
              </a:spcBef>
              <a:spcAft>
                <a:spcPts val="0"/>
              </a:spcAft>
              <a:buClr>
                <a:schemeClr val="accent2"/>
              </a:buClr>
              <a:buFont typeface="Arial" panose="020B0604020202020204" pitchFamily="34" charset="0"/>
              <a:buNone/>
              <a:defRPr sz="4800" b="0" i="0" kern="1200">
                <a:solidFill>
                  <a:schemeClr val="bg1"/>
                </a:solidFill>
                <a:latin typeface="+mj-lt"/>
                <a:ea typeface="Roboto Lt" charset="0"/>
                <a:cs typeface="Roboto Lt" charset="0"/>
              </a:defRPr>
            </a:lvl1pPr>
            <a:lvl2pPr marL="457108" indent="0" algn="l" defTabSz="914217" rtl="0" eaLnBrk="1" latinLnBrk="0" hangingPunct="1">
              <a:lnSpc>
                <a:spcPct val="95000"/>
              </a:lnSpc>
              <a:spcBef>
                <a:spcPts val="600"/>
              </a:spcBef>
              <a:spcAft>
                <a:spcPts val="0"/>
              </a:spcAft>
              <a:buClr>
                <a:schemeClr val="accent2"/>
              </a:buClr>
              <a:buFont typeface=".AppleSystemUIFont" charset="-120"/>
              <a:buNone/>
              <a:defRPr sz="1800" b="0" i="0" kern="1200">
                <a:solidFill>
                  <a:schemeClr val="tx1"/>
                </a:solidFill>
                <a:latin typeface="Roboto" charset="0"/>
                <a:ea typeface="Roboto" charset="0"/>
                <a:cs typeface="Roboto" charset="0"/>
              </a:defRPr>
            </a:lvl2pPr>
            <a:lvl3pPr marL="914217" indent="0" algn="l" defTabSz="914217" rtl="0" eaLnBrk="1" latinLnBrk="0" hangingPunct="1">
              <a:lnSpc>
                <a:spcPct val="95000"/>
              </a:lnSpc>
              <a:spcBef>
                <a:spcPts val="600"/>
              </a:spcBef>
              <a:spcAft>
                <a:spcPts val="0"/>
              </a:spcAft>
              <a:buClr>
                <a:schemeClr val="accent2"/>
              </a:buClr>
              <a:buFont typeface="Arial" panose="020B0604020202020204" pitchFamily="34" charset="0"/>
              <a:buNone/>
              <a:defRPr sz="1600" b="0" i="0" kern="1200">
                <a:solidFill>
                  <a:schemeClr val="tx1"/>
                </a:solidFill>
                <a:latin typeface="Roboto" charset="0"/>
                <a:ea typeface="Roboto" charset="0"/>
                <a:cs typeface="Roboto" charset="0"/>
              </a:defRPr>
            </a:lvl3pPr>
            <a:lvl4pPr marL="1371326" indent="0" algn="l" defTabSz="914217" rtl="0" eaLnBrk="1" latinLnBrk="0" hangingPunct="1">
              <a:lnSpc>
                <a:spcPct val="95000"/>
              </a:lnSpc>
              <a:spcBef>
                <a:spcPts val="600"/>
              </a:spcBef>
              <a:spcAft>
                <a:spcPts val="0"/>
              </a:spcAft>
              <a:buClr>
                <a:schemeClr val="accent3"/>
              </a:buClr>
              <a:buFont typeface="Arial" panose="020B0604020202020204" pitchFamily="34" charset="0"/>
              <a:buNone/>
              <a:defRPr sz="1400" b="0" i="0" kern="1200">
                <a:solidFill>
                  <a:schemeClr val="tx1"/>
                </a:solidFill>
                <a:latin typeface="Roboto" charset="0"/>
                <a:ea typeface="Roboto" charset="0"/>
                <a:cs typeface="Roboto" charset="0"/>
              </a:defRPr>
            </a:lvl4pPr>
            <a:lvl5pPr marL="1828435" indent="0" algn="l" defTabSz="914217" rtl="0" eaLnBrk="1" latinLnBrk="0" hangingPunct="1">
              <a:lnSpc>
                <a:spcPct val="95000"/>
              </a:lnSpc>
              <a:spcBef>
                <a:spcPts val="600"/>
              </a:spcBef>
              <a:spcAft>
                <a:spcPts val="0"/>
              </a:spcAft>
              <a:buClr>
                <a:schemeClr val="accent2"/>
              </a:buClr>
              <a:buFont typeface="Arial" panose="020B0604020202020204" pitchFamily="34" charset="0"/>
              <a:buNone/>
              <a:defRPr sz="1400" b="0" i="0" kern="1200">
                <a:solidFill>
                  <a:schemeClr val="tx1"/>
                </a:solidFill>
                <a:latin typeface="Roboto" charset="0"/>
                <a:ea typeface="Roboto" charset="0"/>
                <a:cs typeface="Roboto" charset="0"/>
              </a:defRPr>
            </a:lvl5pPr>
            <a:lvl6pPr marL="914400" indent="-169863" algn="l" defTabSz="914217" rtl="0" eaLnBrk="1" latinLnBrk="0" hangingPunct="1">
              <a:lnSpc>
                <a:spcPct val="90000"/>
              </a:lnSpc>
              <a:spcBef>
                <a:spcPts val="500"/>
              </a:spcBef>
              <a:spcAft>
                <a:spcPts val="1200"/>
              </a:spcAft>
              <a:buClr>
                <a:schemeClr val="tx1"/>
              </a:buClr>
              <a:buFont typeface="Arial" panose="020B0604020202020204" pitchFamily="34" charset="0"/>
              <a:buChar char="•"/>
              <a:defRPr sz="1200" b="0" i="0" kern="1200">
                <a:solidFill>
                  <a:schemeClr val="tx1"/>
                </a:solidFill>
                <a:latin typeface="Roboto" charset="0"/>
                <a:ea typeface="Roboto" charset="0"/>
                <a:cs typeface="Roboto" charset="0"/>
              </a:defRPr>
            </a:lvl6pPr>
            <a:lvl7pPr marL="1084263" indent="-169863" algn="l" defTabSz="914217" rtl="0" eaLnBrk="1" latinLnBrk="0" hangingPunct="1">
              <a:lnSpc>
                <a:spcPct val="90000"/>
              </a:lnSpc>
              <a:spcBef>
                <a:spcPts val="500"/>
              </a:spcBef>
              <a:spcAft>
                <a:spcPts val="1200"/>
              </a:spcAft>
              <a:buClr>
                <a:schemeClr val="accent2"/>
              </a:buClr>
              <a:buFont typeface="Arial" panose="020B0604020202020204" pitchFamily="34" charset="0"/>
              <a:buChar char="•"/>
              <a:defRPr sz="1200" b="0" i="0" kern="1200">
                <a:solidFill>
                  <a:schemeClr val="tx1"/>
                </a:solidFill>
                <a:latin typeface="Roboto" charset="0"/>
                <a:ea typeface="Roboto" charset="0"/>
                <a:cs typeface="Roboto" charset="0"/>
              </a:defRPr>
            </a:lvl7pPr>
            <a:lvl8pPr marL="1258888" indent="-174625" algn="l" defTabSz="914217" rtl="0" eaLnBrk="1" latinLnBrk="0" hangingPunct="1">
              <a:lnSpc>
                <a:spcPct val="90000"/>
              </a:lnSpc>
              <a:spcBef>
                <a:spcPts val="500"/>
              </a:spcBef>
              <a:spcAft>
                <a:spcPts val="1200"/>
              </a:spcAft>
              <a:buClr>
                <a:schemeClr val="accent2"/>
              </a:buClr>
              <a:buFont typeface="Arial" panose="020B0604020202020204" pitchFamily="34" charset="0"/>
              <a:buChar char="•"/>
              <a:defRPr sz="1200" b="0" i="0" kern="1200">
                <a:solidFill>
                  <a:schemeClr val="tx1"/>
                </a:solidFill>
                <a:latin typeface="Roboto" charset="0"/>
                <a:ea typeface="Roboto" charset="0"/>
                <a:cs typeface="Roboto" charset="0"/>
              </a:defRPr>
            </a:lvl8pPr>
            <a:lvl9pPr marL="1428750" indent="-169863" algn="l" defTabSz="914217" rtl="0" eaLnBrk="1" latinLnBrk="0" hangingPunct="1">
              <a:lnSpc>
                <a:spcPct val="90000"/>
              </a:lnSpc>
              <a:spcBef>
                <a:spcPts val="500"/>
              </a:spcBef>
              <a:spcAft>
                <a:spcPts val="1200"/>
              </a:spcAft>
              <a:buClr>
                <a:schemeClr val="accent2"/>
              </a:buClr>
              <a:buFont typeface="Arial" panose="020B0604020202020204" pitchFamily="34" charset="0"/>
              <a:buChar char="•"/>
              <a:defRPr sz="1200" b="0" i="0" kern="1200">
                <a:solidFill>
                  <a:schemeClr val="tx1"/>
                </a:solidFill>
                <a:latin typeface="Roboto" charset="0"/>
                <a:ea typeface="Roboto" charset="0"/>
                <a:cs typeface="Roboto" charset="0"/>
              </a:defRPr>
            </a:lvl9pPr>
          </a:lstStyle>
          <a:p>
            <a:pPr marL="0" marR="0" lvl="0" indent="0" algn="l" defTabSz="914217" rtl="0" eaLnBrk="1" fontAlgn="auto" latinLnBrk="0" hangingPunct="1">
              <a:lnSpc>
                <a:spcPct val="95000"/>
              </a:lnSpc>
              <a:spcBef>
                <a:spcPts val="1200"/>
              </a:spcBef>
              <a:spcAft>
                <a:spcPts val="0"/>
              </a:spcAft>
              <a:buClr>
                <a:srgbClr val="FF7D00"/>
              </a:buClr>
              <a:buSzTx/>
              <a:buFont typeface="Arial" panose="020B0604020202020204" pitchFamily="34" charset="0"/>
              <a:buNone/>
              <a:tabLst/>
              <a:defRPr/>
            </a:pPr>
            <a:r>
              <a:rPr kumimoji="0" lang="en-US" sz="4800" b="0" i="0" u="none" strike="noStrike" kern="1200" cap="none" spc="0" normalizeH="0" baseline="0" noProof="0">
                <a:ln>
                  <a:noFill/>
                </a:ln>
                <a:solidFill>
                  <a:srgbClr val="FFFFFF"/>
                </a:solidFill>
                <a:effectLst/>
                <a:uLnTx/>
                <a:uFillTx/>
                <a:latin typeface="Roboto Light"/>
                <a:ea typeface="Roboto Light" panose="02000000000000000000" pitchFamily="2" charset="0"/>
              </a:rPr>
              <a:t>Let’s Connect</a:t>
            </a:r>
          </a:p>
        </p:txBody>
      </p:sp>
      <p:sp>
        <p:nvSpPr>
          <p:cNvPr id="20" name="Text Placeholder 27">
            <a:extLst>
              <a:ext uri="{FF2B5EF4-FFF2-40B4-BE49-F238E27FC236}">
                <a16:creationId xmlns:a16="http://schemas.microsoft.com/office/drawing/2014/main" id="{5D949840-0DEC-714D-8093-B2D71DDFEE90}"/>
              </a:ext>
            </a:extLst>
          </p:cNvPr>
          <p:cNvSpPr txBox="1">
            <a:spLocks/>
          </p:cNvSpPr>
          <p:nvPr userDrawn="1"/>
        </p:nvSpPr>
        <p:spPr bwMode="gray">
          <a:xfrm>
            <a:off x="493711" y="3549983"/>
            <a:ext cx="10118603" cy="475487"/>
          </a:xfrm>
          <a:prstGeom prst="rect">
            <a:avLst/>
          </a:prstGeom>
        </p:spPr>
        <p:txBody>
          <a:bodyPr vert="horz" lIns="0" tIns="0" rIns="0" bIns="0" rtlCol="0">
            <a:noAutofit/>
          </a:bodyPr>
          <a:lstStyle>
            <a:lvl1pPr marL="7938" indent="-7938" algn="l" defTabSz="914217" rtl="0" eaLnBrk="1" latinLnBrk="0" hangingPunct="1">
              <a:lnSpc>
                <a:spcPct val="95000"/>
              </a:lnSpc>
              <a:spcBef>
                <a:spcPts val="1200"/>
              </a:spcBef>
              <a:spcAft>
                <a:spcPts val="0"/>
              </a:spcAft>
              <a:buClr>
                <a:schemeClr val="accent2"/>
              </a:buClr>
              <a:buFont typeface="Arial" panose="020B0604020202020204" pitchFamily="34" charset="0"/>
              <a:buNone/>
              <a:tabLst/>
              <a:defRPr lang="en-US" sz="2800" b="0" i="0" kern="1200" baseline="0" dirty="0">
                <a:solidFill>
                  <a:schemeClr val="bg1"/>
                </a:solidFill>
                <a:latin typeface="Roboto Lt" charset="0"/>
                <a:ea typeface="Roboto Lt" charset="0"/>
                <a:cs typeface="Roboto Lt" charset="0"/>
              </a:defRPr>
            </a:lvl1pPr>
            <a:lvl2pPr marL="344488" indent="-174625" algn="l" defTabSz="914217" rtl="0" eaLnBrk="1" latinLnBrk="0" hangingPunct="1">
              <a:lnSpc>
                <a:spcPct val="95000"/>
              </a:lnSpc>
              <a:spcBef>
                <a:spcPts val="600"/>
              </a:spcBef>
              <a:spcAft>
                <a:spcPts val="0"/>
              </a:spcAft>
              <a:buClr>
                <a:schemeClr val="accent2"/>
              </a:buClr>
              <a:buFont typeface=".AppleSystemUIFont" charset="-120"/>
              <a:buChar char="-"/>
              <a:defRPr sz="1800" b="0" i="0" kern="1200">
                <a:solidFill>
                  <a:schemeClr val="tx1"/>
                </a:solidFill>
                <a:latin typeface="Roboto" charset="0"/>
                <a:ea typeface="Roboto" charset="0"/>
                <a:cs typeface="Roboto" charset="0"/>
              </a:defRPr>
            </a:lvl2pPr>
            <a:lvl3pPr marL="514350" indent="-169863" algn="l" defTabSz="914217" rtl="0" eaLnBrk="1" latinLnBrk="0" hangingPunct="1">
              <a:lnSpc>
                <a:spcPct val="95000"/>
              </a:lnSpc>
              <a:spcBef>
                <a:spcPts val="600"/>
              </a:spcBef>
              <a:spcAft>
                <a:spcPts val="0"/>
              </a:spcAft>
              <a:buClr>
                <a:schemeClr val="accent2"/>
              </a:buClr>
              <a:buFont typeface="Arial" panose="020B0604020202020204" pitchFamily="34" charset="0"/>
              <a:buChar char="•"/>
              <a:defRPr sz="1600" b="0" i="0" kern="1200">
                <a:solidFill>
                  <a:schemeClr val="tx1"/>
                </a:solidFill>
                <a:latin typeface="Roboto" charset="0"/>
                <a:ea typeface="Roboto" charset="0"/>
                <a:cs typeface="Roboto" charset="0"/>
              </a:defRPr>
            </a:lvl3pPr>
            <a:lvl4pPr marL="630238" indent="-171450" algn="l" defTabSz="914217" rtl="0" eaLnBrk="1" latinLnBrk="0" hangingPunct="1">
              <a:lnSpc>
                <a:spcPct val="95000"/>
              </a:lnSpc>
              <a:spcBef>
                <a:spcPts val="600"/>
              </a:spcBef>
              <a:spcAft>
                <a:spcPts val="0"/>
              </a:spcAft>
              <a:buClr>
                <a:schemeClr val="accent3"/>
              </a:buClr>
              <a:buFont typeface="Arial" panose="020B0604020202020204" pitchFamily="34" charset="0"/>
              <a:buChar char="•"/>
              <a:defRPr sz="1400" b="0" i="0" kern="1200">
                <a:solidFill>
                  <a:schemeClr val="tx1"/>
                </a:solidFill>
                <a:latin typeface="Roboto" charset="0"/>
                <a:ea typeface="Roboto" charset="0"/>
                <a:cs typeface="Roboto" charset="0"/>
              </a:defRPr>
            </a:lvl4pPr>
            <a:lvl5pPr marL="800100" indent="-169863" algn="l" defTabSz="914217" rtl="0" eaLnBrk="1" latinLnBrk="0" hangingPunct="1">
              <a:lnSpc>
                <a:spcPct val="95000"/>
              </a:lnSpc>
              <a:spcBef>
                <a:spcPts val="600"/>
              </a:spcBef>
              <a:spcAft>
                <a:spcPts val="0"/>
              </a:spcAft>
              <a:buClr>
                <a:schemeClr val="accent2"/>
              </a:buClr>
              <a:buFont typeface="Arial" panose="020B0604020202020204" pitchFamily="34" charset="0"/>
              <a:buChar char="•"/>
              <a:defRPr sz="1400" b="0" i="0" kern="1200">
                <a:solidFill>
                  <a:schemeClr val="tx1"/>
                </a:solidFill>
                <a:latin typeface="Roboto" charset="0"/>
                <a:ea typeface="Roboto" charset="0"/>
                <a:cs typeface="Roboto" charset="0"/>
              </a:defRPr>
            </a:lvl5pPr>
            <a:lvl6pPr marL="914400" indent="-169863" algn="l" defTabSz="914217" rtl="0" eaLnBrk="1" latinLnBrk="0" hangingPunct="1">
              <a:lnSpc>
                <a:spcPct val="90000"/>
              </a:lnSpc>
              <a:spcBef>
                <a:spcPts val="500"/>
              </a:spcBef>
              <a:spcAft>
                <a:spcPts val="1200"/>
              </a:spcAft>
              <a:buClr>
                <a:schemeClr val="tx1"/>
              </a:buClr>
              <a:buFont typeface="Arial" panose="020B0604020202020204" pitchFamily="34" charset="0"/>
              <a:buChar char="•"/>
              <a:defRPr sz="1200" b="0" i="0" kern="1200">
                <a:solidFill>
                  <a:schemeClr val="tx1"/>
                </a:solidFill>
                <a:latin typeface="Roboto" charset="0"/>
                <a:ea typeface="Roboto" charset="0"/>
                <a:cs typeface="Roboto" charset="0"/>
              </a:defRPr>
            </a:lvl6pPr>
            <a:lvl7pPr marL="1084263" indent="-169863" algn="l" defTabSz="914217" rtl="0" eaLnBrk="1" latinLnBrk="0" hangingPunct="1">
              <a:lnSpc>
                <a:spcPct val="90000"/>
              </a:lnSpc>
              <a:spcBef>
                <a:spcPts val="500"/>
              </a:spcBef>
              <a:spcAft>
                <a:spcPts val="1200"/>
              </a:spcAft>
              <a:buClr>
                <a:schemeClr val="accent2"/>
              </a:buClr>
              <a:buFont typeface="Arial" panose="020B0604020202020204" pitchFamily="34" charset="0"/>
              <a:buChar char="•"/>
              <a:defRPr sz="1200" b="0" i="0" kern="1200">
                <a:solidFill>
                  <a:schemeClr val="tx1"/>
                </a:solidFill>
                <a:latin typeface="Roboto" charset="0"/>
                <a:ea typeface="Roboto" charset="0"/>
                <a:cs typeface="Roboto" charset="0"/>
              </a:defRPr>
            </a:lvl7pPr>
            <a:lvl8pPr marL="1258888" indent="-174625" algn="l" defTabSz="914217" rtl="0" eaLnBrk="1" latinLnBrk="0" hangingPunct="1">
              <a:lnSpc>
                <a:spcPct val="90000"/>
              </a:lnSpc>
              <a:spcBef>
                <a:spcPts val="500"/>
              </a:spcBef>
              <a:spcAft>
                <a:spcPts val="1200"/>
              </a:spcAft>
              <a:buClr>
                <a:schemeClr val="accent2"/>
              </a:buClr>
              <a:buFont typeface="Arial" panose="020B0604020202020204" pitchFamily="34" charset="0"/>
              <a:buChar char="•"/>
              <a:defRPr sz="1200" b="0" i="0" kern="1200">
                <a:solidFill>
                  <a:schemeClr val="tx1"/>
                </a:solidFill>
                <a:latin typeface="Roboto" charset="0"/>
                <a:ea typeface="Roboto" charset="0"/>
                <a:cs typeface="Roboto" charset="0"/>
              </a:defRPr>
            </a:lvl8pPr>
            <a:lvl9pPr marL="1428750" indent="-169863" algn="l" defTabSz="914217" rtl="0" eaLnBrk="1" latinLnBrk="0" hangingPunct="1">
              <a:lnSpc>
                <a:spcPct val="90000"/>
              </a:lnSpc>
              <a:spcBef>
                <a:spcPts val="500"/>
              </a:spcBef>
              <a:spcAft>
                <a:spcPts val="1200"/>
              </a:spcAft>
              <a:buClr>
                <a:schemeClr val="accent2"/>
              </a:buClr>
              <a:buFont typeface="Arial" panose="020B0604020202020204" pitchFamily="34" charset="0"/>
              <a:buChar char="•"/>
              <a:defRPr sz="1200" b="0" i="0" kern="1200">
                <a:solidFill>
                  <a:schemeClr val="tx1"/>
                </a:solidFill>
                <a:latin typeface="Roboto" charset="0"/>
                <a:ea typeface="Roboto" charset="0"/>
                <a:cs typeface="Roboto" charset="0"/>
              </a:defRPr>
            </a:lvl9pPr>
          </a:lstStyle>
          <a:p>
            <a:pPr marL="173038" marR="0" lvl="0" indent="-173038" algn="l" defTabSz="914217" rtl="0" eaLnBrk="1" fontAlgn="auto" latinLnBrk="0" hangingPunct="1">
              <a:lnSpc>
                <a:spcPct val="95000"/>
              </a:lnSpc>
              <a:spcBef>
                <a:spcPts val="1200"/>
              </a:spcBef>
              <a:spcAft>
                <a:spcPts val="0"/>
              </a:spcAft>
              <a:buClr>
                <a:srgbClr val="FF7D00"/>
              </a:buClr>
              <a:buSzTx/>
              <a:buFont typeface="Arial" panose="020B0604020202020204" pitchFamily="34" charset="0"/>
              <a:buNone/>
              <a:tabLst/>
              <a:defRPr/>
            </a:pPr>
            <a:r>
              <a:rPr kumimoji="0" lang="en-US" sz="2800" b="0" i="0" u="none" strike="noStrike" kern="1200" cap="none" spc="0" normalizeH="0" baseline="0" noProof="0">
                <a:ln>
                  <a:noFill/>
                </a:ln>
                <a:solidFill>
                  <a:srgbClr val="FFFFFF"/>
                </a:solidFill>
                <a:effectLst/>
                <a:uLnTx/>
                <a:uFillTx/>
                <a:latin typeface="Roboto Light" panose="02000000000000000000" pitchFamily="2" charset="0"/>
                <a:ea typeface="Roboto Light" panose="02000000000000000000" pitchFamily="2" charset="0"/>
              </a:rPr>
              <a:t>If you enjoyed our presentation, then follow us on social media</a:t>
            </a:r>
          </a:p>
        </p:txBody>
      </p:sp>
    </p:spTree>
    <p:extLst>
      <p:ext uri="{BB962C8B-B14F-4D97-AF65-F5344CB8AC3E}">
        <p14:creationId xmlns:p14="http://schemas.microsoft.com/office/powerpoint/2010/main" val="2731754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YouTube &quot;Subscribe&quot;">
    <p:bg>
      <p:bgPr>
        <a:solidFill>
          <a:schemeClr val="accent2"/>
        </a:solidFill>
        <a:effectLst/>
      </p:bgPr>
    </p:bg>
    <p:spTree>
      <p:nvGrpSpPr>
        <p:cNvPr id="1" name=""/>
        <p:cNvGrpSpPr/>
        <p:nvPr/>
      </p:nvGrpSpPr>
      <p:grpSpPr>
        <a:xfrm>
          <a:off x="0" y="0"/>
          <a:ext cx="0" cy="0"/>
          <a:chOff x="0" y="0"/>
          <a:chExt cx="0" cy="0"/>
        </a:xfrm>
      </p:grpSpPr>
      <p:sp>
        <p:nvSpPr>
          <p:cNvPr id="9" name="Right Triangle 8">
            <a:extLst>
              <a:ext uri="{FF2B5EF4-FFF2-40B4-BE49-F238E27FC236}">
                <a16:creationId xmlns:a16="http://schemas.microsoft.com/office/drawing/2014/main" id="{78D35A2B-6053-E04F-A1C5-B9798F9C9B7D}"/>
              </a:ext>
            </a:extLst>
          </p:cNvPr>
          <p:cNvSpPr/>
          <p:nvPr userDrawn="1"/>
        </p:nvSpPr>
        <p:spPr>
          <a:xfrm rot="5400000" flipH="1">
            <a:off x="3831485" y="912771"/>
            <a:ext cx="2123832" cy="9786801"/>
          </a:xfrm>
          <a:prstGeom prst="rtTriangle">
            <a:avLst/>
          </a:prstGeom>
          <a:solidFill>
            <a:srgbClr val="FF8A1A"/>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10" name="Right Triangle 9">
            <a:extLst>
              <a:ext uri="{FF2B5EF4-FFF2-40B4-BE49-F238E27FC236}">
                <a16:creationId xmlns:a16="http://schemas.microsoft.com/office/drawing/2014/main" id="{61DB92BF-401F-D84E-9141-70F8803D14EA}"/>
              </a:ext>
            </a:extLst>
          </p:cNvPr>
          <p:cNvSpPr/>
          <p:nvPr userDrawn="1"/>
        </p:nvSpPr>
        <p:spPr>
          <a:xfrm rot="5400000" flipH="1" flipV="1">
            <a:off x="8079706" y="2758965"/>
            <a:ext cx="2123830" cy="6094413"/>
          </a:xfrm>
          <a:prstGeom prst="r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11" name="Right Triangle 10">
            <a:extLst>
              <a:ext uri="{FF2B5EF4-FFF2-40B4-BE49-F238E27FC236}">
                <a16:creationId xmlns:a16="http://schemas.microsoft.com/office/drawing/2014/main" id="{9658DFFD-F62F-CC4B-8F0D-9AA15B75EDD3}"/>
              </a:ext>
            </a:extLst>
          </p:cNvPr>
          <p:cNvSpPr/>
          <p:nvPr userDrawn="1"/>
        </p:nvSpPr>
        <p:spPr>
          <a:xfrm rot="5400000" flipH="1" flipV="1">
            <a:off x="8199800" y="2879061"/>
            <a:ext cx="1883641" cy="6094413"/>
          </a:xfrm>
          <a:prstGeom prst="rtTriangle">
            <a:avLst/>
          </a:prstGeom>
          <a:solidFill>
            <a:srgbClr val="070606"/>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pic>
        <p:nvPicPr>
          <p:cNvPr id="12" name="Picture 11">
            <a:extLst>
              <a:ext uri="{FF2B5EF4-FFF2-40B4-BE49-F238E27FC236}">
                <a16:creationId xmlns:a16="http://schemas.microsoft.com/office/drawing/2014/main" id="{C4AD8F6B-2ADB-6F45-BDD8-0436079D30A5}"/>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100000"/>
                    </a14:imgEffect>
                  </a14:imgLayer>
                </a14:imgProps>
              </a:ext>
            </a:extLst>
          </a:blip>
          <a:srcRect l="31513"/>
          <a:stretch/>
        </p:blipFill>
        <p:spPr>
          <a:xfrm>
            <a:off x="10239375" y="6007608"/>
            <a:ext cx="1697110" cy="849901"/>
          </a:xfrm>
          <a:prstGeom prst="rect">
            <a:avLst/>
          </a:prstGeom>
        </p:spPr>
      </p:pic>
      <p:pic>
        <p:nvPicPr>
          <p:cNvPr id="13" name="Picture 12">
            <a:extLst>
              <a:ext uri="{FF2B5EF4-FFF2-40B4-BE49-F238E27FC236}">
                <a16:creationId xmlns:a16="http://schemas.microsoft.com/office/drawing/2014/main" id="{2362AD09-60B4-D846-857E-35A1834B747F}"/>
              </a:ext>
            </a:extLst>
          </p:cNvPr>
          <p:cNvPicPr>
            <a:picLocks noChangeAspect="1"/>
          </p:cNvPicPr>
          <p:nvPr userDrawn="1"/>
        </p:nvPicPr>
        <p:blipFill rotWithShape="1">
          <a:blip r:embed="rId4"/>
          <a:srcRect r="69640"/>
          <a:stretch/>
        </p:blipFill>
        <p:spPr>
          <a:xfrm>
            <a:off x="9458461" y="6007607"/>
            <a:ext cx="752339" cy="849901"/>
          </a:xfrm>
          <a:prstGeom prst="rect">
            <a:avLst/>
          </a:prstGeom>
        </p:spPr>
      </p:pic>
      <p:pic>
        <p:nvPicPr>
          <p:cNvPr id="21" name="Picture 20" descr="Icon&#10;&#10;Description automatically generated">
            <a:hlinkClick r:id="rId5"/>
            <a:extLst>
              <a:ext uri="{FF2B5EF4-FFF2-40B4-BE49-F238E27FC236}">
                <a16:creationId xmlns:a16="http://schemas.microsoft.com/office/drawing/2014/main" id="{4A604B0B-7421-FA4B-8C1E-8FAEAA290ED6}"/>
              </a:ext>
            </a:extLst>
          </p:cNvPr>
          <p:cNvPicPr>
            <a:picLocks noChangeAspect="1"/>
          </p:cNvPicPr>
          <p:nvPr userDrawn="1"/>
        </p:nvPicPr>
        <p:blipFill>
          <a:blip r:embed="rId6"/>
          <a:stretch>
            <a:fillRect/>
          </a:stretch>
        </p:blipFill>
        <p:spPr>
          <a:xfrm>
            <a:off x="488950" y="4193103"/>
            <a:ext cx="535905" cy="535905"/>
          </a:xfrm>
          <a:prstGeom prst="rect">
            <a:avLst/>
          </a:prstGeom>
        </p:spPr>
      </p:pic>
      <p:sp>
        <p:nvSpPr>
          <p:cNvPr id="24" name="Text Placeholder 23">
            <a:extLst>
              <a:ext uri="{FF2B5EF4-FFF2-40B4-BE49-F238E27FC236}">
                <a16:creationId xmlns:a16="http://schemas.microsoft.com/office/drawing/2014/main" id="{230111FE-507F-E045-8EBF-0AA1309FAE0D}"/>
              </a:ext>
            </a:extLst>
          </p:cNvPr>
          <p:cNvSpPr txBox="1">
            <a:spLocks/>
          </p:cNvSpPr>
          <p:nvPr userDrawn="1"/>
        </p:nvSpPr>
        <p:spPr>
          <a:xfrm>
            <a:off x="488950" y="2202258"/>
            <a:ext cx="9394638" cy="1292860"/>
          </a:xfrm>
          <a:prstGeom prst="rect">
            <a:avLst/>
          </a:prstGeom>
        </p:spPr>
        <p:txBody>
          <a:bodyPr vert="horz" lIns="0" tIns="0" rIns="0" bIns="0" rtlCol="0" anchor="b">
            <a:noAutofit/>
          </a:bodyPr>
          <a:lstStyle>
            <a:lvl1pPr marL="0" indent="0" algn="l" defTabSz="914217" rtl="0" eaLnBrk="1" latinLnBrk="0" hangingPunct="1">
              <a:lnSpc>
                <a:spcPct val="95000"/>
              </a:lnSpc>
              <a:spcBef>
                <a:spcPts val="1200"/>
              </a:spcBef>
              <a:spcAft>
                <a:spcPts val="0"/>
              </a:spcAft>
              <a:buClr>
                <a:schemeClr val="accent2"/>
              </a:buClr>
              <a:buFont typeface="Arial" panose="020B0604020202020204" pitchFamily="34" charset="0"/>
              <a:buNone/>
              <a:defRPr sz="4800" b="0" i="0" kern="1200">
                <a:solidFill>
                  <a:schemeClr val="bg1"/>
                </a:solidFill>
                <a:latin typeface="+mj-lt"/>
                <a:ea typeface="Roboto Lt" charset="0"/>
                <a:cs typeface="Roboto Lt" charset="0"/>
              </a:defRPr>
            </a:lvl1pPr>
            <a:lvl2pPr marL="457108" indent="0" algn="l" defTabSz="914217" rtl="0" eaLnBrk="1" latinLnBrk="0" hangingPunct="1">
              <a:lnSpc>
                <a:spcPct val="95000"/>
              </a:lnSpc>
              <a:spcBef>
                <a:spcPts val="600"/>
              </a:spcBef>
              <a:spcAft>
                <a:spcPts val="0"/>
              </a:spcAft>
              <a:buClr>
                <a:schemeClr val="accent2"/>
              </a:buClr>
              <a:buFont typeface=".AppleSystemUIFont" charset="-120"/>
              <a:buNone/>
              <a:defRPr sz="1800" b="0" i="0" kern="1200">
                <a:solidFill>
                  <a:schemeClr val="tx1"/>
                </a:solidFill>
                <a:latin typeface="Roboto" charset="0"/>
                <a:ea typeface="Roboto" charset="0"/>
                <a:cs typeface="Roboto" charset="0"/>
              </a:defRPr>
            </a:lvl2pPr>
            <a:lvl3pPr marL="914217" indent="0" algn="l" defTabSz="914217" rtl="0" eaLnBrk="1" latinLnBrk="0" hangingPunct="1">
              <a:lnSpc>
                <a:spcPct val="95000"/>
              </a:lnSpc>
              <a:spcBef>
                <a:spcPts val="600"/>
              </a:spcBef>
              <a:spcAft>
                <a:spcPts val="0"/>
              </a:spcAft>
              <a:buClr>
                <a:schemeClr val="accent2"/>
              </a:buClr>
              <a:buFont typeface="Arial" panose="020B0604020202020204" pitchFamily="34" charset="0"/>
              <a:buNone/>
              <a:defRPr sz="1600" b="0" i="0" kern="1200">
                <a:solidFill>
                  <a:schemeClr val="tx1"/>
                </a:solidFill>
                <a:latin typeface="Roboto" charset="0"/>
                <a:ea typeface="Roboto" charset="0"/>
                <a:cs typeface="Roboto" charset="0"/>
              </a:defRPr>
            </a:lvl3pPr>
            <a:lvl4pPr marL="1371326" indent="0" algn="l" defTabSz="914217" rtl="0" eaLnBrk="1" latinLnBrk="0" hangingPunct="1">
              <a:lnSpc>
                <a:spcPct val="95000"/>
              </a:lnSpc>
              <a:spcBef>
                <a:spcPts val="600"/>
              </a:spcBef>
              <a:spcAft>
                <a:spcPts val="0"/>
              </a:spcAft>
              <a:buClr>
                <a:schemeClr val="accent3"/>
              </a:buClr>
              <a:buFont typeface="Arial" panose="020B0604020202020204" pitchFamily="34" charset="0"/>
              <a:buNone/>
              <a:defRPr sz="1400" b="0" i="0" kern="1200">
                <a:solidFill>
                  <a:schemeClr val="tx1"/>
                </a:solidFill>
                <a:latin typeface="Roboto" charset="0"/>
                <a:ea typeface="Roboto" charset="0"/>
                <a:cs typeface="Roboto" charset="0"/>
              </a:defRPr>
            </a:lvl4pPr>
            <a:lvl5pPr marL="1828435" indent="0" algn="l" defTabSz="914217" rtl="0" eaLnBrk="1" latinLnBrk="0" hangingPunct="1">
              <a:lnSpc>
                <a:spcPct val="95000"/>
              </a:lnSpc>
              <a:spcBef>
                <a:spcPts val="600"/>
              </a:spcBef>
              <a:spcAft>
                <a:spcPts val="0"/>
              </a:spcAft>
              <a:buClr>
                <a:schemeClr val="accent2"/>
              </a:buClr>
              <a:buFont typeface="Arial" panose="020B0604020202020204" pitchFamily="34" charset="0"/>
              <a:buNone/>
              <a:defRPr sz="1400" b="0" i="0" kern="1200">
                <a:solidFill>
                  <a:schemeClr val="tx1"/>
                </a:solidFill>
                <a:latin typeface="Roboto" charset="0"/>
                <a:ea typeface="Roboto" charset="0"/>
                <a:cs typeface="Roboto" charset="0"/>
              </a:defRPr>
            </a:lvl5pPr>
            <a:lvl6pPr marL="914400" indent="-169863" algn="l" defTabSz="914217" rtl="0" eaLnBrk="1" latinLnBrk="0" hangingPunct="1">
              <a:lnSpc>
                <a:spcPct val="90000"/>
              </a:lnSpc>
              <a:spcBef>
                <a:spcPts val="500"/>
              </a:spcBef>
              <a:spcAft>
                <a:spcPts val="1200"/>
              </a:spcAft>
              <a:buClr>
                <a:schemeClr val="tx1"/>
              </a:buClr>
              <a:buFont typeface="Arial" panose="020B0604020202020204" pitchFamily="34" charset="0"/>
              <a:buChar char="•"/>
              <a:defRPr sz="1200" b="0" i="0" kern="1200">
                <a:solidFill>
                  <a:schemeClr val="tx1"/>
                </a:solidFill>
                <a:latin typeface="Roboto" charset="0"/>
                <a:ea typeface="Roboto" charset="0"/>
                <a:cs typeface="Roboto" charset="0"/>
              </a:defRPr>
            </a:lvl6pPr>
            <a:lvl7pPr marL="1084263" indent="-169863" algn="l" defTabSz="914217" rtl="0" eaLnBrk="1" latinLnBrk="0" hangingPunct="1">
              <a:lnSpc>
                <a:spcPct val="90000"/>
              </a:lnSpc>
              <a:spcBef>
                <a:spcPts val="500"/>
              </a:spcBef>
              <a:spcAft>
                <a:spcPts val="1200"/>
              </a:spcAft>
              <a:buClr>
                <a:schemeClr val="accent2"/>
              </a:buClr>
              <a:buFont typeface="Arial" panose="020B0604020202020204" pitchFamily="34" charset="0"/>
              <a:buChar char="•"/>
              <a:defRPr sz="1200" b="0" i="0" kern="1200">
                <a:solidFill>
                  <a:schemeClr val="tx1"/>
                </a:solidFill>
                <a:latin typeface="Roboto" charset="0"/>
                <a:ea typeface="Roboto" charset="0"/>
                <a:cs typeface="Roboto" charset="0"/>
              </a:defRPr>
            </a:lvl7pPr>
            <a:lvl8pPr marL="1258888" indent="-174625" algn="l" defTabSz="914217" rtl="0" eaLnBrk="1" latinLnBrk="0" hangingPunct="1">
              <a:lnSpc>
                <a:spcPct val="90000"/>
              </a:lnSpc>
              <a:spcBef>
                <a:spcPts val="500"/>
              </a:spcBef>
              <a:spcAft>
                <a:spcPts val="1200"/>
              </a:spcAft>
              <a:buClr>
                <a:schemeClr val="accent2"/>
              </a:buClr>
              <a:buFont typeface="Arial" panose="020B0604020202020204" pitchFamily="34" charset="0"/>
              <a:buChar char="•"/>
              <a:defRPr sz="1200" b="0" i="0" kern="1200">
                <a:solidFill>
                  <a:schemeClr val="tx1"/>
                </a:solidFill>
                <a:latin typeface="Roboto" charset="0"/>
                <a:ea typeface="Roboto" charset="0"/>
                <a:cs typeface="Roboto" charset="0"/>
              </a:defRPr>
            </a:lvl8pPr>
            <a:lvl9pPr marL="1428750" indent="-169863" algn="l" defTabSz="914217" rtl="0" eaLnBrk="1" latinLnBrk="0" hangingPunct="1">
              <a:lnSpc>
                <a:spcPct val="90000"/>
              </a:lnSpc>
              <a:spcBef>
                <a:spcPts val="500"/>
              </a:spcBef>
              <a:spcAft>
                <a:spcPts val="1200"/>
              </a:spcAft>
              <a:buClr>
                <a:schemeClr val="accent2"/>
              </a:buClr>
              <a:buFont typeface="Arial" panose="020B0604020202020204" pitchFamily="34" charset="0"/>
              <a:buChar char="•"/>
              <a:defRPr sz="1200" b="0" i="0" kern="1200">
                <a:solidFill>
                  <a:schemeClr val="tx1"/>
                </a:solidFill>
                <a:latin typeface="Roboto" charset="0"/>
                <a:ea typeface="Roboto" charset="0"/>
                <a:cs typeface="Roboto" charset="0"/>
              </a:defRPr>
            </a:lvl9pPr>
          </a:lstStyle>
          <a:p>
            <a:pPr marL="0" marR="0" lvl="0" indent="0" algn="l" defTabSz="914217" rtl="0" eaLnBrk="1" fontAlgn="auto" latinLnBrk="0" hangingPunct="1">
              <a:lnSpc>
                <a:spcPct val="95000"/>
              </a:lnSpc>
              <a:spcBef>
                <a:spcPts val="1200"/>
              </a:spcBef>
              <a:spcAft>
                <a:spcPts val="0"/>
              </a:spcAft>
              <a:buClr>
                <a:srgbClr val="FF7D00"/>
              </a:buClr>
              <a:buSzTx/>
              <a:buFont typeface="Arial" panose="020B0604020202020204" pitchFamily="34" charset="0"/>
              <a:buNone/>
              <a:tabLst/>
              <a:defRPr/>
            </a:pPr>
            <a:r>
              <a:rPr kumimoji="0" lang="en-US" sz="4800" b="0" i="0" u="none" strike="noStrike" kern="1200" cap="none" spc="0" normalizeH="0" baseline="0" noProof="0">
                <a:ln>
                  <a:noFill/>
                </a:ln>
                <a:solidFill>
                  <a:srgbClr val="FFFFFF"/>
                </a:solidFill>
                <a:effectLst/>
                <a:uLnTx/>
                <a:uFillTx/>
                <a:latin typeface="Roboto Light"/>
                <a:ea typeface="Roboto Light" panose="02000000000000000000" pitchFamily="2" charset="0"/>
              </a:rPr>
              <a:t>Thank You for Watching</a:t>
            </a:r>
          </a:p>
        </p:txBody>
      </p:sp>
      <p:sp>
        <p:nvSpPr>
          <p:cNvPr id="25" name="Text Placeholder 27">
            <a:extLst>
              <a:ext uri="{FF2B5EF4-FFF2-40B4-BE49-F238E27FC236}">
                <a16:creationId xmlns:a16="http://schemas.microsoft.com/office/drawing/2014/main" id="{2E77DB72-176E-7A46-86E0-70854FEC4DAA}"/>
              </a:ext>
            </a:extLst>
          </p:cNvPr>
          <p:cNvSpPr txBox="1">
            <a:spLocks/>
          </p:cNvSpPr>
          <p:nvPr userDrawn="1"/>
        </p:nvSpPr>
        <p:spPr bwMode="gray">
          <a:xfrm>
            <a:off x="493711" y="3549983"/>
            <a:ext cx="10118603" cy="475487"/>
          </a:xfrm>
          <a:prstGeom prst="rect">
            <a:avLst/>
          </a:prstGeom>
        </p:spPr>
        <p:txBody>
          <a:bodyPr vert="horz" lIns="0" tIns="0" rIns="0" bIns="0" rtlCol="0">
            <a:noAutofit/>
          </a:bodyPr>
          <a:lstStyle>
            <a:lvl1pPr marL="7938" indent="-7938" algn="l" defTabSz="914217" rtl="0" eaLnBrk="1" latinLnBrk="0" hangingPunct="1">
              <a:lnSpc>
                <a:spcPct val="95000"/>
              </a:lnSpc>
              <a:spcBef>
                <a:spcPts val="1200"/>
              </a:spcBef>
              <a:spcAft>
                <a:spcPts val="0"/>
              </a:spcAft>
              <a:buClr>
                <a:schemeClr val="accent2"/>
              </a:buClr>
              <a:buFont typeface="Arial" panose="020B0604020202020204" pitchFamily="34" charset="0"/>
              <a:buNone/>
              <a:tabLst/>
              <a:defRPr lang="en-US" sz="2800" b="0" i="0" kern="1200" baseline="0" dirty="0">
                <a:solidFill>
                  <a:schemeClr val="bg1"/>
                </a:solidFill>
                <a:latin typeface="Roboto Lt" charset="0"/>
                <a:ea typeface="Roboto Lt" charset="0"/>
                <a:cs typeface="Roboto Lt" charset="0"/>
              </a:defRPr>
            </a:lvl1pPr>
            <a:lvl2pPr marL="344488" indent="-174625" algn="l" defTabSz="914217" rtl="0" eaLnBrk="1" latinLnBrk="0" hangingPunct="1">
              <a:lnSpc>
                <a:spcPct val="95000"/>
              </a:lnSpc>
              <a:spcBef>
                <a:spcPts val="600"/>
              </a:spcBef>
              <a:spcAft>
                <a:spcPts val="0"/>
              </a:spcAft>
              <a:buClr>
                <a:schemeClr val="accent2"/>
              </a:buClr>
              <a:buFont typeface=".AppleSystemUIFont" charset="-120"/>
              <a:buChar char="-"/>
              <a:defRPr sz="1800" b="0" i="0" kern="1200">
                <a:solidFill>
                  <a:schemeClr val="tx1"/>
                </a:solidFill>
                <a:latin typeface="Roboto" charset="0"/>
                <a:ea typeface="Roboto" charset="0"/>
                <a:cs typeface="Roboto" charset="0"/>
              </a:defRPr>
            </a:lvl2pPr>
            <a:lvl3pPr marL="514350" indent="-169863" algn="l" defTabSz="914217" rtl="0" eaLnBrk="1" latinLnBrk="0" hangingPunct="1">
              <a:lnSpc>
                <a:spcPct val="95000"/>
              </a:lnSpc>
              <a:spcBef>
                <a:spcPts val="600"/>
              </a:spcBef>
              <a:spcAft>
                <a:spcPts val="0"/>
              </a:spcAft>
              <a:buClr>
                <a:schemeClr val="accent2"/>
              </a:buClr>
              <a:buFont typeface="Arial" panose="020B0604020202020204" pitchFamily="34" charset="0"/>
              <a:buChar char="•"/>
              <a:defRPr sz="1600" b="0" i="0" kern="1200">
                <a:solidFill>
                  <a:schemeClr val="tx1"/>
                </a:solidFill>
                <a:latin typeface="Roboto" charset="0"/>
                <a:ea typeface="Roboto" charset="0"/>
                <a:cs typeface="Roboto" charset="0"/>
              </a:defRPr>
            </a:lvl3pPr>
            <a:lvl4pPr marL="630238" indent="-171450" algn="l" defTabSz="914217" rtl="0" eaLnBrk="1" latinLnBrk="0" hangingPunct="1">
              <a:lnSpc>
                <a:spcPct val="95000"/>
              </a:lnSpc>
              <a:spcBef>
                <a:spcPts val="600"/>
              </a:spcBef>
              <a:spcAft>
                <a:spcPts val="0"/>
              </a:spcAft>
              <a:buClr>
                <a:schemeClr val="accent3"/>
              </a:buClr>
              <a:buFont typeface="Arial" panose="020B0604020202020204" pitchFamily="34" charset="0"/>
              <a:buChar char="•"/>
              <a:defRPr sz="1400" b="0" i="0" kern="1200">
                <a:solidFill>
                  <a:schemeClr val="tx1"/>
                </a:solidFill>
                <a:latin typeface="Roboto" charset="0"/>
                <a:ea typeface="Roboto" charset="0"/>
                <a:cs typeface="Roboto" charset="0"/>
              </a:defRPr>
            </a:lvl4pPr>
            <a:lvl5pPr marL="800100" indent="-169863" algn="l" defTabSz="914217" rtl="0" eaLnBrk="1" latinLnBrk="0" hangingPunct="1">
              <a:lnSpc>
                <a:spcPct val="95000"/>
              </a:lnSpc>
              <a:spcBef>
                <a:spcPts val="600"/>
              </a:spcBef>
              <a:spcAft>
                <a:spcPts val="0"/>
              </a:spcAft>
              <a:buClr>
                <a:schemeClr val="accent2"/>
              </a:buClr>
              <a:buFont typeface="Arial" panose="020B0604020202020204" pitchFamily="34" charset="0"/>
              <a:buChar char="•"/>
              <a:defRPr sz="1400" b="0" i="0" kern="1200">
                <a:solidFill>
                  <a:schemeClr val="tx1"/>
                </a:solidFill>
                <a:latin typeface="Roboto" charset="0"/>
                <a:ea typeface="Roboto" charset="0"/>
                <a:cs typeface="Roboto" charset="0"/>
              </a:defRPr>
            </a:lvl5pPr>
            <a:lvl6pPr marL="914400" indent="-169863" algn="l" defTabSz="914217" rtl="0" eaLnBrk="1" latinLnBrk="0" hangingPunct="1">
              <a:lnSpc>
                <a:spcPct val="90000"/>
              </a:lnSpc>
              <a:spcBef>
                <a:spcPts val="500"/>
              </a:spcBef>
              <a:spcAft>
                <a:spcPts val="1200"/>
              </a:spcAft>
              <a:buClr>
                <a:schemeClr val="tx1"/>
              </a:buClr>
              <a:buFont typeface="Arial" panose="020B0604020202020204" pitchFamily="34" charset="0"/>
              <a:buChar char="•"/>
              <a:defRPr sz="1200" b="0" i="0" kern="1200">
                <a:solidFill>
                  <a:schemeClr val="tx1"/>
                </a:solidFill>
                <a:latin typeface="Roboto" charset="0"/>
                <a:ea typeface="Roboto" charset="0"/>
                <a:cs typeface="Roboto" charset="0"/>
              </a:defRPr>
            </a:lvl6pPr>
            <a:lvl7pPr marL="1084263" indent="-169863" algn="l" defTabSz="914217" rtl="0" eaLnBrk="1" latinLnBrk="0" hangingPunct="1">
              <a:lnSpc>
                <a:spcPct val="90000"/>
              </a:lnSpc>
              <a:spcBef>
                <a:spcPts val="500"/>
              </a:spcBef>
              <a:spcAft>
                <a:spcPts val="1200"/>
              </a:spcAft>
              <a:buClr>
                <a:schemeClr val="accent2"/>
              </a:buClr>
              <a:buFont typeface="Arial" panose="020B0604020202020204" pitchFamily="34" charset="0"/>
              <a:buChar char="•"/>
              <a:defRPr sz="1200" b="0" i="0" kern="1200">
                <a:solidFill>
                  <a:schemeClr val="tx1"/>
                </a:solidFill>
                <a:latin typeface="Roboto" charset="0"/>
                <a:ea typeface="Roboto" charset="0"/>
                <a:cs typeface="Roboto" charset="0"/>
              </a:defRPr>
            </a:lvl7pPr>
            <a:lvl8pPr marL="1258888" indent="-174625" algn="l" defTabSz="914217" rtl="0" eaLnBrk="1" latinLnBrk="0" hangingPunct="1">
              <a:lnSpc>
                <a:spcPct val="90000"/>
              </a:lnSpc>
              <a:spcBef>
                <a:spcPts val="500"/>
              </a:spcBef>
              <a:spcAft>
                <a:spcPts val="1200"/>
              </a:spcAft>
              <a:buClr>
                <a:schemeClr val="accent2"/>
              </a:buClr>
              <a:buFont typeface="Arial" panose="020B0604020202020204" pitchFamily="34" charset="0"/>
              <a:buChar char="•"/>
              <a:defRPr sz="1200" b="0" i="0" kern="1200">
                <a:solidFill>
                  <a:schemeClr val="tx1"/>
                </a:solidFill>
                <a:latin typeface="Roboto" charset="0"/>
                <a:ea typeface="Roboto" charset="0"/>
                <a:cs typeface="Roboto" charset="0"/>
              </a:defRPr>
            </a:lvl8pPr>
            <a:lvl9pPr marL="1428750" indent="-169863" algn="l" defTabSz="914217" rtl="0" eaLnBrk="1" latinLnBrk="0" hangingPunct="1">
              <a:lnSpc>
                <a:spcPct val="90000"/>
              </a:lnSpc>
              <a:spcBef>
                <a:spcPts val="500"/>
              </a:spcBef>
              <a:spcAft>
                <a:spcPts val="1200"/>
              </a:spcAft>
              <a:buClr>
                <a:schemeClr val="accent2"/>
              </a:buClr>
              <a:buFont typeface="Arial" panose="020B0604020202020204" pitchFamily="34" charset="0"/>
              <a:buChar char="•"/>
              <a:defRPr sz="1200" b="0" i="0" kern="1200">
                <a:solidFill>
                  <a:schemeClr val="tx1"/>
                </a:solidFill>
                <a:latin typeface="Roboto" charset="0"/>
                <a:ea typeface="Roboto" charset="0"/>
                <a:cs typeface="Roboto" charset="0"/>
              </a:defRPr>
            </a:lvl9pPr>
          </a:lstStyle>
          <a:p>
            <a:pPr marL="173038" marR="0" lvl="0" indent="-173038" algn="l" defTabSz="914217" rtl="0" eaLnBrk="1" fontAlgn="auto" latinLnBrk="0" hangingPunct="1">
              <a:lnSpc>
                <a:spcPct val="95000"/>
              </a:lnSpc>
              <a:spcBef>
                <a:spcPts val="1200"/>
              </a:spcBef>
              <a:spcAft>
                <a:spcPts val="0"/>
              </a:spcAft>
              <a:buClr>
                <a:srgbClr val="FF7D00"/>
              </a:buClr>
              <a:buSzTx/>
              <a:buFont typeface="Arial" panose="020B0604020202020204" pitchFamily="34" charset="0"/>
              <a:buNone/>
              <a:tabLst/>
              <a:defRPr/>
            </a:pPr>
            <a:r>
              <a:rPr kumimoji="0" lang="en-US" sz="2800" b="0" i="0" u="none" strike="noStrike" kern="1200" cap="none" spc="0" normalizeH="0" baseline="0" noProof="0">
                <a:ln>
                  <a:noFill/>
                </a:ln>
                <a:solidFill>
                  <a:srgbClr val="FFFFFF"/>
                </a:solidFill>
                <a:effectLst/>
                <a:uLnTx/>
                <a:uFillTx/>
                <a:latin typeface="Roboto Light" panose="02000000000000000000" pitchFamily="2" charset="0"/>
                <a:ea typeface="Roboto Light" panose="02000000000000000000" pitchFamily="2" charset="0"/>
              </a:rPr>
              <a:t>Don’t forget to subscribe</a:t>
            </a:r>
          </a:p>
        </p:txBody>
      </p:sp>
    </p:spTree>
    <p:extLst>
      <p:ext uri="{BB962C8B-B14F-4D97-AF65-F5344CB8AC3E}">
        <p14:creationId xmlns:p14="http://schemas.microsoft.com/office/powerpoint/2010/main" val="2432154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cSld name="Title Only No Corner DARK">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D625EBE-6EFB-4A48-B9E9-BB18863DFEC3}"/>
              </a:ext>
            </a:extLst>
          </p:cNvPr>
          <p:cNvSpPr txBox="1"/>
          <p:nvPr userDrawn="1"/>
        </p:nvSpPr>
        <p:spPr>
          <a:xfrm>
            <a:off x="176868" y="6365107"/>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109" rtl="0" eaLnBrk="1" latinLnBrk="0" hangingPunct="1"/>
            <a:fld id="{64202F7F-356F-46E2-8791-88745C87F5D9}" type="slidenum">
              <a:rPr lang="en-US" sz="900" b="0" i="0" kern="1200" smtClean="0">
                <a:solidFill>
                  <a:schemeClr val="bg1"/>
                </a:solidFill>
                <a:latin typeface="Roboto" charset="0"/>
                <a:ea typeface="Roboto" charset="0"/>
                <a:cs typeface="Roboto" charset="0"/>
              </a:rPr>
              <a:pPr marL="0" lvl="0" algn="ctr" defTabSz="457109" rtl="0" eaLnBrk="1" latinLnBrk="0" hangingPunct="1"/>
              <a:t>‹#›</a:t>
            </a:fld>
            <a:endParaRPr lang="en-US" sz="900" b="0" i="0" kern="1200">
              <a:solidFill>
                <a:schemeClr val="bg1"/>
              </a:solidFill>
              <a:latin typeface="Roboto" charset="0"/>
              <a:ea typeface="Roboto" charset="0"/>
              <a:cs typeface="Roboto" charset="0"/>
            </a:endParaRPr>
          </a:p>
        </p:txBody>
      </p:sp>
      <p:sp>
        <p:nvSpPr>
          <p:cNvPr id="2" name="Title 1"/>
          <p:cNvSpPr>
            <a:spLocks noGrp="1"/>
          </p:cNvSpPr>
          <p:nvPr userDrawn="1">
            <p:ph type="title" hasCustomPrompt="1"/>
          </p:nvPr>
        </p:nvSpPr>
        <p:spPr>
          <a:xfrm>
            <a:off x="488951" y="482602"/>
            <a:ext cx="11188699" cy="1066798"/>
          </a:xfrm>
          <a:prstGeom prst="rect">
            <a:avLst/>
          </a:prstGeom>
        </p:spPr>
        <p:txBody>
          <a:bodyPr lIns="0"/>
          <a:lstStyle>
            <a:lvl1pPr>
              <a:defRPr baseline="0">
                <a:solidFill>
                  <a:schemeClr val="bg1"/>
                </a:solidFill>
              </a:defRPr>
            </a:lvl1pPr>
          </a:lstStyle>
          <a:p>
            <a:r>
              <a:rPr lang="en-US"/>
              <a:t>Headline Goes Here, Roboto Light, 36 Points, Can Span 2 Lines</a:t>
            </a:r>
          </a:p>
        </p:txBody>
      </p:sp>
      <p:sp>
        <p:nvSpPr>
          <p:cNvPr id="3" name="TextBox 2">
            <a:extLst>
              <a:ext uri="{FF2B5EF4-FFF2-40B4-BE49-F238E27FC236}">
                <a16:creationId xmlns:a16="http://schemas.microsoft.com/office/drawing/2014/main" id="{9E4B4709-7C2B-4FD8-9933-DAF4E15383F8}"/>
              </a:ext>
            </a:extLst>
          </p:cNvPr>
          <p:cNvSpPr txBox="1"/>
          <p:nvPr userDrawn="1"/>
        </p:nvSpPr>
        <p:spPr>
          <a:xfrm>
            <a:off x="1023708"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a:solidFill>
                  <a:schemeClr val="bg1"/>
                </a:solidFill>
                <a:latin typeface="Roboto" charset="0"/>
                <a:ea typeface="Roboto" charset="0"/>
                <a:cs typeface="Roboto" charset="0"/>
              </a:rPr>
              <a:t>© Informatica. Proprietary and Confidential.</a:t>
            </a:r>
          </a:p>
        </p:txBody>
      </p:sp>
      <p:pic>
        <p:nvPicPr>
          <p:cNvPr id="8" name="Picture 7">
            <a:extLst>
              <a:ext uri="{FF2B5EF4-FFF2-40B4-BE49-F238E27FC236}">
                <a16:creationId xmlns:a16="http://schemas.microsoft.com/office/drawing/2014/main" id="{F9B15683-6072-4877-B962-2555270CD195}"/>
              </a:ext>
            </a:extLst>
          </p:cNvPr>
          <p:cNvPicPr>
            <a:picLocks noChangeAspect="1"/>
          </p:cNvPicPr>
          <p:nvPr userDrawn="1"/>
        </p:nvPicPr>
        <p:blipFill>
          <a:blip r:embed="rId2"/>
          <a:stretch>
            <a:fillRect/>
          </a:stretch>
        </p:blipFill>
        <p:spPr>
          <a:xfrm>
            <a:off x="9742965" y="6094698"/>
            <a:ext cx="2041656" cy="704088"/>
          </a:xfrm>
          <a:prstGeom prst="rect">
            <a:avLst/>
          </a:prstGeom>
        </p:spPr>
      </p:pic>
    </p:spTree>
    <p:extLst>
      <p:ext uri="{BB962C8B-B14F-4D97-AF65-F5344CB8AC3E}">
        <p14:creationId xmlns:p14="http://schemas.microsoft.com/office/powerpoint/2010/main" val="1522191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Title/Subtitle Only DARK">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98858F73-FDAD-164B-A972-7CC35EB22CD4}"/>
              </a:ext>
            </a:extLst>
          </p:cNvPr>
          <p:cNvGrpSpPr/>
          <p:nvPr userDrawn="1"/>
        </p:nvGrpSpPr>
        <p:grpSpPr>
          <a:xfrm>
            <a:off x="1" y="2761950"/>
            <a:ext cx="702453" cy="4096050"/>
            <a:chOff x="0" y="2761950"/>
            <a:chExt cx="702453" cy="4096050"/>
          </a:xfrm>
        </p:grpSpPr>
        <p:sp>
          <p:nvSpPr>
            <p:cNvPr id="12" name="Right Triangle 11">
              <a:extLst>
                <a:ext uri="{FF2B5EF4-FFF2-40B4-BE49-F238E27FC236}">
                  <a16:creationId xmlns:a16="http://schemas.microsoft.com/office/drawing/2014/main" id="{12049EA9-905E-A64E-B171-8585662FA12C}"/>
                </a:ext>
              </a:extLst>
            </p:cNvPr>
            <p:cNvSpPr/>
            <p:nvPr userDrawn="1"/>
          </p:nvSpPr>
          <p:spPr>
            <a:xfrm>
              <a:off x="0" y="2761950"/>
              <a:ext cx="702453" cy="4096050"/>
            </a:xfrm>
            <a:prstGeom prst="r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algn="ctr"/>
              <a:endParaRPr lang="en-US" sz="1600">
                <a:solidFill>
                  <a:schemeClr val="bg1"/>
                </a:solidFill>
                <a:latin typeface="Roboto" charset="0"/>
                <a:ea typeface="Roboto" charset="0"/>
                <a:cs typeface="Roboto" charset="0"/>
              </a:endParaRPr>
            </a:p>
          </p:txBody>
        </p:sp>
        <p:sp>
          <p:nvSpPr>
            <p:cNvPr id="13" name="Right Triangle 12">
              <a:extLst>
                <a:ext uri="{FF2B5EF4-FFF2-40B4-BE49-F238E27FC236}">
                  <a16:creationId xmlns:a16="http://schemas.microsoft.com/office/drawing/2014/main" id="{AE1BBBBF-5935-0844-ABB2-E1AE3B3BDCCE}"/>
                </a:ext>
              </a:extLst>
            </p:cNvPr>
            <p:cNvSpPr/>
            <p:nvPr userDrawn="1"/>
          </p:nvSpPr>
          <p:spPr>
            <a:xfrm>
              <a:off x="1" y="2761950"/>
              <a:ext cx="590764" cy="4096050"/>
            </a:xfrm>
            <a:prstGeom prst="r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algn="ctr"/>
              <a:endParaRPr lang="en-US" sz="1600">
                <a:solidFill>
                  <a:schemeClr val="bg1"/>
                </a:solidFill>
                <a:latin typeface="Roboto" charset="0"/>
                <a:ea typeface="Roboto" charset="0"/>
                <a:cs typeface="Roboto" charset="0"/>
              </a:endParaRPr>
            </a:p>
          </p:txBody>
        </p:sp>
      </p:grpSp>
      <p:sp>
        <p:nvSpPr>
          <p:cNvPr id="10" name="Text Placeholder 4">
            <a:extLst>
              <a:ext uri="{FF2B5EF4-FFF2-40B4-BE49-F238E27FC236}">
                <a16:creationId xmlns:a16="http://schemas.microsoft.com/office/drawing/2014/main" id="{D5BDB60F-DCDA-4FA8-AFD2-4EF745C79259}"/>
              </a:ext>
            </a:extLst>
          </p:cNvPr>
          <p:cNvSpPr>
            <a:spLocks noGrp="1"/>
          </p:cNvSpPr>
          <p:nvPr userDrawn="1">
            <p:ph type="body" sz="quarter" idx="13" hasCustomPrompt="1"/>
          </p:nvPr>
        </p:nvSpPr>
        <p:spPr>
          <a:xfrm>
            <a:off x="493714" y="1151888"/>
            <a:ext cx="11188532" cy="331601"/>
          </a:xfrm>
          <a:prstGeom prst="rect">
            <a:avLst/>
          </a:prstGeom>
        </p:spPr>
        <p:txBody>
          <a:bodyPr anchor="t"/>
          <a:lstStyle>
            <a:lvl1pPr marL="0" indent="0">
              <a:buNone/>
              <a:defRPr sz="2400" i="0">
                <a:solidFill>
                  <a:schemeClr val="bg1"/>
                </a:solidFill>
              </a:defRPr>
            </a:lvl1pPr>
            <a:lvl2pPr marL="169829" indent="0">
              <a:buNone/>
              <a:defRPr/>
            </a:lvl2pPr>
            <a:lvl3pPr marL="344418" indent="0">
              <a:buNone/>
              <a:defRPr/>
            </a:lvl3pPr>
            <a:lvl4pPr marL="458696" indent="0">
              <a:buNone/>
              <a:defRPr/>
            </a:lvl4pPr>
            <a:lvl5pPr marL="630111" indent="0">
              <a:buNone/>
              <a:defRPr/>
            </a:lvl5pPr>
          </a:lstStyle>
          <a:p>
            <a:pPr lvl="0"/>
            <a:r>
              <a:rPr lang="en-US"/>
              <a:t>Subtitle goes here, </a:t>
            </a:r>
            <a:r>
              <a:rPr lang="en-US" err="1"/>
              <a:t>Roboto</a:t>
            </a:r>
            <a:r>
              <a:rPr lang="en-US"/>
              <a:t> Regular 24 point, no longer than one line</a:t>
            </a:r>
          </a:p>
        </p:txBody>
      </p:sp>
      <p:sp>
        <p:nvSpPr>
          <p:cNvPr id="5" name="TextBox 4">
            <a:extLst>
              <a:ext uri="{FF2B5EF4-FFF2-40B4-BE49-F238E27FC236}">
                <a16:creationId xmlns:a16="http://schemas.microsoft.com/office/drawing/2014/main" id="{8FA70B36-FD85-46EB-9073-620538C6248E}"/>
              </a:ext>
            </a:extLst>
          </p:cNvPr>
          <p:cNvSpPr txBox="1"/>
          <p:nvPr userDrawn="1"/>
        </p:nvSpPr>
        <p:spPr>
          <a:xfrm>
            <a:off x="176868" y="6365107"/>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109" rtl="0" eaLnBrk="1" latinLnBrk="0" hangingPunct="1"/>
            <a:fld id="{64202F7F-356F-46E2-8791-88745C87F5D9}" type="slidenum">
              <a:rPr lang="en-US" sz="900" b="0" i="0" kern="1200" smtClean="0">
                <a:solidFill>
                  <a:schemeClr val="bg1"/>
                </a:solidFill>
                <a:latin typeface="Roboto" charset="0"/>
                <a:ea typeface="Roboto" charset="0"/>
                <a:cs typeface="Roboto" charset="0"/>
              </a:rPr>
              <a:pPr marL="0" lvl="0" algn="ctr" defTabSz="457109" rtl="0" eaLnBrk="1" latinLnBrk="0" hangingPunct="1"/>
              <a:t>‹#›</a:t>
            </a:fld>
            <a:endParaRPr lang="en-US" sz="900" b="0" i="0" kern="1200">
              <a:solidFill>
                <a:schemeClr val="bg1"/>
              </a:solidFill>
              <a:latin typeface="Roboto" charset="0"/>
              <a:ea typeface="Roboto" charset="0"/>
              <a:cs typeface="Roboto" charset="0"/>
            </a:endParaRPr>
          </a:p>
        </p:txBody>
      </p:sp>
      <p:sp>
        <p:nvSpPr>
          <p:cNvPr id="95" name="Title 1">
            <a:extLst>
              <a:ext uri="{FF2B5EF4-FFF2-40B4-BE49-F238E27FC236}">
                <a16:creationId xmlns:a16="http://schemas.microsoft.com/office/drawing/2014/main" id="{48E5717B-9E58-49D2-9749-1479F91EEFDC}"/>
              </a:ext>
            </a:extLst>
          </p:cNvPr>
          <p:cNvSpPr>
            <a:spLocks noGrp="1"/>
          </p:cNvSpPr>
          <p:nvPr userDrawn="1">
            <p:ph type="title" hasCustomPrompt="1"/>
          </p:nvPr>
        </p:nvSpPr>
        <p:spPr>
          <a:xfrm>
            <a:off x="493714" y="482603"/>
            <a:ext cx="11188532" cy="562427"/>
          </a:xfrm>
          <a:prstGeom prst="rect">
            <a:avLst/>
          </a:prstGeom>
        </p:spPr>
        <p:txBody>
          <a:bodyPr lIns="0"/>
          <a:lstStyle>
            <a:lvl1pPr>
              <a:defRPr baseline="0">
                <a:solidFill>
                  <a:schemeClr val="bg1"/>
                </a:solidFill>
              </a:defRPr>
            </a:lvl1pPr>
          </a:lstStyle>
          <a:p>
            <a:r>
              <a:rPr lang="en-US"/>
              <a:t>Roboto Light, 36 Points, 1 Line</a:t>
            </a:r>
          </a:p>
        </p:txBody>
      </p:sp>
      <p:sp>
        <p:nvSpPr>
          <p:cNvPr id="2" name="TextBox 1">
            <a:extLst>
              <a:ext uri="{FF2B5EF4-FFF2-40B4-BE49-F238E27FC236}">
                <a16:creationId xmlns:a16="http://schemas.microsoft.com/office/drawing/2014/main" id="{23179817-899D-4A7E-B58B-236E81BA41DD}"/>
              </a:ext>
            </a:extLst>
          </p:cNvPr>
          <p:cNvSpPr txBox="1"/>
          <p:nvPr userDrawn="1"/>
        </p:nvSpPr>
        <p:spPr>
          <a:xfrm>
            <a:off x="1023708"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a:solidFill>
                  <a:schemeClr val="bg1"/>
                </a:solidFill>
                <a:latin typeface="Roboto" charset="0"/>
                <a:ea typeface="Roboto" charset="0"/>
                <a:cs typeface="Roboto" charset="0"/>
              </a:rPr>
              <a:t>© Informatica. Proprietary and Confidential.</a:t>
            </a:r>
          </a:p>
        </p:txBody>
      </p:sp>
      <p:pic>
        <p:nvPicPr>
          <p:cNvPr id="14" name="Picture 13">
            <a:extLst>
              <a:ext uri="{FF2B5EF4-FFF2-40B4-BE49-F238E27FC236}">
                <a16:creationId xmlns:a16="http://schemas.microsoft.com/office/drawing/2014/main" id="{E3830A18-1BA6-A441-91F2-379D124B21D2}"/>
              </a:ext>
            </a:extLst>
          </p:cNvPr>
          <p:cNvPicPr>
            <a:picLocks noChangeAspect="1"/>
          </p:cNvPicPr>
          <p:nvPr userDrawn="1"/>
        </p:nvPicPr>
        <p:blipFill>
          <a:blip r:embed="rId2"/>
          <a:srcRect/>
          <a:stretch/>
        </p:blipFill>
        <p:spPr>
          <a:xfrm>
            <a:off x="9744604" y="6098796"/>
            <a:ext cx="2039100" cy="699990"/>
          </a:xfrm>
          <a:prstGeom prst="rect">
            <a:avLst/>
          </a:prstGeom>
        </p:spPr>
      </p:pic>
    </p:spTree>
    <p:extLst>
      <p:ext uri="{BB962C8B-B14F-4D97-AF65-F5344CB8AC3E}">
        <p14:creationId xmlns:p14="http://schemas.microsoft.com/office/powerpoint/2010/main" val="521182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Subtitle/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Content Placeholder 5">
            <a:extLst>
              <a:ext uri="{FF2B5EF4-FFF2-40B4-BE49-F238E27FC236}">
                <a16:creationId xmlns:a16="http://schemas.microsoft.com/office/drawing/2014/main" id="{956D1FDC-5FA5-4B2D-A5AA-86637FA3B976}"/>
              </a:ext>
            </a:extLst>
          </p:cNvPr>
          <p:cNvSpPr>
            <a:spLocks noGrp="1"/>
          </p:cNvSpPr>
          <p:nvPr userDrawn="1">
            <p:ph sz="quarter" idx="14" hasCustomPrompt="1"/>
          </p:nvPr>
        </p:nvSpPr>
        <p:spPr>
          <a:xfrm>
            <a:off x="1027113" y="1854200"/>
            <a:ext cx="10650537" cy="4165600"/>
          </a:xfrm>
        </p:spPr>
        <p:txBody>
          <a:bodyPr vert="horz" lIns="0" tIns="0" rIns="0" bIns="0" rtlCol="0">
            <a:noAutofit/>
          </a:bodyPr>
          <a:lstStyle>
            <a:lvl1pPr>
              <a:spcBef>
                <a:spcPts val="1200"/>
              </a:spcBef>
              <a:defRPr lang="en-US" dirty="0"/>
            </a:lvl1pPr>
            <a:lvl2pPr>
              <a:spcBef>
                <a:spcPts val="600"/>
              </a:spcBef>
              <a:defRPr lang="en-US" dirty="0"/>
            </a:lvl2pPr>
            <a:lvl3pPr>
              <a:spcBef>
                <a:spcPts val="600"/>
              </a:spcBef>
              <a:defRPr lang="en-US" dirty="0"/>
            </a:lvl3pPr>
          </a:lstStyle>
          <a:p>
            <a:pPr lvl="0"/>
            <a:r>
              <a:rPr lang="en-US" dirty="0"/>
              <a:t>First bullet, Roboto Regular 20 point</a:t>
            </a:r>
          </a:p>
          <a:p>
            <a:pPr lvl="1"/>
            <a:r>
              <a:rPr lang="en-US" dirty="0"/>
              <a:t>Second bullet, </a:t>
            </a:r>
            <a:r>
              <a:rPr lang="en-US" dirty="0" err="1"/>
              <a:t>Roboto</a:t>
            </a:r>
            <a:r>
              <a:rPr lang="en-US" dirty="0"/>
              <a:t> Regular 18 point</a:t>
            </a:r>
          </a:p>
          <a:p>
            <a:pPr lvl="2"/>
            <a:r>
              <a:rPr lang="en-US" dirty="0"/>
              <a:t>Third bullet, </a:t>
            </a:r>
            <a:r>
              <a:rPr lang="en-US" dirty="0" err="1"/>
              <a:t>Roboto</a:t>
            </a:r>
            <a:r>
              <a:rPr lang="en-US" dirty="0"/>
              <a:t> Regular 16 point</a:t>
            </a:r>
          </a:p>
        </p:txBody>
      </p:sp>
      <p:sp>
        <p:nvSpPr>
          <p:cNvPr id="23" name="TextBox 22">
            <a:extLst>
              <a:ext uri="{FF2B5EF4-FFF2-40B4-BE49-F238E27FC236}">
                <a16:creationId xmlns:a16="http://schemas.microsoft.com/office/drawing/2014/main" id="{BCF260CE-EC9E-49A9-9345-D0C73BFC8564}"/>
              </a:ext>
            </a:extLst>
          </p:cNvPr>
          <p:cNvSpPr txBox="1"/>
          <p:nvPr userDrawn="1"/>
        </p:nvSpPr>
        <p:spPr>
          <a:xfrm>
            <a:off x="176868" y="6365106"/>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900" b="0" i="0" kern="1200" smtClean="0">
                <a:solidFill>
                  <a:schemeClr val="bg1"/>
                </a:solidFill>
                <a:latin typeface="Roboto" charset="0"/>
                <a:ea typeface="Roboto" charset="0"/>
                <a:cs typeface="Roboto" charset="0"/>
              </a:rPr>
              <a:pPr marL="0" lvl="0" algn="ctr" defTabSz="457200" rtl="0" eaLnBrk="1" latinLnBrk="0" hangingPunct="1"/>
              <a:t>‹#›</a:t>
            </a:fld>
            <a:endParaRPr lang="en-US" sz="900" b="0" i="0" kern="1200" dirty="0">
              <a:solidFill>
                <a:schemeClr val="bg1"/>
              </a:solidFill>
              <a:latin typeface="Roboto" charset="0"/>
              <a:ea typeface="Roboto" charset="0"/>
              <a:cs typeface="Roboto" charset="0"/>
            </a:endParaRPr>
          </a:p>
        </p:txBody>
      </p:sp>
      <p:sp>
        <p:nvSpPr>
          <p:cNvPr id="3" name="TextBox 2">
            <a:extLst>
              <a:ext uri="{FF2B5EF4-FFF2-40B4-BE49-F238E27FC236}">
                <a16:creationId xmlns:a16="http://schemas.microsoft.com/office/drawing/2014/main" id="{8FE6C657-C7BA-4DE2-8E6E-209687CFF525}"/>
              </a:ext>
            </a:extLst>
          </p:cNvPr>
          <p:cNvSpPr txBox="1"/>
          <p:nvPr userDrawn="1"/>
        </p:nvSpPr>
        <p:spPr>
          <a:xfrm>
            <a:off x="1023708"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dirty="0">
                <a:solidFill>
                  <a:schemeClr val="tx1"/>
                </a:solidFill>
                <a:latin typeface="Roboto" charset="0"/>
                <a:ea typeface="Roboto" charset="0"/>
                <a:cs typeface="Roboto" charset="0"/>
              </a:rPr>
              <a:t>© Informatica. Proprietary and Confidential.</a:t>
            </a:r>
          </a:p>
        </p:txBody>
      </p:sp>
      <p:pic>
        <p:nvPicPr>
          <p:cNvPr id="9" name="Picture 8">
            <a:extLst>
              <a:ext uri="{FF2B5EF4-FFF2-40B4-BE49-F238E27FC236}">
                <a16:creationId xmlns:a16="http://schemas.microsoft.com/office/drawing/2014/main" id="{AD7BC26A-261D-884F-A9D2-61B266D20938}"/>
              </a:ext>
            </a:extLst>
          </p:cNvPr>
          <p:cNvPicPr>
            <a:picLocks noChangeAspect="1"/>
          </p:cNvPicPr>
          <p:nvPr userDrawn="1"/>
        </p:nvPicPr>
        <p:blipFill>
          <a:blip r:embed="rId3"/>
          <a:stretch>
            <a:fillRect/>
          </a:stretch>
        </p:blipFill>
        <p:spPr>
          <a:xfrm>
            <a:off x="9743687" y="6098796"/>
            <a:ext cx="2040934" cy="699990"/>
          </a:xfrm>
          <a:prstGeom prst="rect">
            <a:avLst/>
          </a:prstGeom>
        </p:spPr>
      </p:pic>
      <p:sp>
        <p:nvSpPr>
          <p:cNvPr id="12" name="Title 1">
            <a:extLst>
              <a:ext uri="{FF2B5EF4-FFF2-40B4-BE49-F238E27FC236}">
                <a16:creationId xmlns:a16="http://schemas.microsoft.com/office/drawing/2014/main" id="{FD708B26-55AD-7F49-ADA2-CC3A3B0BA0C2}"/>
              </a:ext>
            </a:extLst>
          </p:cNvPr>
          <p:cNvSpPr>
            <a:spLocks noGrp="1"/>
          </p:cNvSpPr>
          <p:nvPr>
            <p:ph type="title" hasCustomPrompt="1"/>
          </p:nvPr>
        </p:nvSpPr>
        <p:spPr>
          <a:xfrm>
            <a:off x="488950" y="482602"/>
            <a:ext cx="11188700" cy="562427"/>
          </a:xfrm>
          <a:prstGeom prst="rect">
            <a:avLst/>
          </a:prstGeom>
        </p:spPr>
        <p:txBody>
          <a:bodyPr lIns="0"/>
          <a:lstStyle>
            <a:lvl1pPr>
              <a:defRPr baseline="0">
                <a:solidFill>
                  <a:schemeClr val="tx1"/>
                </a:solidFill>
              </a:defRPr>
            </a:lvl1pPr>
          </a:lstStyle>
          <a:p>
            <a:r>
              <a:rPr lang="en-US" dirty="0"/>
              <a:t>Headline Goes Here, Roboto Light, 36 Points, 1 Line</a:t>
            </a:r>
          </a:p>
        </p:txBody>
      </p:sp>
      <p:sp>
        <p:nvSpPr>
          <p:cNvPr id="17" name="Text Placeholder 4">
            <a:extLst>
              <a:ext uri="{FF2B5EF4-FFF2-40B4-BE49-F238E27FC236}">
                <a16:creationId xmlns:a16="http://schemas.microsoft.com/office/drawing/2014/main" id="{9EFBE49A-C505-6A44-AEB0-613260109488}"/>
              </a:ext>
            </a:extLst>
          </p:cNvPr>
          <p:cNvSpPr>
            <a:spLocks noGrp="1"/>
          </p:cNvSpPr>
          <p:nvPr>
            <p:ph type="body" sz="quarter" idx="13" hasCustomPrompt="1"/>
          </p:nvPr>
        </p:nvSpPr>
        <p:spPr>
          <a:xfrm>
            <a:off x="488951" y="1043417"/>
            <a:ext cx="11193296" cy="331601"/>
          </a:xfrm>
        </p:spPr>
        <p:txBody>
          <a:bodyPr anchor="t"/>
          <a:lstStyle>
            <a:lvl1pPr marL="0" indent="0">
              <a:buNone/>
              <a:defRPr sz="2400" i="0">
                <a:solidFill>
                  <a:schemeClr val="bg1">
                    <a:lumMod val="50000"/>
                  </a:schemeClr>
                </a:solidFill>
              </a:defRPr>
            </a:lvl1pPr>
            <a:lvl2pPr marL="169863" indent="0">
              <a:buNone/>
              <a:defRPr/>
            </a:lvl2pPr>
            <a:lvl3pPr marL="344487" indent="0">
              <a:buNone/>
              <a:defRPr/>
            </a:lvl3pPr>
            <a:lvl4pPr marL="458788" indent="0">
              <a:buNone/>
              <a:defRPr/>
            </a:lvl4pPr>
            <a:lvl5pPr marL="630237" indent="0">
              <a:buNone/>
              <a:defRPr/>
            </a:lvl5pPr>
          </a:lstStyle>
          <a:p>
            <a:pPr lvl="0"/>
            <a:r>
              <a:rPr lang="en-US" dirty="0"/>
              <a:t>Subtitle goes here, </a:t>
            </a:r>
            <a:r>
              <a:rPr lang="en-US" dirty="0" err="1"/>
              <a:t>Roboto</a:t>
            </a:r>
            <a:r>
              <a:rPr lang="en-US" dirty="0"/>
              <a:t> Regular 24 point, no longer than one line</a:t>
            </a:r>
          </a:p>
        </p:txBody>
      </p:sp>
    </p:spTree>
    <p:extLst>
      <p:ext uri="{BB962C8B-B14F-4D97-AF65-F5344CB8AC3E}">
        <p14:creationId xmlns:p14="http://schemas.microsoft.com/office/powerpoint/2010/main" val="4014414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504422" y="6006045"/>
            <a:ext cx="2464597" cy="851959"/>
          </a:xfrm>
          <a:prstGeom prst="rect">
            <a:avLst/>
          </a:prstGeom>
        </p:spPr>
      </p:pic>
      <p:sp>
        <p:nvSpPr>
          <p:cNvPr id="9" name="Right Triangle 8"/>
          <p:cNvSpPr/>
          <p:nvPr userDrawn="1"/>
        </p:nvSpPr>
        <p:spPr>
          <a:xfrm flipH="1" flipV="1">
            <a:off x="11603700" y="-1"/>
            <a:ext cx="585127" cy="1575171"/>
          </a:xfrm>
          <a:prstGeom prst="rtTriangle">
            <a:avLst/>
          </a:prstGeom>
          <a:solidFill>
            <a:srgbClr val="043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b="0" i="0">
              <a:latin typeface="Roboto Regular" charset="0"/>
            </a:endParaRPr>
          </a:p>
        </p:txBody>
      </p:sp>
      <p:sp>
        <p:nvSpPr>
          <p:cNvPr id="2" name="Title 1"/>
          <p:cNvSpPr>
            <a:spLocks noGrp="1"/>
          </p:cNvSpPr>
          <p:nvPr>
            <p:ph type="title" hasCustomPrompt="1"/>
          </p:nvPr>
        </p:nvSpPr>
        <p:spPr/>
        <p:txBody>
          <a:bodyPr/>
          <a:lstStyle>
            <a:lvl1pPr>
              <a:defRPr baseline="0"/>
            </a:lvl1pPr>
          </a:lstStyle>
          <a:p>
            <a:r>
              <a:rPr lang="en-US"/>
              <a:t>Headline goes here, </a:t>
            </a:r>
            <a:r>
              <a:rPr lang="en-US" err="1"/>
              <a:t>Roboto</a:t>
            </a:r>
            <a:r>
              <a:rPr lang="en-US"/>
              <a:t> Light, 36 points, can span two lines</a:t>
            </a:r>
          </a:p>
        </p:txBody>
      </p:sp>
      <p:grpSp>
        <p:nvGrpSpPr>
          <p:cNvPr id="12" name="Group 11"/>
          <p:cNvGrpSpPr/>
          <p:nvPr userDrawn="1"/>
        </p:nvGrpSpPr>
        <p:grpSpPr>
          <a:xfrm>
            <a:off x="-2139" y="2692400"/>
            <a:ext cx="2681841" cy="4165600"/>
            <a:chOff x="-2141" y="2692400"/>
            <a:chExt cx="2681841" cy="4165600"/>
          </a:xfrm>
        </p:grpSpPr>
        <p:sp>
          <p:nvSpPr>
            <p:cNvPr id="13" name="Right Triangle 12"/>
            <p:cNvSpPr/>
            <p:nvPr userDrawn="1"/>
          </p:nvSpPr>
          <p:spPr>
            <a:xfrm>
              <a:off x="-2141" y="2692400"/>
              <a:ext cx="1019671" cy="4165600"/>
            </a:xfrm>
            <a:prstGeom prst="rtTriangle">
              <a:avLst/>
            </a:prstGeom>
            <a:solidFill>
              <a:srgbClr val="FF7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b="0" i="0">
                <a:latin typeface="Roboto Regular" charset="0"/>
              </a:endParaRPr>
            </a:p>
          </p:txBody>
        </p:sp>
        <p:sp>
          <p:nvSpPr>
            <p:cNvPr id="14" name="Right Triangle 13"/>
            <p:cNvSpPr/>
            <p:nvPr userDrawn="1"/>
          </p:nvSpPr>
          <p:spPr>
            <a:xfrm rot="16200000" flipV="1">
              <a:off x="1163093" y="5341393"/>
              <a:ext cx="357506" cy="2675708"/>
            </a:xfrm>
            <a:prstGeom prst="rtTriangle">
              <a:avLst/>
            </a:prstGeom>
            <a:solidFill>
              <a:srgbClr val="FF4D00">
                <a:alpha val="8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b="0" i="0">
                <a:latin typeface="Roboto Regular" charset="0"/>
              </a:endParaRPr>
            </a:p>
          </p:txBody>
        </p:sp>
      </p:grpSp>
      <p:sp>
        <p:nvSpPr>
          <p:cNvPr id="15" name="TextBox 14"/>
          <p:cNvSpPr txBox="1"/>
          <p:nvPr userDrawn="1"/>
        </p:nvSpPr>
        <p:spPr>
          <a:xfrm>
            <a:off x="502034" y="6359528"/>
            <a:ext cx="413896" cy="208701"/>
          </a:xfrm>
          <a:prstGeom prst="rect">
            <a:avLst/>
          </a:prstGeom>
        </p:spPr>
        <p:txBody>
          <a:bodyPr lIns="0" tIns="0" rIns="0" bIns="91392"/>
          <a:lstStyle>
            <a:defPPr>
              <a:defRPr lang="en-US"/>
            </a:defPPr>
            <a:lvl1pPr>
              <a:defRPr sz="1100">
                <a:solidFill>
                  <a:schemeClr val="tx2">
                    <a:lumMod val="50000"/>
                    <a:lumOff val="50000"/>
                  </a:schemeClr>
                </a:solidFill>
              </a:defRPr>
            </a:lvl1pPr>
          </a:lstStyle>
          <a:p>
            <a:pPr marL="0" lvl="0" algn="l" defTabSz="456926" rtl="0" eaLnBrk="1" latinLnBrk="0" hangingPunct="1"/>
            <a:fld id="{64202F7F-356F-46E2-8791-88745C87F5D9}" type="slidenum">
              <a:rPr lang="en-US" sz="1100" b="0" i="0" kern="1200" smtClean="0">
                <a:solidFill>
                  <a:schemeClr val="bg1"/>
                </a:solidFill>
                <a:latin typeface="Roboto" charset="0"/>
                <a:ea typeface="Roboto" charset="0"/>
                <a:cs typeface="Roboto" charset="0"/>
              </a:rPr>
              <a:pPr marL="0" lvl="0" algn="l" defTabSz="456926" rtl="0" eaLnBrk="1" latinLnBrk="0" hangingPunct="1"/>
              <a:t>‹#›</a:t>
            </a:fld>
            <a:endParaRPr lang="en-US" sz="1100" b="0" i="0" kern="1200">
              <a:solidFill>
                <a:schemeClr val="bg1"/>
              </a:solidFill>
              <a:latin typeface="Roboto" charset="0"/>
              <a:ea typeface="Roboto" charset="0"/>
              <a:cs typeface="Roboto" charset="0"/>
            </a:endParaRPr>
          </a:p>
        </p:txBody>
      </p:sp>
      <p:sp>
        <p:nvSpPr>
          <p:cNvPr id="16" name="TextBox 15"/>
          <p:cNvSpPr txBox="1"/>
          <p:nvPr userDrawn="1"/>
        </p:nvSpPr>
        <p:spPr>
          <a:xfrm>
            <a:off x="1017532" y="6359524"/>
            <a:ext cx="3117657" cy="179070"/>
          </a:xfrm>
          <a:prstGeom prst="rect">
            <a:avLst/>
          </a:prstGeom>
        </p:spPr>
        <p:txBody>
          <a:bodyPr lIns="0" tIns="0" rIns="0" bIns="0"/>
          <a:lstStyle>
            <a:defPPr>
              <a:defRPr lang="en-US"/>
            </a:defPPr>
            <a:lvl1pPr>
              <a:defRPr sz="1050">
                <a:solidFill>
                  <a:schemeClr val="tx2">
                    <a:lumMod val="50000"/>
                    <a:lumOff val="50000"/>
                  </a:schemeClr>
                </a:solidFill>
                <a:ea typeface="Arial" charset="0"/>
                <a:cs typeface="Arial" charset="0"/>
              </a:defRPr>
            </a:lvl1pPr>
          </a:lstStyle>
          <a:p>
            <a:pPr lvl="0"/>
            <a:r>
              <a:rPr lang="en-US" sz="1100" b="0" i="0">
                <a:solidFill>
                  <a:schemeClr val="tx1"/>
                </a:solidFill>
                <a:latin typeface="Roboto" charset="0"/>
                <a:ea typeface="Roboto" charset="0"/>
                <a:cs typeface="Roboto" charset="0"/>
              </a:rPr>
              <a:t>© Informatica. Proprietary and Confidential.</a:t>
            </a:r>
          </a:p>
        </p:txBody>
      </p:sp>
    </p:spTree>
    <p:extLst>
      <p:ext uri="{BB962C8B-B14F-4D97-AF65-F5344CB8AC3E}">
        <p14:creationId xmlns:p14="http://schemas.microsoft.com/office/powerpoint/2010/main" val="1009033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cSld name="2_Statement 1">
    <p:spTree>
      <p:nvGrpSpPr>
        <p:cNvPr id="1" name=""/>
        <p:cNvGrpSpPr/>
        <p:nvPr/>
      </p:nvGrpSpPr>
      <p:grpSpPr>
        <a:xfrm>
          <a:off x="0" y="0"/>
          <a:ext cx="0" cy="0"/>
          <a:chOff x="0" y="0"/>
          <a:chExt cx="0" cy="0"/>
        </a:xfrm>
      </p:grpSpPr>
      <p:sp>
        <p:nvSpPr>
          <p:cNvPr id="10" name="Rectangle 9"/>
          <p:cNvSpPr/>
          <p:nvPr/>
        </p:nvSpPr>
        <p:spPr>
          <a:xfrm>
            <a:off x="0" y="0"/>
            <a:ext cx="12188825" cy="6858000"/>
          </a:xfrm>
          <a:prstGeom prst="rect">
            <a:avLst/>
          </a:prstGeom>
          <a:gradFill>
            <a:gsLst>
              <a:gs pos="100000">
                <a:srgbClr val="FF4D00"/>
              </a:gs>
              <a:gs pos="12000">
                <a:srgbClr val="FF7D00"/>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73737"/>
              </a:solidFill>
              <a:effectLst/>
              <a:uLnTx/>
              <a:uFillTx/>
              <a:latin typeface="Roboto"/>
              <a:ea typeface="+mn-ea"/>
              <a:cs typeface="+mn-cs"/>
            </a:endParaRPr>
          </a:p>
        </p:txBody>
      </p:sp>
      <p:sp>
        <p:nvSpPr>
          <p:cNvPr id="3" name="Right Triangle 2"/>
          <p:cNvSpPr/>
          <p:nvPr/>
        </p:nvSpPr>
        <p:spPr>
          <a:xfrm flipH="1" flipV="1">
            <a:off x="11603698" y="0"/>
            <a:ext cx="585127" cy="1575171"/>
          </a:xfrm>
          <a:prstGeom prst="rtTriangle">
            <a:avLst/>
          </a:prstGeom>
          <a:solidFill>
            <a:srgbClr val="043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73737"/>
              </a:solidFill>
              <a:effectLst/>
              <a:uLnTx/>
              <a:uFillTx/>
              <a:latin typeface="Roboto"/>
              <a:ea typeface="+mn-ea"/>
              <a:cs typeface="+mn-cs"/>
            </a:endParaRPr>
          </a:p>
        </p:txBody>
      </p:sp>
      <p:sp>
        <p:nvSpPr>
          <p:cNvPr id="8" name="Text Placeholder 23"/>
          <p:cNvSpPr>
            <a:spLocks noGrp="1"/>
          </p:cNvSpPr>
          <p:nvPr>
            <p:ph type="body" sz="quarter" idx="11" hasCustomPrompt="1"/>
          </p:nvPr>
        </p:nvSpPr>
        <p:spPr>
          <a:xfrm>
            <a:off x="1160547" y="2063006"/>
            <a:ext cx="9520153" cy="3474194"/>
          </a:xfrm>
          <a:prstGeom prst="rect">
            <a:avLst/>
          </a:prstGeom>
        </p:spPr>
        <p:txBody>
          <a:bodyPr/>
          <a:lstStyle>
            <a:lvl1pPr marL="0" indent="0">
              <a:buNone/>
              <a:defRPr sz="5400" b="0" i="0">
                <a:solidFill>
                  <a:schemeClr val="bg1"/>
                </a:solidFill>
                <a:latin typeface="Roboto Lt" charset="0"/>
                <a:ea typeface="Roboto Lt" charset="0"/>
                <a:cs typeface="Roboto Lt" charset="0"/>
              </a:defRPr>
            </a:lvl1pPr>
            <a:lvl2pPr marL="457108" indent="0">
              <a:buNone/>
              <a:defRPr/>
            </a:lvl2pPr>
            <a:lvl3pPr marL="914217" indent="0">
              <a:buNone/>
              <a:defRPr/>
            </a:lvl3pPr>
            <a:lvl4pPr marL="1371326" indent="0">
              <a:buNone/>
              <a:defRPr/>
            </a:lvl4pPr>
            <a:lvl5pPr marL="1828435" indent="0">
              <a:buNone/>
              <a:defRPr/>
            </a:lvl5pPr>
          </a:lstStyle>
          <a:p>
            <a:pPr lvl="0"/>
            <a:r>
              <a:rPr lang="en-US" err="1"/>
              <a:t>Roboto</a:t>
            </a:r>
            <a:r>
              <a:rPr lang="en-US"/>
              <a:t> Light 54 point</a:t>
            </a:r>
          </a:p>
        </p:txBody>
      </p:sp>
      <p:sp>
        <p:nvSpPr>
          <p:cNvPr id="6" name="Right Triangle 5"/>
          <p:cNvSpPr/>
          <p:nvPr userDrawn="1"/>
        </p:nvSpPr>
        <p:spPr>
          <a:xfrm flipH="1" flipV="1">
            <a:off x="11603698" y="0"/>
            <a:ext cx="585127" cy="1575171"/>
          </a:xfrm>
          <a:prstGeom prst="rtTriangle">
            <a:avLst/>
          </a:prstGeom>
          <a:solidFill>
            <a:srgbClr val="043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73737"/>
              </a:solidFill>
              <a:effectLst/>
              <a:uLnTx/>
              <a:uFillTx/>
              <a:latin typeface="Roboto"/>
              <a:ea typeface="+mn-ea"/>
              <a:cs typeface="+mn-cs"/>
            </a:endParaRPr>
          </a:p>
        </p:txBody>
      </p:sp>
    </p:spTree>
    <p:extLst>
      <p:ext uri="{BB962C8B-B14F-4D97-AF65-F5344CB8AC3E}">
        <p14:creationId xmlns:p14="http://schemas.microsoft.com/office/powerpoint/2010/main" val="2050590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1_Blank No Corner/Logo DARK">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2BBEB5C6-80C4-CD48-8BC5-162C54C1B42D}"/>
              </a:ext>
            </a:extLst>
          </p:cNvPr>
          <p:cNvPicPr>
            <a:picLocks noChangeAspect="1"/>
          </p:cNvPicPr>
          <p:nvPr userDrawn="1"/>
        </p:nvPicPr>
        <p:blipFill>
          <a:blip r:embed="rId2"/>
          <a:stretch>
            <a:fillRect/>
          </a:stretch>
        </p:blipFill>
        <p:spPr>
          <a:xfrm>
            <a:off x="0" y="0"/>
            <a:ext cx="12188825" cy="6858000"/>
          </a:xfrm>
          <a:prstGeom prst="rect">
            <a:avLst/>
          </a:prstGeom>
        </p:spPr>
      </p:pic>
      <p:sp>
        <p:nvSpPr>
          <p:cNvPr id="5" name="TextBox 4">
            <a:extLst>
              <a:ext uri="{FF2B5EF4-FFF2-40B4-BE49-F238E27FC236}">
                <a16:creationId xmlns:a16="http://schemas.microsoft.com/office/drawing/2014/main" id="{3D625EBE-6EFB-4A48-B9E9-BB18863DFEC3}"/>
              </a:ext>
            </a:extLst>
          </p:cNvPr>
          <p:cNvSpPr txBox="1"/>
          <p:nvPr userDrawn="1"/>
        </p:nvSpPr>
        <p:spPr>
          <a:xfrm>
            <a:off x="176868" y="6365108"/>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063" rtl="0" eaLnBrk="1" latinLnBrk="0" hangingPunct="1"/>
            <a:fld id="{64202F7F-356F-46E2-8791-88745C87F5D9}" type="slidenum">
              <a:rPr lang="en-US" sz="900" b="0" i="0" kern="1200" smtClean="0">
                <a:solidFill>
                  <a:schemeClr val="bg1"/>
                </a:solidFill>
                <a:latin typeface="Roboto" panose="02000000000000000000" pitchFamily="2" charset="0"/>
                <a:ea typeface="Roboto" panose="02000000000000000000" pitchFamily="2" charset="0"/>
                <a:cs typeface="Roboto" charset="0"/>
              </a:rPr>
              <a:pPr marL="0" lvl="0" algn="ctr" defTabSz="457063" rtl="0" eaLnBrk="1" latinLnBrk="0" hangingPunct="1"/>
              <a:t>‹#›</a:t>
            </a:fld>
            <a:endParaRPr lang="en-US" sz="900" b="0" i="0" kern="1200">
              <a:solidFill>
                <a:schemeClr val="bg1"/>
              </a:solidFill>
              <a:latin typeface="Roboto" panose="02000000000000000000" pitchFamily="2" charset="0"/>
              <a:ea typeface="Roboto" panose="02000000000000000000" pitchFamily="2" charset="0"/>
              <a:cs typeface="Roboto" charset="0"/>
            </a:endParaRPr>
          </a:p>
        </p:txBody>
      </p:sp>
    </p:spTree>
    <p:extLst>
      <p:ext uri="{BB962C8B-B14F-4D97-AF65-F5344CB8AC3E}">
        <p14:creationId xmlns:p14="http://schemas.microsoft.com/office/powerpoint/2010/main" val="3587645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E24425E7-0DFE-420F-BEEB-B1A755F8C11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588" y="8239"/>
            <a:ext cx="9396412" cy="6849762"/>
          </a:xfrm>
          <a:prstGeom prst="rect">
            <a:avLst/>
          </a:prstGeom>
        </p:spPr>
      </p:pic>
      <p:sp>
        <p:nvSpPr>
          <p:cNvPr id="5" name="TextBox 4">
            <a:extLst>
              <a:ext uri="{FF2B5EF4-FFF2-40B4-BE49-F238E27FC236}">
                <a16:creationId xmlns:a16="http://schemas.microsoft.com/office/drawing/2014/main" id="{3D625EBE-6EFB-4A48-B9E9-BB18863DFEC3}"/>
              </a:ext>
            </a:extLst>
          </p:cNvPr>
          <p:cNvSpPr txBox="1"/>
          <p:nvPr userDrawn="1"/>
        </p:nvSpPr>
        <p:spPr>
          <a:xfrm>
            <a:off x="176868" y="6365106"/>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900" b="0" i="0" kern="1200" smtClean="0">
                <a:solidFill>
                  <a:schemeClr val="bg1"/>
                </a:solidFill>
                <a:latin typeface="Roboto" charset="0"/>
                <a:ea typeface="Roboto" charset="0"/>
                <a:cs typeface="Roboto" charset="0"/>
              </a:rPr>
              <a:pPr marL="0" lvl="0" algn="ctr" defTabSz="457200" rtl="0" eaLnBrk="1" latinLnBrk="0" hangingPunct="1"/>
              <a:t>‹#›</a:t>
            </a:fld>
            <a:endParaRPr lang="en-US" sz="900" b="0" i="0" kern="1200">
              <a:solidFill>
                <a:schemeClr val="bg1"/>
              </a:solidFill>
              <a:latin typeface="Roboto" charset="0"/>
              <a:ea typeface="Roboto" charset="0"/>
              <a:cs typeface="Roboto" charset="0"/>
            </a:endParaRPr>
          </a:p>
        </p:txBody>
      </p:sp>
      <p:sp>
        <p:nvSpPr>
          <p:cNvPr id="2" name="Title 1"/>
          <p:cNvSpPr>
            <a:spLocks noGrp="1"/>
          </p:cNvSpPr>
          <p:nvPr userDrawn="1">
            <p:ph type="title" hasCustomPrompt="1"/>
          </p:nvPr>
        </p:nvSpPr>
        <p:spPr>
          <a:xfrm>
            <a:off x="488950" y="482602"/>
            <a:ext cx="11188699" cy="1066798"/>
          </a:xfrm>
          <a:prstGeom prst="rect">
            <a:avLst/>
          </a:prstGeom>
        </p:spPr>
        <p:txBody>
          <a:bodyPr lIns="0"/>
          <a:lstStyle>
            <a:lvl1pPr>
              <a:defRPr baseline="0">
                <a:solidFill>
                  <a:schemeClr val="tx1"/>
                </a:solidFill>
              </a:defRPr>
            </a:lvl1pPr>
          </a:lstStyle>
          <a:p>
            <a:r>
              <a:rPr lang="en-US"/>
              <a:t>Headline Goes Here, Roboto Light, 36 Points, Can Span 2 Lines</a:t>
            </a:r>
          </a:p>
        </p:txBody>
      </p:sp>
      <p:sp>
        <p:nvSpPr>
          <p:cNvPr id="3" name="TextBox 2">
            <a:extLst>
              <a:ext uri="{FF2B5EF4-FFF2-40B4-BE49-F238E27FC236}">
                <a16:creationId xmlns:a16="http://schemas.microsoft.com/office/drawing/2014/main" id="{9E4B4709-7C2B-4FD8-9933-DAF4E15383F8}"/>
              </a:ext>
            </a:extLst>
          </p:cNvPr>
          <p:cNvSpPr txBox="1"/>
          <p:nvPr userDrawn="1"/>
        </p:nvSpPr>
        <p:spPr>
          <a:xfrm>
            <a:off x="1023708"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a:solidFill>
                  <a:schemeClr val="tx1"/>
                </a:solidFill>
                <a:latin typeface="Roboto" charset="0"/>
                <a:ea typeface="Roboto" charset="0"/>
                <a:cs typeface="Roboto" charset="0"/>
              </a:rPr>
              <a:t>© Informatica. Proprietary and Confidential.</a:t>
            </a:r>
          </a:p>
        </p:txBody>
      </p:sp>
      <p:pic>
        <p:nvPicPr>
          <p:cNvPr id="8" name="Picture 7">
            <a:extLst>
              <a:ext uri="{FF2B5EF4-FFF2-40B4-BE49-F238E27FC236}">
                <a16:creationId xmlns:a16="http://schemas.microsoft.com/office/drawing/2014/main" id="{47476EA6-FF12-0E48-ABD5-FC51932B8C47}"/>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297681" y="6364327"/>
            <a:ext cx="1379967" cy="364910"/>
          </a:xfrm>
          <a:prstGeom prst="rect">
            <a:avLst/>
          </a:prstGeom>
        </p:spPr>
      </p:pic>
    </p:spTree>
    <p:extLst>
      <p:ext uri="{BB962C8B-B14F-4D97-AF65-F5344CB8AC3E}">
        <p14:creationId xmlns:p14="http://schemas.microsoft.com/office/powerpoint/2010/main" val="1169453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cSld name="Title/Maximum Content ">
    <p:spTree>
      <p:nvGrpSpPr>
        <p:cNvPr id="1" name=""/>
        <p:cNvGrpSpPr/>
        <p:nvPr/>
      </p:nvGrpSpPr>
      <p:grpSpPr>
        <a:xfrm>
          <a:off x="0" y="0"/>
          <a:ext cx="0" cy="0"/>
          <a:chOff x="0" y="0"/>
          <a:chExt cx="0" cy="0"/>
        </a:xfrm>
      </p:grpSpPr>
      <p:pic>
        <p:nvPicPr>
          <p:cNvPr id="8" name="Picture 7"/>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9504422" y="6006045"/>
            <a:ext cx="2464597" cy="851959"/>
          </a:xfrm>
          <a:prstGeom prst="rect">
            <a:avLst/>
          </a:prstGeom>
        </p:spPr>
      </p:pic>
      <p:sp>
        <p:nvSpPr>
          <p:cNvPr id="9" name="Right Triangle 8"/>
          <p:cNvSpPr/>
          <p:nvPr/>
        </p:nvSpPr>
        <p:spPr>
          <a:xfrm flipH="1" flipV="1">
            <a:off x="11603700" y="-1"/>
            <a:ext cx="585127" cy="1575171"/>
          </a:xfrm>
          <a:prstGeom prst="rtTriangle">
            <a:avLst/>
          </a:prstGeom>
          <a:solidFill>
            <a:srgbClr val="043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2" name="Title 1"/>
          <p:cNvSpPr>
            <a:spLocks noGrp="1"/>
          </p:cNvSpPr>
          <p:nvPr>
            <p:ph type="title" hasCustomPrompt="1"/>
          </p:nvPr>
        </p:nvSpPr>
        <p:spPr/>
        <p:txBody>
          <a:bodyPr/>
          <a:lstStyle>
            <a:lvl1pPr>
              <a:defRPr baseline="0"/>
            </a:lvl1pPr>
          </a:lstStyle>
          <a:p>
            <a:r>
              <a:rPr lang="en-US"/>
              <a:t>Headline goes here, </a:t>
            </a:r>
            <a:r>
              <a:rPr lang="en-US" err="1"/>
              <a:t>Roboto</a:t>
            </a:r>
            <a:r>
              <a:rPr lang="en-US"/>
              <a:t> Light, 36 points, can span two lines</a:t>
            </a:r>
          </a:p>
        </p:txBody>
      </p:sp>
      <p:sp>
        <p:nvSpPr>
          <p:cNvPr id="15" name="TextBox 14"/>
          <p:cNvSpPr txBox="1"/>
          <p:nvPr/>
        </p:nvSpPr>
        <p:spPr>
          <a:xfrm>
            <a:off x="502034" y="6359528"/>
            <a:ext cx="413896" cy="208701"/>
          </a:xfrm>
          <a:prstGeom prst="rect">
            <a:avLst/>
          </a:prstGeom>
        </p:spPr>
        <p:txBody>
          <a:bodyPr lIns="0" tIns="0" rIns="0" bIns="91392"/>
          <a:lstStyle>
            <a:defPPr>
              <a:defRPr lang="en-US"/>
            </a:defPPr>
            <a:lvl1pPr>
              <a:defRPr sz="1100">
                <a:solidFill>
                  <a:schemeClr val="tx2">
                    <a:lumMod val="50000"/>
                    <a:lumOff val="50000"/>
                  </a:schemeClr>
                </a:solidFill>
              </a:defRPr>
            </a:lvl1pPr>
          </a:lstStyle>
          <a:p>
            <a:pPr marL="0" lvl="0" algn="l" defTabSz="456926" rtl="0" eaLnBrk="1" latinLnBrk="0" hangingPunct="1"/>
            <a:fld id="{64202F7F-356F-46E2-8791-88745C87F5D9}" type="slidenum">
              <a:rPr lang="en-US" sz="1100" b="0" i="0" kern="1200" smtClean="0">
                <a:solidFill>
                  <a:schemeClr val="accent2"/>
                </a:solidFill>
                <a:latin typeface="Roboto" charset="0"/>
                <a:ea typeface="Roboto" charset="0"/>
                <a:cs typeface="Roboto" charset="0"/>
              </a:rPr>
              <a:pPr marL="0" lvl="0" algn="l" defTabSz="456926" rtl="0" eaLnBrk="1" latinLnBrk="0" hangingPunct="1"/>
              <a:t>‹#›</a:t>
            </a:fld>
            <a:endParaRPr lang="en-US" sz="1100" b="0" i="0" kern="1200">
              <a:solidFill>
                <a:schemeClr val="accent2"/>
              </a:solidFill>
              <a:latin typeface="Roboto" charset="0"/>
              <a:ea typeface="Roboto" charset="0"/>
              <a:cs typeface="Roboto" charset="0"/>
            </a:endParaRPr>
          </a:p>
        </p:txBody>
      </p:sp>
    </p:spTree>
    <p:extLst>
      <p:ext uri="{BB962C8B-B14F-4D97-AF65-F5344CB8AC3E}">
        <p14:creationId xmlns:p14="http://schemas.microsoft.com/office/powerpoint/2010/main" val="115301833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blank">
  <p:cSld name="Orange Background">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0"/>
            <a:ext cx="12188825" cy="6858000"/>
          </a:xfrm>
          <a:prstGeom prst="rect">
            <a:avLst/>
          </a:prstGeom>
        </p:spPr>
      </p:pic>
    </p:spTree>
    <p:extLst>
      <p:ext uri="{BB962C8B-B14F-4D97-AF65-F5344CB8AC3E}">
        <p14:creationId xmlns:p14="http://schemas.microsoft.com/office/powerpoint/2010/main" val="25467858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Title/Subtitle/Bullets">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504421" y="6006043"/>
            <a:ext cx="2464597" cy="851959"/>
          </a:xfrm>
          <a:prstGeom prst="rect">
            <a:avLst/>
          </a:prstGeom>
        </p:spPr>
      </p:pic>
      <p:sp>
        <p:nvSpPr>
          <p:cNvPr id="9" name="Right Triangle 8"/>
          <p:cNvSpPr/>
          <p:nvPr userDrawn="1"/>
        </p:nvSpPr>
        <p:spPr>
          <a:xfrm flipH="1" flipV="1">
            <a:off x="11603699" y="-1"/>
            <a:ext cx="585127" cy="1575171"/>
          </a:xfrm>
          <a:prstGeom prst="rtTriangle">
            <a:avLst/>
          </a:prstGeom>
          <a:solidFill>
            <a:srgbClr val="043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a:endParaRPr lang="en-US" sz="1799">
              <a:solidFill>
                <a:srgbClr val="FFFFFF"/>
              </a:solidFill>
            </a:endParaRPr>
          </a:p>
        </p:txBody>
      </p:sp>
      <p:sp>
        <p:nvSpPr>
          <p:cNvPr id="2" name="Title 1"/>
          <p:cNvSpPr>
            <a:spLocks noGrp="1"/>
          </p:cNvSpPr>
          <p:nvPr>
            <p:ph type="title" hasCustomPrompt="1"/>
          </p:nvPr>
        </p:nvSpPr>
        <p:spPr>
          <a:xfrm>
            <a:off x="482475" y="482604"/>
            <a:ext cx="11195177" cy="665379"/>
          </a:xfrm>
        </p:spPr>
        <p:txBody>
          <a:bodyPr/>
          <a:lstStyle/>
          <a:p>
            <a:r>
              <a:rPr lang="en-US"/>
              <a:t>Headline goes here, </a:t>
            </a:r>
            <a:r>
              <a:rPr lang="en-US" err="1"/>
              <a:t>Roboto</a:t>
            </a:r>
            <a:r>
              <a:rPr lang="en-US"/>
              <a:t> Light 36 point, 1 Line</a:t>
            </a:r>
          </a:p>
        </p:txBody>
      </p:sp>
      <p:sp>
        <p:nvSpPr>
          <p:cNvPr id="3" name="Text Placeholder 4"/>
          <p:cNvSpPr>
            <a:spLocks noGrp="1"/>
          </p:cNvSpPr>
          <p:nvPr>
            <p:ph type="body" sz="quarter" idx="13" hasCustomPrompt="1"/>
          </p:nvPr>
        </p:nvSpPr>
        <p:spPr>
          <a:xfrm>
            <a:off x="498308" y="1147983"/>
            <a:ext cx="11183937" cy="331601"/>
          </a:xfrm>
        </p:spPr>
        <p:txBody>
          <a:bodyPr anchor="t"/>
          <a:lstStyle>
            <a:lvl1pPr marL="0" indent="0">
              <a:buNone/>
              <a:defRPr sz="2399" i="0" baseline="0">
                <a:solidFill>
                  <a:schemeClr val="bg1">
                    <a:lumMod val="50000"/>
                  </a:schemeClr>
                </a:solidFill>
              </a:defRPr>
            </a:lvl1pPr>
            <a:lvl2pPr marL="169812" indent="0">
              <a:buNone/>
              <a:defRPr/>
            </a:lvl2pPr>
            <a:lvl3pPr marL="344384" indent="0">
              <a:buNone/>
              <a:defRPr/>
            </a:lvl3pPr>
            <a:lvl4pPr marL="458650" indent="0">
              <a:buNone/>
              <a:defRPr/>
            </a:lvl4pPr>
            <a:lvl5pPr marL="630048" indent="0">
              <a:buNone/>
              <a:defRPr/>
            </a:lvl5pPr>
          </a:lstStyle>
          <a:p>
            <a:pPr lvl="0"/>
            <a:r>
              <a:rPr lang="en-US"/>
              <a:t>Subtitle goes here, </a:t>
            </a:r>
            <a:r>
              <a:rPr lang="en-US" err="1"/>
              <a:t>Roboto</a:t>
            </a:r>
            <a:r>
              <a:rPr lang="en-US"/>
              <a:t> Regular 24 point, no longer than one line</a:t>
            </a:r>
          </a:p>
        </p:txBody>
      </p:sp>
      <p:grpSp>
        <p:nvGrpSpPr>
          <p:cNvPr id="12" name="Group 11"/>
          <p:cNvGrpSpPr/>
          <p:nvPr userDrawn="1"/>
        </p:nvGrpSpPr>
        <p:grpSpPr>
          <a:xfrm>
            <a:off x="-2140" y="2692400"/>
            <a:ext cx="2681841" cy="4165600"/>
            <a:chOff x="-2141" y="2692400"/>
            <a:chExt cx="2681841" cy="4165600"/>
          </a:xfrm>
        </p:grpSpPr>
        <p:sp>
          <p:nvSpPr>
            <p:cNvPr id="13" name="Right Triangle 12"/>
            <p:cNvSpPr/>
            <p:nvPr userDrawn="1"/>
          </p:nvSpPr>
          <p:spPr>
            <a:xfrm>
              <a:off x="-2141" y="2692400"/>
              <a:ext cx="1019671" cy="4165600"/>
            </a:xfrm>
            <a:prstGeom prst="rtTriangle">
              <a:avLst/>
            </a:prstGeom>
            <a:solidFill>
              <a:srgbClr val="FF7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a:endParaRPr lang="en-US" sz="1799">
                <a:solidFill>
                  <a:srgbClr val="FFFFFF"/>
                </a:solidFill>
              </a:endParaRPr>
            </a:p>
          </p:txBody>
        </p:sp>
        <p:sp>
          <p:nvSpPr>
            <p:cNvPr id="14" name="Right Triangle 13"/>
            <p:cNvSpPr/>
            <p:nvPr userDrawn="1"/>
          </p:nvSpPr>
          <p:spPr>
            <a:xfrm rot="16200000" flipV="1">
              <a:off x="1163093" y="5341393"/>
              <a:ext cx="357506" cy="2675708"/>
            </a:xfrm>
            <a:prstGeom prst="rtTriangle">
              <a:avLst/>
            </a:prstGeom>
            <a:solidFill>
              <a:srgbClr val="FF4D00">
                <a:alpha val="8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a:endParaRPr lang="en-US" sz="1799">
                <a:solidFill>
                  <a:srgbClr val="FFFFFF"/>
                </a:solidFill>
              </a:endParaRPr>
            </a:p>
          </p:txBody>
        </p:sp>
      </p:grpSp>
      <p:sp>
        <p:nvSpPr>
          <p:cNvPr id="15" name="TextBox 14"/>
          <p:cNvSpPr txBox="1"/>
          <p:nvPr userDrawn="1"/>
        </p:nvSpPr>
        <p:spPr>
          <a:xfrm>
            <a:off x="502034" y="6359526"/>
            <a:ext cx="413896" cy="208701"/>
          </a:xfrm>
          <a:prstGeom prst="rect">
            <a:avLst/>
          </a:prstGeom>
        </p:spPr>
        <p:txBody>
          <a:bodyPr lIns="0" tIns="0" rIns="0" bIns="91416"/>
          <a:lstStyle>
            <a:defPPr>
              <a:defRPr lang="en-US"/>
            </a:defPPr>
            <a:lvl1pPr>
              <a:defRPr sz="1100">
                <a:solidFill>
                  <a:schemeClr val="tx2">
                    <a:lumMod val="50000"/>
                    <a:lumOff val="50000"/>
                  </a:schemeClr>
                </a:solidFill>
              </a:defRPr>
            </a:lvl1pPr>
          </a:lstStyle>
          <a:p>
            <a:pPr defTabSz="457063"/>
            <a:fld id="{64202F7F-356F-46E2-8791-88745C87F5D9}" type="slidenum">
              <a:rPr lang="en-US" sz="1100" smtClean="0">
                <a:solidFill>
                  <a:srgbClr val="FFFFFF"/>
                </a:solidFill>
                <a:latin typeface="Roboto" charset="0"/>
                <a:ea typeface="Roboto" charset="0"/>
                <a:cs typeface="Roboto" charset="0"/>
              </a:rPr>
              <a:pPr defTabSz="457063"/>
              <a:t>‹#›</a:t>
            </a:fld>
            <a:endParaRPr lang="en-US" sz="1100">
              <a:solidFill>
                <a:srgbClr val="FFFFFF"/>
              </a:solidFill>
              <a:latin typeface="Roboto" charset="0"/>
              <a:ea typeface="Roboto" charset="0"/>
              <a:cs typeface="Roboto" charset="0"/>
            </a:endParaRPr>
          </a:p>
        </p:txBody>
      </p:sp>
      <p:sp>
        <p:nvSpPr>
          <p:cNvPr id="16" name="TextBox 15"/>
          <p:cNvSpPr txBox="1"/>
          <p:nvPr userDrawn="1"/>
        </p:nvSpPr>
        <p:spPr>
          <a:xfrm>
            <a:off x="1017531" y="6359524"/>
            <a:ext cx="3117657" cy="179070"/>
          </a:xfrm>
          <a:prstGeom prst="rect">
            <a:avLst/>
          </a:prstGeom>
        </p:spPr>
        <p:txBody>
          <a:bodyPr lIns="0" tIns="0" rIns="0" bIns="0"/>
          <a:lstStyle>
            <a:defPPr>
              <a:defRPr lang="en-US"/>
            </a:defPPr>
            <a:lvl1pPr>
              <a:defRPr sz="1050">
                <a:solidFill>
                  <a:schemeClr val="tx2">
                    <a:lumMod val="50000"/>
                    <a:lumOff val="50000"/>
                  </a:schemeClr>
                </a:solidFill>
                <a:ea typeface="Arial" charset="0"/>
                <a:cs typeface="Arial" charset="0"/>
              </a:defRPr>
            </a:lvl1pPr>
          </a:lstStyle>
          <a:p>
            <a:pPr defTabSz="457063"/>
            <a:r>
              <a:rPr lang="en-US" sz="1100">
                <a:solidFill>
                  <a:srgbClr val="373737"/>
                </a:solidFill>
                <a:latin typeface="Roboto" charset="0"/>
                <a:ea typeface="Roboto" charset="0"/>
                <a:cs typeface="Roboto" charset="0"/>
              </a:rPr>
              <a:t>© Informatica. Proprietary and Confidential.</a:t>
            </a:r>
          </a:p>
        </p:txBody>
      </p:sp>
      <p:sp>
        <p:nvSpPr>
          <p:cNvPr id="6" name="Content Placeholder 5"/>
          <p:cNvSpPr>
            <a:spLocks noGrp="1"/>
          </p:cNvSpPr>
          <p:nvPr>
            <p:ph sz="quarter" idx="14" hasCustomPrompt="1"/>
          </p:nvPr>
        </p:nvSpPr>
        <p:spPr>
          <a:xfrm>
            <a:off x="1017589" y="1854200"/>
            <a:ext cx="10660062" cy="4165600"/>
          </a:xfrm>
        </p:spPr>
        <p:txBody>
          <a:bodyPr/>
          <a:lstStyle>
            <a:lvl1pPr>
              <a:defRPr baseline="0"/>
            </a:lvl1pPr>
            <a:lvl2pPr>
              <a:defRPr baseline="0"/>
            </a:lvl2pPr>
          </a:lstStyle>
          <a:p>
            <a:pPr lvl="0"/>
            <a:r>
              <a:rPr lang="en-US"/>
              <a:t>First bullet, </a:t>
            </a:r>
            <a:r>
              <a:rPr lang="en-US" err="1"/>
              <a:t>Roboto</a:t>
            </a:r>
            <a:r>
              <a:rPr lang="en-US"/>
              <a:t> Regular 21point</a:t>
            </a:r>
          </a:p>
          <a:p>
            <a:pPr lvl="1"/>
            <a:r>
              <a:rPr lang="en-US"/>
              <a:t>Second bullet, </a:t>
            </a:r>
            <a:r>
              <a:rPr lang="en-US" err="1"/>
              <a:t>Roboto</a:t>
            </a:r>
            <a:r>
              <a:rPr lang="en-US"/>
              <a:t> Regular 18 point</a:t>
            </a:r>
          </a:p>
          <a:p>
            <a:pPr lvl="2"/>
            <a:r>
              <a:rPr lang="en-US"/>
              <a:t>Third bullet, </a:t>
            </a:r>
            <a:r>
              <a:rPr lang="en-US" err="1"/>
              <a:t>Roboto</a:t>
            </a:r>
            <a:r>
              <a:rPr lang="en-US"/>
              <a:t> Regular 16 point</a:t>
            </a:r>
          </a:p>
        </p:txBody>
      </p:sp>
      <p:sp>
        <p:nvSpPr>
          <p:cNvPr id="4" name="TextBox 3"/>
          <p:cNvSpPr txBox="1"/>
          <p:nvPr userDrawn="1"/>
        </p:nvSpPr>
        <p:spPr>
          <a:xfrm>
            <a:off x="-292100" y="6197600"/>
            <a:ext cx="914400" cy="914400"/>
          </a:xfrm>
          <a:prstGeom prst="rect">
            <a:avLst/>
          </a:prstGeom>
          <a:noFill/>
        </p:spPr>
        <p:txBody>
          <a:bodyPr wrap="none" lIns="0" tIns="0" rIns="0" bIns="0" rtlCol="0">
            <a:noAutofit/>
          </a:bodyPr>
          <a:lstStyle/>
          <a:p>
            <a:pPr defTabSz="457063"/>
            <a:endParaRPr lang="en-US" sz="2799">
              <a:solidFill>
                <a:srgbClr val="FFFFFF"/>
              </a:solidFill>
              <a:latin typeface="Roboto" charset="0"/>
              <a:ea typeface="Roboto" charset="0"/>
              <a:cs typeface="Roboto" charset="0"/>
            </a:endParaRPr>
          </a:p>
        </p:txBody>
      </p:sp>
    </p:spTree>
    <p:extLst>
      <p:ext uri="{BB962C8B-B14F-4D97-AF65-F5344CB8AC3E}">
        <p14:creationId xmlns:p14="http://schemas.microsoft.com/office/powerpoint/2010/main" val="3883955467"/>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Title/Maximum Content">
    <p:spTree>
      <p:nvGrpSpPr>
        <p:cNvPr id="1" name=""/>
        <p:cNvGrpSpPr/>
        <p:nvPr/>
      </p:nvGrpSpPr>
      <p:grpSpPr>
        <a:xfrm>
          <a:off x="0" y="0"/>
          <a:ext cx="0" cy="0"/>
          <a:chOff x="0" y="0"/>
          <a:chExt cx="0" cy="0"/>
        </a:xfrm>
      </p:grpSpPr>
      <p:sp>
        <p:nvSpPr>
          <p:cNvPr id="9" name="Right Triangle 8"/>
          <p:cNvSpPr/>
          <p:nvPr userDrawn="1"/>
        </p:nvSpPr>
        <p:spPr>
          <a:xfrm flipH="1" flipV="1">
            <a:off x="11603699" y="-1"/>
            <a:ext cx="585127" cy="1575171"/>
          </a:xfrm>
          <a:prstGeom prst="rtTriangle">
            <a:avLst/>
          </a:prstGeom>
          <a:solidFill>
            <a:srgbClr val="043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0" name="Title 1">
            <a:extLst>
              <a:ext uri="{FF2B5EF4-FFF2-40B4-BE49-F238E27FC236}">
                <a16:creationId xmlns:a16="http://schemas.microsoft.com/office/drawing/2014/main" id="{9740E443-8AA9-4DE9-811E-E5CCBAF8642B}"/>
              </a:ext>
            </a:extLst>
          </p:cNvPr>
          <p:cNvSpPr>
            <a:spLocks noGrp="1"/>
          </p:cNvSpPr>
          <p:nvPr>
            <p:ph type="title" hasCustomPrompt="1"/>
          </p:nvPr>
        </p:nvSpPr>
        <p:spPr>
          <a:xfrm>
            <a:off x="482475" y="482602"/>
            <a:ext cx="11195177" cy="1066798"/>
          </a:xfrm>
        </p:spPr>
        <p:txBody>
          <a:bodyPr/>
          <a:lstStyle>
            <a:lvl1pPr>
              <a:defRPr b="0" baseline="0"/>
            </a:lvl1pPr>
          </a:lstStyle>
          <a:p>
            <a:r>
              <a:rPr lang="en-US"/>
              <a:t>Headline goes here, </a:t>
            </a:r>
            <a:r>
              <a:rPr lang="en-US" err="1"/>
              <a:t>Roboto</a:t>
            </a:r>
            <a:r>
              <a:rPr lang="en-US"/>
              <a:t> Light, 36 points, can span two lines</a:t>
            </a:r>
          </a:p>
        </p:txBody>
      </p:sp>
      <p:sp>
        <p:nvSpPr>
          <p:cNvPr id="14" name="TextBox 13">
            <a:extLst>
              <a:ext uri="{FF2B5EF4-FFF2-40B4-BE49-F238E27FC236}">
                <a16:creationId xmlns:a16="http://schemas.microsoft.com/office/drawing/2014/main" id="{281E70A1-289B-4D8F-9115-C12271A370D3}"/>
              </a:ext>
            </a:extLst>
          </p:cNvPr>
          <p:cNvSpPr txBox="1"/>
          <p:nvPr userDrawn="1"/>
        </p:nvSpPr>
        <p:spPr>
          <a:xfrm>
            <a:off x="502034" y="6359526"/>
            <a:ext cx="413896" cy="208701"/>
          </a:xfrm>
          <a:prstGeom prst="rect">
            <a:avLst/>
          </a:prstGeom>
        </p:spPr>
        <p:txBody>
          <a:bodyPr lIns="0" tIns="0" rIns="0" bIns="91416"/>
          <a:lstStyle>
            <a:defPPr>
              <a:defRPr lang="en-US"/>
            </a:defPPr>
            <a:lvl1pPr>
              <a:defRPr sz="1100">
                <a:solidFill>
                  <a:schemeClr val="tx2">
                    <a:lumMod val="50000"/>
                    <a:lumOff val="50000"/>
                  </a:schemeClr>
                </a:solidFill>
              </a:defRPr>
            </a:lvl1pPr>
          </a:lstStyle>
          <a:p>
            <a:pPr marL="0" lvl="0" algn="l" defTabSz="457063" rtl="0" eaLnBrk="1" latinLnBrk="0" hangingPunct="1"/>
            <a:fld id="{64202F7F-356F-46E2-8791-88745C87F5D9}" type="slidenum">
              <a:rPr lang="en-US" sz="1100" b="0" i="0" kern="1200" smtClean="0">
                <a:solidFill>
                  <a:schemeClr val="bg1"/>
                </a:solidFill>
                <a:latin typeface="Roboto" charset="0"/>
                <a:ea typeface="Roboto" charset="0"/>
                <a:cs typeface="Roboto" charset="0"/>
              </a:rPr>
              <a:pPr marL="0" lvl="0" algn="l" defTabSz="457063" rtl="0" eaLnBrk="1" latinLnBrk="0" hangingPunct="1"/>
              <a:t>‹#›</a:t>
            </a:fld>
            <a:endParaRPr lang="en-US" sz="1100" b="0" i="0" kern="1200">
              <a:solidFill>
                <a:schemeClr val="bg1"/>
              </a:solidFill>
              <a:latin typeface="Roboto" charset="0"/>
              <a:ea typeface="Roboto" charset="0"/>
              <a:cs typeface="Roboto" charset="0"/>
            </a:endParaRPr>
          </a:p>
        </p:txBody>
      </p:sp>
      <p:sp>
        <p:nvSpPr>
          <p:cNvPr id="15" name="TextBox 14">
            <a:extLst>
              <a:ext uri="{FF2B5EF4-FFF2-40B4-BE49-F238E27FC236}">
                <a16:creationId xmlns:a16="http://schemas.microsoft.com/office/drawing/2014/main" id="{8E9D4DEC-EF0E-4286-81C5-90A894C14B61}"/>
              </a:ext>
            </a:extLst>
          </p:cNvPr>
          <p:cNvSpPr txBox="1"/>
          <p:nvPr userDrawn="1"/>
        </p:nvSpPr>
        <p:spPr>
          <a:xfrm>
            <a:off x="1017531" y="6359524"/>
            <a:ext cx="3117657" cy="179070"/>
          </a:xfrm>
          <a:prstGeom prst="rect">
            <a:avLst/>
          </a:prstGeom>
        </p:spPr>
        <p:txBody>
          <a:bodyPr lIns="0" tIns="0" rIns="0" bIns="0"/>
          <a:lstStyle>
            <a:defPPr>
              <a:defRPr lang="en-US"/>
            </a:defPPr>
            <a:lvl1pPr>
              <a:defRPr sz="1050">
                <a:solidFill>
                  <a:schemeClr val="tx2">
                    <a:lumMod val="50000"/>
                    <a:lumOff val="50000"/>
                  </a:schemeClr>
                </a:solidFill>
                <a:ea typeface="Arial" charset="0"/>
                <a:cs typeface="Arial" charset="0"/>
              </a:defRPr>
            </a:lvl1pPr>
          </a:lstStyle>
          <a:p>
            <a:pPr lvl="0"/>
            <a:r>
              <a:rPr lang="en-US" sz="1100" b="0" i="0">
                <a:solidFill>
                  <a:schemeClr val="tx1"/>
                </a:solidFill>
                <a:latin typeface="Roboto" charset="0"/>
                <a:ea typeface="Roboto" charset="0"/>
                <a:cs typeface="Roboto" charset="0"/>
              </a:rPr>
              <a:t>© Informatica. Proprietary and Confidential.</a:t>
            </a:r>
          </a:p>
        </p:txBody>
      </p:sp>
      <p:sp>
        <p:nvSpPr>
          <p:cNvPr id="22" name="TextBox 21">
            <a:extLst>
              <a:ext uri="{FF2B5EF4-FFF2-40B4-BE49-F238E27FC236}">
                <a16:creationId xmlns:a16="http://schemas.microsoft.com/office/drawing/2014/main" id="{1E893734-7F43-4A78-B7AA-290D3D831DA0}"/>
              </a:ext>
            </a:extLst>
          </p:cNvPr>
          <p:cNvSpPr txBox="1"/>
          <p:nvPr userDrawn="1"/>
        </p:nvSpPr>
        <p:spPr>
          <a:xfrm>
            <a:off x="502034" y="6359526"/>
            <a:ext cx="413896" cy="208701"/>
          </a:xfrm>
          <a:prstGeom prst="rect">
            <a:avLst/>
          </a:prstGeom>
        </p:spPr>
        <p:txBody>
          <a:bodyPr lIns="0" tIns="0" rIns="0" bIns="91416"/>
          <a:lstStyle>
            <a:defPPr>
              <a:defRPr lang="en-US"/>
            </a:defPPr>
            <a:lvl1pPr>
              <a:defRPr sz="1100">
                <a:solidFill>
                  <a:schemeClr val="tx2">
                    <a:lumMod val="50000"/>
                    <a:lumOff val="50000"/>
                  </a:schemeClr>
                </a:solidFill>
              </a:defRPr>
            </a:lvl1pPr>
          </a:lstStyle>
          <a:p>
            <a:pPr marL="0" lvl="0" algn="l" defTabSz="457063" rtl="0" eaLnBrk="1" latinLnBrk="0" hangingPunct="1"/>
            <a:fld id="{64202F7F-356F-46E2-8791-88745C87F5D9}" type="slidenum">
              <a:rPr lang="en-US" sz="1100" b="0" i="0" kern="1200" smtClean="0">
                <a:solidFill>
                  <a:schemeClr val="tx1"/>
                </a:solidFill>
                <a:latin typeface="Roboto" charset="0"/>
                <a:ea typeface="Roboto" charset="0"/>
                <a:cs typeface="Roboto" charset="0"/>
              </a:rPr>
              <a:pPr marL="0" lvl="0" algn="l" defTabSz="457063" rtl="0" eaLnBrk="1" latinLnBrk="0" hangingPunct="1"/>
              <a:t>‹#›</a:t>
            </a:fld>
            <a:endParaRPr lang="en-US" sz="1100" b="0" i="0" kern="1200">
              <a:solidFill>
                <a:schemeClr val="tx1"/>
              </a:solidFill>
              <a:latin typeface="Roboto" charset="0"/>
              <a:ea typeface="Roboto" charset="0"/>
              <a:cs typeface="Roboto" charset="0"/>
            </a:endParaRPr>
          </a:p>
        </p:txBody>
      </p:sp>
      <p:pic>
        <p:nvPicPr>
          <p:cNvPr id="12" name="Picture 11">
            <a:extLst>
              <a:ext uri="{FF2B5EF4-FFF2-40B4-BE49-F238E27FC236}">
                <a16:creationId xmlns:a16="http://schemas.microsoft.com/office/drawing/2014/main" id="{31F6F9B7-4BF5-D944-8CFD-C7F76DC4B413}"/>
              </a:ext>
            </a:extLst>
          </p:cNvPr>
          <p:cNvPicPr>
            <a:picLocks noChangeAspect="1"/>
          </p:cNvPicPr>
          <p:nvPr userDrawn="1"/>
        </p:nvPicPr>
        <p:blipFill>
          <a:blip r:embed="rId2"/>
          <a:stretch>
            <a:fillRect/>
          </a:stretch>
        </p:blipFill>
        <p:spPr>
          <a:xfrm>
            <a:off x="9500616" y="6007610"/>
            <a:ext cx="2478024" cy="849901"/>
          </a:xfrm>
          <a:prstGeom prst="rect">
            <a:avLst/>
          </a:prstGeom>
        </p:spPr>
      </p:pic>
    </p:spTree>
    <p:extLst>
      <p:ext uri="{BB962C8B-B14F-4D97-AF65-F5344CB8AC3E}">
        <p14:creationId xmlns:p14="http://schemas.microsoft.com/office/powerpoint/2010/main" val="172312234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1_Maximum Content_1">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74D450C-B208-7946-83CD-71C044D8E11D}"/>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16000"/>
                    </a14:imgEffect>
                  </a14:imgLayer>
                </a14:imgProps>
              </a:ext>
            </a:extLst>
          </a:blip>
          <a:srcRect l="2390" t="28246" b="30635"/>
          <a:stretch/>
        </p:blipFill>
        <p:spPr>
          <a:xfrm flipH="1">
            <a:off x="-14" y="0"/>
            <a:ext cx="12188826" cy="6846277"/>
          </a:xfrm>
          <a:prstGeom prst="rect">
            <a:avLst/>
          </a:prstGeom>
        </p:spPr>
      </p:pic>
      <p:sp>
        <p:nvSpPr>
          <p:cNvPr id="2" name="Title 1"/>
          <p:cNvSpPr>
            <a:spLocks noGrp="1"/>
          </p:cNvSpPr>
          <p:nvPr userDrawn="1">
            <p:ph type="title" hasCustomPrompt="1"/>
          </p:nvPr>
        </p:nvSpPr>
        <p:spPr>
          <a:xfrm>
            <a:off x="488950" y="482602"/>
            <a:ext cx="10244141" cy="1066798"/>
          </a:xfrm>
          <a:prstGeom prst="rect">
            <a:avLst/>
          </a:prstGeom>
        </p:spPr>
        <p:txBody>
          <a:bodyPr lIns="0"/>
          <a:lstStyle>
            <a:lvl1pPr>
              <a:defRPr baseline="0">
                <a:solidFill>
                  <a:schemeClr val="bg1"/>
                </a:solidFill>
                <a:latin typeface="+mn-lt"/>
              </a:defRPr>
            </a:lvl1pPr>
          </a:lstStyle>
          <a:p>
            <a:r>
              <a:rPr lang="en-US"/>
              <a:t>Headline Goes Here, Roboto Light, 36 Points, Can Span 2 Lines</a:t>
            </a:r>
          </a:p>
        </p:txBody>
      </p:sp>
      <p:sp>
        <p:nvSpPr>
          <p:cNvPr id="14" name="TextBox 13">
            <a:extLst>
              <a:ext uri="{FF2B5EF4-FFF2-40B4-BE49-F238E27FC236}">
                <a16:creationId xmlns:a16="http://schemas.microsoft.com/office/drawing/2014/main" id="{FD80CF07-4C42-994B-B203-B17FD30EF000}"/>
              </a:ext>
            </a:extLst>
          </p:cNvPr>
          <p:cNvSpPr txBox="1"/>
          <p:nvPr userDrawn="1"/>
        </p:nvSpPr>
        <p:spPr>
          <a:xfrm>
            <a:off x="217209" y="6365105"/>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1000" b="0" i="0" kern="1200" smtClean="0">
                <a:solidFill>
                  <a:schemeClr val="bg1"/>
                </a:solidFill>
                <a:latin typeface="Roboto" charset="0"/>
                <a:ea typeface="Roboto" charset="0"/>
                <a:cs typeface="Roboto" charset="0"/>
              </a:rPr>
              <a:pPr marL="0" lvl="0" algn="ctr" defTabSz="457200" rtl="0" eaLnBrk="1" latinLnBrk="0" hangingPunct="1"/>
              <a:t>‹#›</a:t>
            </a:fld>
            <a:endParaRPr lang="en-US" sz="1000" b="0" i="0" kern="1200">
              <a:solidFill>
                <a:schemeClr val="bg1"/>
              </a:solidFill>
              <a:latin typeface="Roboto" charset="0"/>
              <a:ea typeface="Roboto" charset="0"/>
              <a:cs typeface="Roboto" charset="0"/>
            </a:endParaRPr>
          </a:p>
        </p:txBody>
      </p:sp>
      <p:sp>
        <p:nvSpPr>
          <p:cNvPr id="15" name="TextBox 14">
            <a:extLst>
              <a:ext uri="{FF2B5EF4-FFF2-40B4-BE49-F238E27FC236}">
                <a16:creationId xmlns:a16="http://schemas.microsoft.com/office/drawing/2014/main" id="{E88E2EFA-0651-224B-8EEB-B99FA8D26E0D}"/>
              </a:ext>
            </a:extLst>
          </p:cNvPr>
          <p:cNvSpPr txBox="1"/>
          <p:nvPr userDrawn="1"/>
        </p:nvSpPr>
        <p:spPr>
          <a:xfrm>
            <a:off x="752310" y="639056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900" b="0" i="0">
                <a:solidFill>
                  <a:schemeClr val="bg1">
                    <a:lumMod val="65000"/>
                  </a:schemeClr>
                </a:solidFill>
                <a:latin typeface="Roboto" charset="0"/>
                <a:ea typeface="Roboto" charset="0"/>
                <a:cs typeface="Roboto" charset="0"/>
              </a:rPr>
              <a:t>© Informatica. Proprietary and Confidential.</a:t>
            </a:r>
          </a:p>
        </p:txBody>
      </p:sp>
      <p:sp>
        <p:nvSpPr>
          <p:cNvPr id="10" name="Google Shape;220;p93">
            <a:extLst>
              <a:ext uri="{FF2B5EF4-FFF2-40B4-BE49-F238E27FC236}">
                <a16:creationId xmlns:a16="http://schemas.microsoft.com/office/drawing/2014/main" id="{B86D039E-54F5-C642-BCE7-1DB452C75C57}"/>
              </a:ext>
            </a:extLst>
          </p:cNvPr>
          <p:cNvSpPr txBox="1">
            <a:spLocks noGrp="1"/>
          </p:cNvSpPr>
          <p:nvPr>
            <p:ph type="body" idx="10"/>
          </p:nvPr>
        </p:nvSpPr>
        <p:spPr>
          <a:xfrm>
            <a:off x="493720" y="1557484"/>
            <a:ext cx="10244141" cy="4470400"/>
          </a:xfrm>
          <a:prstGeom prst="rect">
            <a:avLst/>
          </a:prstGeom>
          <a:noFill/>
          <a:ln>
            <a:noFill/>
          </a:ln>
        </p:spPr>
        <p:txBody>
          <a:bodyPr spcFirstLastPara="1" wrap="square" lIns="0" tIns="0" rIns="0" bIns="0" anchor="t" anchorCtr="0">
            <a:noAutofit/>
          </a:bodyPr>
          <a:lstStyle>
            <a:lvl1pPr marL="444500" lvl="0" indent="-342900" algn="l">
              <a:lnSpc>
                <a:spcPct val="95000"/>
              </a:lnSpc>
              <a:spcBef>
                <a:spcPts val="1200"/>
              </a:spcBef>
              <a:spcAft>
                <a:spcPts val="0"/>
              </a:spcAft>
              <a:buClr>
                <a:schemeClr val="accent2"/>
              </a:buClr>
              <a:buSzPct val="60000"/>
              <a:buFont typeface="Arial" panose="020B0604020202020204" pitchFamily="34" charset="0"/>
              <a:buChar char="•"/>
              <a:defRPr>
                <a:solidFill>
                  <a:schemeClr val="bg1"/>
                </a:solidFill>
                <a:latin typeface="+mj-lt"/>
              </a:defRPr>
            </a:lvl1pPr>
            <a:lvl2pPr marL="857250" lvl="1" indent="-285750" algn="l">
              <a:lnSpc>
                <a:spcPct val="95000"/>
              </a:lnSpc>
              <a:spcBef>
                <a:spcPts val="600"/>
              </a:spcBef>
              <a:spcAft>
                <a:spcPts val="0"/>
              </a:spcAft>
              <a:buClr>
                <a:schemeClr val="accent2"/>
              </a:buClr>
              <a:buSzPct val="60000"/>
              <a:buFont typeface="Arial" panose="020B0604020202020204" pitchFamily="34" charset="0"/>
              <a:buChar char="•"/>
              <a:defRPr>
                <a:solidFill>
                  <a:schemeClr val="bg1"/>
                </a:solidFill>
                <a:latin typeface="+mj-lt"/>
              </a:defRPr>
            </a:lvl2pPr>
            <a:lvl3pPr marL="1327150" lvl="2" indent="-285750" algn="l">
              <a:lnSpc>
                <a:spcPct val="95000"/>
              </a:lnSpc>
              <a:spcBef>
                <a:spcPts val="600"/>
              </a:spcBef>
              <a:spcAft>
                <a:spcPts val="0"/>
              </a:spcAft>
              <a:buClr>
                <a:schemeClr val="accent2"/>
              </a:buClr>
              <a:buSzPct val="60000"/>
              <a:buFont typeface="Arial" panose="020B0604020202020204" pitchFamily="34" charset="0"/>
              <a:buChar char="•"/>
              <a:defRPr sz="1600" b="0" i="0">
                <a:solidFill>
                  <a:schemeClr val="bg1"/>
                </a:solidFill>
                <a:latin typeface="+mj-lt"/>
                <a:ea typeface="Roboto"/>
                <a:cs typeface="Roboto"/>
                <a:sym typeface="Roboto"/>
              </a:defRPr>
            </a:lvl3pPr>
            <a:lvl4pPr marL="1771650" lvl="3" indent="-285750" algn="l">
              <a:lnSpc>
                <a:spcPct val="95000"/>
              </a:lnSpc>
              <a:spcBef>
                <a:spcPts val="600"/>
              </a:spcBef>
              <a:spcAft>
                <a:spcPts val="0"/>
              </a:spcAft>
              <a:buClr>
                <a:schemeClr val="accent2"/>
              </a:buClr>
              <a:buSzPct val="60000"/>
              <a:buFont typeface="Arial" panose="020B0604020202020204" pitchFamily="34" charset="0"/>
              <a:buChar char="•"/>
              <a:defRPr>
                <a:solidFill>
                  <a:schemeClr val="bg1"/>
                </a:solidFill>
                <a:latin typeface="+mj-lt"/>
              </a:defRPr>
            </a:lvl4pPr>
            <a:lvl5pPr marL="2228850" lvl="4" indent="-285750" algn="l">
              <a:lnSpc>
                <a:spcPct val="95000"/>
              </a:lnSpc>
              <a:spcBef>
                <a:spcPts val="600"/>
              </a:spcBef>
              <a:spcAft>
                <a:spcPts val="0"/>
              </a:spcAft>
              <a:buClr>
                <a:schemeClr val="accent2"/>
              </a:buClr>
              <a:buSzPct val="60000"/>
              <a:buFont typeface="Arial" panose="020B0604020202020204" pitchFamily="34" charset="0"/>
              <a:buChar char="•"/>
              <a:defRPr>
                <a:solidFill>
                  <a:schemeClr val="bg1"/>
                </a:solidFill>
                <a:latin typeface="+mj-lt"/>
              </a:defRPr>
            </a:lvl5pPr>
            <a:lvl6pPr marL="2743200" lvl="5" indent="-342900" algn="l">
              <a:lnSpc>
                <a:spcPct val="90000"/>
              </a:lnSpc>
              <a:spcBef>
                <a:spcPts val="500"/>
              </a:spcBef>
              <a:spcAft>
                <a:spcPts val="0"/>
              </a:spcAft>
              <a:buSzPts val="1800"/>
              <a:buChar char="•"/>
              <a:defRPr/>
            </a:lvl6pPr>
            <a:lvl7pPr marL="3200400" lvl="6" indent="-342900" algn="l">
              <a:lnSpc>
                <a:spcPct val="90000"/>
              </a:lnSpc>
              <a:spcBef>
                <a:spcPts val="1200"/>
              </a:spcBef>
              <a:spcAft>
                <a:spcPts val="0"/>
              </a:spcAft>
              <a:buSzPts val="1800"/>
              <a:buChar char="•"/>
              <a:defRPr/>
            </a:lvl7pPr>
            <a:lvl8pPr marL="3657600" lvl="7" indent="-342900" algn="l">
              <a:lnSpc>
                <a:spcPct val="90000"/>
              </a:lnSpc>
              <a:spcBef>
                <a:spcPts val="1200"/>
              </a:spcBef>
              <a:spcAft>
                <a:spcPts val="0"/>
              </a:spcAft>
              <a:buSzPts val="1800"/>
              <a:buChar char="•"/>
              <a:defRPr/>
            </a:lvl8pPr>
            <a:lvl9pPr marL="4114800" lvl="8" indent="-342900" algn="l">
              <a:lnSpc>
                <a:spcPct val="90000"/>
              </a:lnSpc>
              <a:spcBef>
                <a:spcPts val="1200"/>
              </a:spcBef>
              <a:spcAft>
                <a:spcPts val="1200"/>
              </a:spcAft>
              <a:buSzPts val="1800"/>
              <a:buChar cha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endParaRPr lang="en-US"/>
          </a:p>
        </p:txBody>
      </p:sp>
      <p:pic>
        <p:nvPicPr>
          <p:cNvPr id="11" name="Picture 10">
            <a:extLst>
              <a:ext uri="{FF2B5EF4-FFF2-40B4-BE49-F238E27FC236}">
                <a16:creationId xmlns:a16="http://schemas.microsoft.com/office/drawing/2014/main" id="{E8DFC76C-1048-414B-B18E-9F836B24FBDA}"/>
              </a:ext>
            </a:extLst>
          </p:cNvPr>
          <p:cNvPicPr>
            <a:picLocks noChangeAspect="1"/>
          </p:cNvPicPr>
          <p:nvPr userDrawn="1"/>
        </p:nvPicPr>
        <p:blipFill>
          <a:blip r:embed="rId4"/>
          <a:srcRect/>
          <a:stretch/>
        </p:blipFill>
        <p:spPr>
          <a:xfrm>
            <a:off x="10410360" y="6035968"/>
            <a:ext cx="1642469" cy="756124"/>
          </a:xfrm>
          <a:prstGeom prst="rect">
            <a:avLst/>
          </a:prstGeom>
        </p:spPr>
      </p:pic>
    </p:spTree>
    <p:extLst>
      <p:ext uri="{BB962C8B-B14F-4D97-AF65-F5344CB8AC3E}">
        <p14:creationId xmlns:p14="http://schemas.microsoft.com/office/powerpoint/2010/main" val="3066951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1_Title/Subtitle">
    <p:spTree>
      <p:nvGrpSpPr>
        <p:cNvPr id="1" name=""/>
        <p:cNvGrpSpPr/>
        <p:nvPr/>
      </p:nvGrpSpPr>
      <p:grpSpPr>
        <a:xfrm>
          <a:off x="0" y="0"/>
          <a:ext cx="0" cy="0"/>
          <a:chOff x="0" y="0"/>
          <a:chExt cx="0" cy="0"/>
        </a:xfrm>
      </p:grpSpPr>
      <p:sp>
        <p:nvSpPr>
          <p:cNvPr id="9" name="Right Triangle 8"/>
          <p:cNvSpPr/>
          <p:nvPr userDrawn="1"/>
        </p:nvSpPr>
        <p:spPr>
          <a:xfrm flipH="1" flipV="1">
            <a:off x="11603699" y="-1"/>
            <a:ext cx="585127" cy="1575171"/>
          </a:xfrm>
          <a:prstGeom prst="rtTriangle">
            <a:avLst/>
          </a:prstGeom>
          <a:solidFill>
            <a:srgbClr val="043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p:cNvSpPr>
            <a:spLocks noGrp="1"/>
          </p:cNvSpPr>
          <p:nvPr>
            <p:ph type="title" hasCustomPrompt="1"/>
          </p:nvPr>
        </p:nvSpPr>
        <p:spPr>
          <a:xfrm>
            <a:off x="482475" y="482604"/>
            <a:ext cx="11195177" cy="562427"/>
          </a:xfrm>
        </p:spPr>
        <p:txBody>
          <a:bodyPr/>
          <a:lstStyle>
            <a:lvl1pPr>
              <a:defRPr baseline="0"/>
            </a:lvl1pPr>
          </a:lstStyle>
          <a:p>
            <a:r>
              <a:rPr lang="en-US"/>
              <a:t>Headline goes here, Roboto Light, 36 points, 1 Line</a:t>
            </a:r>
          </a:p>
        </p:txBody>
      </p:sp>
      <p:sp>
        <p:nvSpPr>
          <p:cNvPr id="16" name="TextBox 15"/>
          <p:cNvSpPr txBox="1"/>
          <p:nvPr/>
        </p:nvSpPr>
        <p:spPr>
          <a:xfrm>
            <a:off x="1017531" y="6359524"/>
            <a:ext cx="3117657" cy="179070"/>
          </a:xfrm>
          <a:prstGeom prst="rect">
            <a:avLst/>
          </a:prstGeom>
        </p:spPr>
        <p:txBody>
          <a:bodyPr lIns="0" tIns="0" rIns="0" bIns="0"/>
          <a:lstStyle>
            <a:defPPr>
              <a:defRPr lang="en-US"/>
            </a:defPPr>
            <a:lvl1pPr>
              <a:defRPr sz="1050">
                <a:solidFill>
                  <a:schemeClr val="tx2">
                    <a:lumMod val="50000"/>
                    <a:lumOff val="50000"/>
                  </a:schemeClr>
                </a:solidFill>
                <a:ea typeface="Arial" charset="0"/>
                <a:cs typeface="Arial" charset="0"/>
              </a:defRPr>
            </a:lvl1pPr>
          </a:lstStyle>
          <a:p>
            <a:pPr lvl="0"/>
            <a:r>
              <a:rPr lang="en-US" sz="1100" b="0" i="0">
                <a:solidFill>
                  <a:schemeClr val="tx1"/>
                </a:solidFill>
                <a:latin typeface="Roboto" charset="0"/>
                <a:ea typeface="Roboto" charset="0"/>
                <a:cs typeface="Roboto" charset="0"/>
              </a:rPr>
              <a:t>© Informatica. Proprietary and Confidential.</a:t>
            </a:r>
          </a:p>
        </p:txBody>
      </p:sp>
      <p:sp>
        <p:nvSpPr>
          <p:cNvPr id="17" name="TextBox 16">
            <a:extLst>
              <a:ext uri="{FF2B5EF4-FFF2-40B4-BE49-F238E27FC236}">
                <a16:creationId xmlns:a16="http://schemas.microsoft.com/office/drawing/2014/main" id="{631CFC6C-DED6-4514-936F-934A21FD9CBE}"/>
              </a:ext>
            </a:extLst>
          </p:cNvPr>
          <p:cNvSpPr txBox="1"/>
          <p:nvPr userDrawn="1"/>
        </p:nvSpPr>
        <p:spPr>
          <a:xfrm>
            <a:off x="371400" y="6359526"/>
            <a:ext cx="413896" cy="208701"/>
          </a:xfrm>
          <a:prstGeom prst="rect">
            <a:avLst/>
          </a:prstGeom>
        </p:spPr>
        <p:txBody>
          <a:bodyPr lIns="0" tIns="0" rIns="0" bIns="91416"/>
          <a:lstStyle>
            <a:defPPr>
              <a:defRPr lang="en-US"/>
            </a:defPPr>
            <a:lvl1pPr>
              <a:defRPr sz="1100">
                <a:solidFill>
                  <a:schemeClr val="tx2">
                    <a:lumMod val="50000"/>
                    <a:lumOff val="50000"/>
                  </a:schemeClr>
                </a:solidFill>
              </a:defRPr>
            </a:lvl1pPr>
          </a:lstStyle>
          <a:p>
            <a:pPr marL="0" lvl="0" algn="l" defTabSz="457063" rtl="0" eaLnBrk="1" latinLnBrk="0" hangingPunct="1"/>
            <a:fld id="{64202F7F-356F-46E2-8791-88745C87F5D9}" type="slidenum">
              <a:rPr lang="en-US" sz="1100" b="0" i="0" kern="1200" smtClean="0">
                <a:solidFill>
                  <a:schemeClr val="tx1"/>
                </a:solidFill>
                <a:latin typeface="Roboto" charset="0"/>
                <a:ea typeface="Roboto" charset="0"/>
                <a:cs typeface="Roboto" charset="0"/>
              </a:rPr>
              <a:pPr marL="0" lvl="0" algn="l" defTabSz="457063" rtl="0" eaLnBrk="1" latinLnBrk="0" hangingPunct="1"/>
              <a:t>‹#›</a:t>
            </a:fld>
            <a:endParaRPr lang="en-US" sz="1100" b="0" i="0" kern="1200">
              <a:solidFill>
                <a:schemeClr val="tx1"/>
              </a:solidFill>
              <a:latin typeface="Roboto" charset="0"/>
              <a:ea typeface="Roboto" charset="0"/>
              <a:cs typeface="Roboto" charset="0"/>
            </a:endParaRPr>
          </a:p>
        </p:txBody>
      </p:sp>
      <p:sp>
        <p:nvSpPr>
          <p:cNvPr id="18" name="TextBox 17">
            <a:extLst>
              <a:ext uri="{FF2B5EF4-FFF2-40B4-BE49-F238E27FC236}">
                <a16:creationId xmlns:a16="http://schemas.microsoft.com/office/drawing/2014/main" id="{4A2F6285-DBD5-422A-A27D-7197AA1BD15D}"/>
              </a:ext>
            </a:extLst>
          </p:cNvPr>
          <p:cNvSpPr txBox="1"/>
          <p:nvPr userDrawn="1"/>
        </p:nvSpPr>
        <p:spPr>
          <a:xfrm>
            <a:off x="371400" y="6359526"/>
            <a:ext cx="413896" cy="208701"/>
          </a:xfrm>
          <a:prstGeom prst="rect">
            <a:avLst/>
          </a:prstGeom>
        </p:spPr>
        <p:txBody>
          <a:bodyPr lIns="0" tIns="0" rIns="0" bIns="91416"/>
          <a:lstStyle>
            <a:defPPr>
              <a:defRPr lang="en-US"/>
            </a:defPPr>
            <a:lvl1pPr>
              <a:defRPr sz="1100">
                <a:solidFill>
                  <a:schemeClr val="tx2">
                    <a:lumMod val="50000"/>
                    <a:lumOff val="50000"/>
                  </a:schemeClr>
                </a:solidFill>
              </a:defRPr>
            </a:lvl1pPr>
          </a:lstStyle>
          <a:p>
            <a:pPr marL="0" lvl="0" algn="l" defTabSz="457063" rtl="0" eaLnBrk="1" latinLnBrk="0" hangingPunct="1"/>
            <a:fld id="{64202F7F-356F-46E2-8791-88745C87F5D9}" type="slidenum">
              <a:rPr lang="en-US" sz="1100" b="0" i="0" kern="1200" smtClean="0">
                <a:solidFill>
                  <a:schemeClr val="tx1"/>
                </a:solidFill>
                <a:latin typeface="Roboto" charset="0"/>
                <a:ea typeface="Roboto" charset="0"/>
                <a:cs typeface="Roboto" charset="0"/>
              </a:rPr>
              <a:pPr marL="0" lvl="0" algn="l" defTabSz="457063" rtl="0" eaLnBrk="1" latinLnBrk="0" hangingPunct="1"/>
              <a:t>‹#›</a:t>
            </a:fld>
            <a:endParaRPr lang="en-US" sz="1100" b="0" i="0" kern="1200">
              <a:solidFill>
                <a:schemeClr val="tx1"/>
              </a:solidFill>
              <a:latin typeface="Roboto" charset="0"/>
              <a:ea typeface="Roboto" charset="0"/>
              <a:cs typeface="Roboto" charset="0"/>
            </a:endParaRPr>
          </a:p>
        </p:txBody>
      </p:sp>
      <p:sp>
        <p:nvSpPr>
          <p:cNvPr id="10" name="Text Placeholder 4">
            <a:extLst>
              <a:ext uri="{FF2B5EF4-FFF2-40B4-BE49-F238E27FC236}">
                <a16:creationId xmlns:a16="http://schemas.microsoft.com/office/drawing/2014/main" id="{D5BDB60F-DCDA-4FA8-AFD2-4EF745C79259}"/>
              </a:ext>
            </a:extLst>
          </p:cNvPr>
          <p:cNvSpPr>
            <a:spLocks noGrp="1"/>
          </p:cNvSpPr>
          <p:nvPr>
            <p:ph type="body" sz="quarter" idx="13" hasCustomPrompt="1"/>
          </p:nvPr>
        </p:nvSpPr>
        <p:spPr>
          <a:xfrm>
            <a:off x="498308" y="1147983"/>
            <a:ext cx="11183937" cy="331601"/>
          </a:xfrm>
        </p:spPr>
        <p:txBody>
          <a:bodyPr anchor="t"/>
          <a:lstStyle>
            <a:lvl1pPr marL="0" indent="0">
              <a:buNone/>
              <a:defRPr sz="2399" i="0">
                <a:solidFill>
                  <a:schemeClr val="bg1">
                    <a:lumMod val="50000"/>
                  </a:schemeClr>
                </a:solidFill>
              </a:defRPr>
            </a:lvl1pPr>
            <a:lvl2pPr marL="169812" indent="0">
              <a:buNone/>
              <a:defRPr/>
            </a:lvl2pPr>
            <a:lvl3pPr marL="344384" indent="0">
              <a:buNone/>
              <a:defRPr/>
            </a:lvl3pPr>
            <a:lvl4pPr marL="458650" indent="0">
              <a:buNone/>
              <a:defRPr/>
            </a:lvl4pPr>
            <a:lvl5pPr marL="630048" indent="0">
              <a:buNone/>
              <a:defRPr/>
            </a:lvl5pPr>
          </a:lstStyle>
          <a:p>
            <a:pPr lvl="0"/>
            <a:r>
              <a:rPr lang="en-US"/>
              <a:t>Subtitle goes here, </a:t>
            </a:r>
            <a:r>
              <a:rPr lang="en-US" err="1"/>
              <a:t>Roboto</a:t>
            </a:r>
            <a:r>
              <a:rPr lang="en-US"/>
              <a:t> Regular 24 point, no longer than one line</a:t>
            </a:r>
          </a:p>
        </p:txBody>
      </p:sp>
      <p:pic>
        <p:nvPicPr>
          <p:cNvPr id="11" name="Picture 10">
            <a:extLst>
              <a:ext uri="{FF2B5EF4-FFF2-40B4-BE49-F238E27FC236}">
                <a16:creationId xmlns:a16="http://schemas.microsoft.com/office/drawing/2014/main" id="{433C50F7-FFE1-8641-B8F6-0AEE91F199B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00616" y="6007610"/>
            <a:ext cx="2478024" cy="849901"/>
          </a:xfrm>
          <a:prstGeom prst="rect">
            <a:avLst/>
          </a:prstGeom>
        </p:spPr>
      </p:pic>
    </p:spTree>
    <p:extLst>
      <p:ext uri="{BB962C8B-B14F-4D97-AF65-F5344CB8AC3E}">
        <p14:creationId xmlns:p14="http://schemas.microsoft.com/office/powerpoint/2010/main" val="31032114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Subtitle/Content_Blank">
    <p:spTree>
      <p:nvGrpSpPr>
        <p:cNvPr id="1" name=""/>
        <p:cNvGrpSpPr/>
        <p:nvPr/>
      </p:nvGrpSpPr>
      <p:grpSpPr>
        <a:xfrm>
          <a:off x="0" y="0"/>
          <a:ext cx="0" cy="0"/>
          <a:chOff x="0" y="0"/>
          <a:chExt cx="0" cy="0"/>
        </a:xfrm>
      </p:grpSpPr>
      <p:sp>
        <p:nvSpPr>
          <p:cNvPr id="11" name="Content Placeholder 5">
            <a:extLst>
              <a:ext uri="{FF2B5EF4-FFF2-40B4-BE49-F238E27FC236}">
                <a16:creationId xmlns:a16="http://schemas.microsoft.com/office/drawing/2014/main" id="{956D1FDC-5FA5-4B2D-A5AA-86637FA3B976}"/>
              </a:ext>
            </a:extLst>
          </p:cNvPr>
          <p:cNvSpPr>
            <a:spLocks noGrp="1"/>
          </p:cNvSpPr>
          <p:nvPr userDrawn="1">
            <p:ph sz="quarter" idx="14" hasCustomPrompt="1"/>
          </p:nvPr>
        </p:nvSpPr>
        <p:spPr>
          <a:xfrm>
            <a:off x="1027113" y="1854200"/>
            <a:ext cx="10650537" cy="4165600"/>
          </a:xfrm>
        </p:spPr>
        <p:txBody>
          <a:bodyPr vert="horz" lIns="0" tIns="0" rIns="0" bIns="0" rtlCol="0">
            <a:noAutofit/>
          </a:bodyPr>
          <a:lstStyle>
            <a:lvl1pPr>
              <a:spcBef>
                <a:spcPts val="1200"/>
              </a:spcBef>
              <a:defRPr lang="en-US" dirty="0"/>
            </a:lvl1pPr>
            <a:lvl2pPr>
              <a:spcBef>
                <a:spcPts val="600"/>
              </a:spcBef>
              <a:defRPr lang="en-US" dirty="0"/>
            </a:lvl2pPr>
            <a:lvl3pPr>
              <a:spcBef>
                <a:spcPts val="600"/>
              </a:spcBef>
              <a:defRPr lang="en-US" dirty="0"/>
            </a:lvl3pPr>
          </a:lstStyle>
          <a:p>
            <a:pPr lvl="0"/>
            <a:r>
              <a:rPr lang="en-US" dirty="0"/>
              <a:t>First bullet, Roboto Regular 20 point</a:t>
            </a:r>
          </a:p>
          <a:p>
            <a:pPr lvl="1"/>
            <a:r>
              <a:rPr lang="en-US" dirty="0"/>
              <a:t>Second bullet, </a:t>
            </a:r>
            <a:r>
              <a:rPr lang="en-US" dirty="0" err="1"/>
              <a:t>Roboto</a:t>
            </a:r>
            <a:r>
              <a:rPr lang="en-US" dirty="0"/>
              <a:t> Regular 18 point</a:t>
            </a:r>
          </a:p>
          <a:p>
            <a:pPr lvl="2"/>
            <a:r>
              <a:rPr lang="en-US" dirty="0"/>
              <a:t>Third bullet, </a:t>
            </a:r>
            <a:r>
              <a:rPr lang="en-US" dirty="0" err="1"/>
              <a:t>Roboto</a:t>
            </a:r>
            <a:r>
              <a:rPr lang="en-US" dirty="0"/>
              <a:t> Regular 16 point</a:t>
            </a:r>
          </a:p>
        </p:txBody>
      </p:sp>
      <p:sp>
        <p:nvSpPr>
          <p:cNvPr id="8" name="Title 1">
            <a:extLst>
              <a:ext uri="{FF2B5EF4-FFF2-40B4-BE49-F238E27FC236}">
                <a16:creationId xmlns:a16="http://schemas.microsoft.com/office/drawing/2014/main" id="{DDF86008-B6B4-4244-92CC-15E0BAF4CCE0}"/>
              </a:ext>
            </a:extLst>
          </p:cNvPr>
          <p:cNvSpPr>
            <a:spLocks noGrp="1"/>
          </p:cNvSpPr>
          <p:nvPr>
            <p:ph type="title" hasCustomPrompt="1"/>
          </p:nvPr>
        </p:nvSpPr>
        <p:spPr>
          <a:xfrm>
            <a:off x="488950" y="482602"/>
            <a:ext cx="11188700" cy="562427"/>
          </a:xfrm>
          <a:prstGeom prst="rect">
            <a:avLst/>
          </a:prstGeom>
        </p:spPr>
        <p:txBody>
          <a:bodyPr lIns="0"/>
          <a:lstStyle>
            <a:lvl1pPr>
              <a:defRPr baseline="0">
                <a:solidFill>
                  <a:schemeClr val="tx1"/>
                </a:solidFill>
              </a:defRPr>
            </a:lvl1pPr>
          </a:lstStyle>
          <a:p>
            <a:r>
              <a:rPr lang="en-US" dirty="0"/>
              <a:t>Headline Goes Here, Roboto Light, 36 Points, 1 Line</a:t>
            </a:r>
          </a:p>
        </p:txBody>
      </p:sp>
      <p:sp>
        <p:nvSpPr>
          <p:cNvPr id="12" name="Text Placeholder 4">
            <a:extLst>
              <a:ext uri="{FF2B5EF4-FFF2-40B4-BE49-F238E27FC236}">
                <a16:creationId xmlns:a16="http://schemas.microsoft.com/office/drawing/2014/main" id="{67AF7D5F-3F5A-8841-9F79-8B38AF91EC30}"/>
              </a:ext>
            </a:extLst>
          </p:cNvPr>
          <p:cNvSpPr>
            <a:spLocks noGrp="1"/>
          </p:cNvSpPr>
          <p:nvPr>
            <p:ph type="body" sz="quarter" idx="13" hasCustomPrompt="1"/>
          </p:nvPr>
        </p:nvSpPr>
        <p:spPr>
          <a:xfrm>
            <a:off x="488951" y="1043417"/>
            <a:ext cx="11193296" cy="331601"/>
          </a:xfrm>
        </p:spPr>
        <p:txBody>
          <a:bodyPr anchor="t"/>
          <a:lstStyle>
            <a:lvl1pPr marL="0" indent="0">
              <a:buNone/>
              <a:defRPr sz="2400" i="0">
                <a:solidFill>
                  <a:schemeClr val="bg1">
                    <a:lumMod val="50000"/>
                  </a:schemeClr>
                </a:solidFill>
              </a:defRPr>
            </a:lvl1pPr>
            <a:lvl2pPr marL="169863" indent="0">
              <a:buNone/>
              <a:defRPr/>
            </a:lvl2pPr>
            <a:lvl3pPr marL="344487" indent="0">
              <a:buNone/>
              <a:defRPr/>
            </a:lvl3pPr>
            <a:lvl4pPr marL="458788" indent="0">
              <a:buNone/>
              <a:defRPr/>
            </a:lvl4pPr>
            <a:lvl5pPr marL="630237" indent="0">
              <a:buNone/>
              <a:defRPr/>
            </a:lvl5pPr>
          </a:lstStyle>
          <a:p>
            <a:pPr lvl="0"/>
            <a:r>
              <a:rPr lang="en-US" dirty="0"/>
              <a:t>Subtitle goes here, </a:t>
            </a:r>
            <a:r>
              <a:rPr lang="en-US" dirty="0" err="1"/>
              <a:t>Roboto</a:t>
            </a:r>
            <a:r>
              <a:rPr lang="en-US" dirty="0"/>
              <a:t> Regular 24 point, no longer than one line</a:t>
            </a:r>
          </a:p>
        </p:txBody>
      </p:sp>
    </p:spTree>
    <p:extLst>
      <p:ext uri="{BB962C8B-B14F-4D97-AF65-F5344CB8AC3E}">
        <p14:creationId xmlns:p14="http://schemas.microsoft.com/office/powerpoint/2010/main" val="3093254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type="tx">
  <p:cSld name="Main BG copy">
    <p:bg>
      <p:bgPr>
        <a:solidFill>
          <a:srgbClr val="383838"/>
        </a:solidFill>
        <a:effectLst/>
      </p:bgPr>
    </p:bg>
    <p:spTree>
      <p:nvGrpSpPr>
        <p:cNvPr id="1" name=""/>
        <p:cNvGrpSpPr/>
        <p:nvPr/>
      </p:nvGrpSpPr>
      <p:grpSpPr>
        <a:xfrm>
          <a:off x="0" y="0"/>
          <a:ext cx="0" cy="0"/>
          <a:chOff x="0" y="0"/>
          <a:chExt cx="0" cy="0"/>
        </a:xfrm>
      </p:grpSpPr>
      <p:sp>
        <p:nvSpPr>
          <p:cNvPr id="149" name="Rectangle"/>
          <p:cNvSpPr/>
          <p:nvPr/>
        </p:nvSpPr>
        <p:spPr>
          <a:xfrm>
            <a:off x="4199430" y="-1"/>
            <a:ext cx="7989395" cy="6858001"/>
          </a:xfrm>
          <a:prstGeom prst="rect">
            <a:avLst/>
          </a:prstGeom>
          <a:gradFill>
            <a:gsLst>
              <a:gs pos="11059">
                <a:srgbClr val="000000">
                  <a:alpha val="0"/>
                </a:srgbClr>
              </a:gs>
              <a:gs pos="100000">
                <a:srgbClr val="000000">
                  <a:alpha val="70926"/>
                </a:srgbClr>
              </a:gs>
            </a:gsLst>
          </a:gradFill>
          <a:ln w="12700">
            <a:miter lim="400000"/>
          </a:ln>
        </p:spPr>
        <p:txBody>
          <a:bodyPr lIns="29329" tIns="29329" rIns="29329" bIns="29329" anchor="ctr"/>
          <a:lstStyle/>
          <a:p>
            <a:pPr algn="l" defTabSz="412667">
              <a:defRPr sz="3000">
                <a:latin typeface="Roboto"/>
                <a:ea typeface="Roboto"/>
                <a:cs typeface="Roboto"/>
                <a:sym typeface="Roboto"/>
              </a:defRPr>
            </a:pPr>
            <a:endParaRPr sz="1500"/>
          </a:p>
        </p:txBody>
      </p:sp>
      <p:pic>
        <p:nvPicPr>
          <p:cNvPr id="150" name="spiral.png" descr="spiral.png"/>
          <p:cNvPicPr>
            <a:picLocks noChangeAspect="1"/>
          </p:cNvPicPr>
          <p:nvPr/>
        </p:nvPicPr>
        <p:blipFill>
          <a:blip r:embed="rId2">
            <a:extLst>
              <a:ext uri="{28A0092B-C50C-407E-A947-70E740481C1C}">
                <a14:useLocalDpi xmlns:a14="http://schemas.microsoft.com/office/drawing/2010/main"/>
              </a:ext>
            </a:extLst>
          </a:blip>
          <a:srcRect/>
          <a:stretch>
            <a:fillRect/>
          </a:stretch>
        </p:blipFill>
        <p:spPr>
          <a:xfrm>
            <a:off x="8718776" y="0"/>
            <a:ext cx="3470049" cy="6858024"/>
          </a:xfrm>
          <a:prstGeom prst="rect">
            <a:avLst/>
          </a:prstGeom>
          <a:ln w="12700">
            <a:miter lim="400000"/>
          </a:ln>
        </p:spPr>
      </p:pic>
    </p:spTree>
    <p:extLst>
      <p:ext uri="{BB962C8B-B14F-4D97-AF65-F5344CB8AC3E}">
        <p14:creationId xmlns:p14="http://schemas.microsoft.com/office/powerpoint/2010/main" val="1998191721"/>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Subtitle/Content_Blank+Logo">
    <p:spTree>
      <p:nvGrpSpPr>
        <p:cNvPr id="1" name=""/>
        <p:cNvGrpSpPr/>
        <p:nvPr/>
      </p:nvGrpSpPr>
      <p:grpSpPr>
        <a:xfrm>
          <a:off x="0" y="0"/>
          <a:ext cx="0" cy="0"/>
          <a:chOff x="0" y="0"/>
          <a:chExt cx="0" cy="0"/>
        </a:xfrm>
      </p:grpSpPr>
      <p:sp>
        <p:nvSpPr>
          <p:cNvPr id="11" name="Content Placeholder 5">
            <a:extLst>
              <a:ext uri="{FF2B5EF4-FFF2-40B4-BE49-F238E27FC236}">
                <a16:creationId xmlns:a16="http://schemas.microsoft.com/office/drawing/2014/main" id="{956D1FDC-5FA5-4B2D-A5AA-86637FA3B976}"/>
              </a:ext>
            </a:extLst>
          </p:cNvPr>
          <p:cNvSpPr>
            <a:spLocks noGrp="1"/>
          </p:cNvSpPr>
          <p:nvPr userDrawn="1">
            <p:ph sz="quarter" idx="14" hasCustomPrompt="1"/>
          </p:nvPr>
        </p:nvSpPr>
        <p:spPr>
          <a:xfrm>
            <a:off x="1027113" y="1854200"/>
            <a:ext cx="10650537" cy="4165600"/>
          </a:xfrm>
        </p:spPr>
        <p:txBody>
          <a:bodyPr vert="horz" lIns="0" tIns="0" rIns="0" bIns="0" rtlCol="0">
            <a:noAutofit/>
          </a:bodyPr>
          <a:lstStyle>
            <a:lvl1pPr>
              <a:spcBef>
                <a:spcPts val="1200"/>
              </a:spcBef>
              <a:defRPr lang="en-US" dirty="0"/>
            </a:lvl1pPr>
            <a:lvl2pPr>
              <a:spcBef>
                <a:spcPts val="600"/>
              </a:spcBef>
              <a:defRPr lang="en-US" dirty="0"/>
            </a:lvl2pPr>
            <a:lvl3pPr>
              <a:spcBef>
                <a:spcPts val="600"/>
              </a:spcBef>
              <a:defRPr lang="en-US" dirty="0"/>
            </a:lvl3pPr>
          </a:lstStyle>
          <a:p>
            <a:pPr lvl="0"/>
            <a:r>
              <a:rPr lang="en-US" dirty="0"/>
              <a:t>First bullet, Roboto Regular 20 point</a:t>
            </a:r>
          </a:p>
          <a:p>
            <a:pPr lvl="1"/>
            <a:r>
              <a:rPr lang="en-US" dirty="0"/>
              <a:t>Second bullet, </a:t>
            </a:r>
            <a:r>
              <a:rPr lang="en-US" dirty="0" err="1"/>
              <a:t>Roboto</a:t>
            </a:r>
            <a:r>
              <a:rPr lang="en-US" dirty="0"/>
              <a:t> Regular 18 point</a:t>
            </a:r>
          </a:p>
          <a:p>
            <a:pPr lvl="2"/>
            <a:r>
              <a:rPr lang="en-US" dirty="0"/>
              <a:t>Third bullet, </a:t>
            </a:r>
            <a:r>
              <a:rPr lang="en-US" dirty="0" err="1"/>
              <a:t>Roboto</a:t>
            </a:r>
            <a:r>
              <a:rPr lang="en-US" dirty="0"/>
              <a:t> Regular 16 point</a:t>
            </a:r>
          </a:p>
        </p:txBody>
      </p:sp>
      <p:sp>
        <p:nvSpPr>
          <p:cNvPr id="23" name="TextBox 22">
            <a:extLst>
              <a:ext uri="{FF2B5EF4-FFF2-40B4-BE49-F238E27FC236}">
                <a16:creationId xmlns:a16="http://schemas.microsoft.com/office/drawing/2014/main" id="{BCF260CE-EC9E-49A9-9345-D0C73BFC8564}"/>
              </a:ext>
            </a:extLst>
          </p:cNvPr>
          <p:cNvSpPr txBox="1"/>
          <p:nvPr userDrawn="1"/>
        </p:nvSpPr>
        <p:spPr>
          <a:xfrm>
            <a:off x="176868" y="6365106"/>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900" b="0" i="0" kern="1200" smtClean="0">
                <a:solidFill>
                  <a:schemeClr val="tx1"/>
                </a:solidFill>
                <a:latin typeface="Roboto" charset="0"/>
                <a:ea typeface="Roboto" charset="0"/>
                <a:cs typeface="Roboto" charset="0"/>
              </a:rPr>
              <a:pPr marL="0" lvl="0" algn="ctr" defTabSz="457200" rtl="0" eaLnBrk="1" latinLnBrk="0" hangingPunct="1"/>
              <a:t>‹#›</a:t>
            </a:fld>
            <a:endParaRPr lang="en-US" sz="900" b="0" i="0" kern="1200" dirty="0">
              <a:solidFill>
                <a:schemeClr val="tx1"/>
              </a:solidFill>
              <a:latin typeface="Roboto" charset="0"/>
              <a:ea typeface="Roboto" charset="0"/>
              <a:cs typeface="Roboto" charset="0"/>
            </a:endParaRPr>
          </a:p>
        </p:txBody>
      </p:sp>
      <p:sp>
        <p:nvSpPr>
          <p:cNvPr id="3" name="TextBox 2">
            <a:extLst>
              <a:ext uri="{FF2B5EF4-FFF2-40B4-BE49-F238E27FC236}">
                <a16:creationId xmlns:a16="http://schemas.microsoft.com/office/drawing/2014/main" id="{8FE6C657-C7BA-4DE2-8E6E-209687CFF525}"/>
              </a:ext>
            </a:extLst>
          </p:cNvPr>
          <p:cNvSpPr txBox="1"/>
          <p:nvPr userDrawn="1"/>
        </p:nvSpPr>
        <p:spPr>
          <a:xfrm>
            <a:off x="1023708"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dirty="0">
                <a:solidFill>
                  <a:schemeClr val="tx1"/>
                </a:solidFill>
                <a:latin typeface="Roboto" charset="0"/>
                <a:ea typeface="Roboto" charset="0"/>
                <a:cs typeface="Roboto" charset="0"/>
              </a:rPr>
              <a:t>© Informatica. Proprietary and Confidential.</a:t>
            </a:r>
          </a:p>
        </p:txBody>
      </p:sp>
      <p:pic>
        <p:nvPicPr>
          <p:cNvPr id="8" name="Picture 7">
            <a:extLst>
              <a:ext uri="{FF2B5EF4-FFF2-40B4-BE49-F238E27FC236}">
                <a16:creationId xmlns:a16="http://schemas.microsoft.com/office/drawing/2014/main" id="{D2EE5688-6B5D-CA46-BB12-2D99812EF6A1}"/>
              </a:ext>
            </a:extLst>
          </p:cNvPr>
          <p:cNvPicPr>
            <a:picLocks noChangeAspect="1"/>
          </p:cNvPicPr>
          <p:nvPr userDrawn="1"/>
        </p:nvPicPr>
        <p:blipFill>
          <a:blip r:embed="rId2"/>
          <a:stretch>
            <a:fillRect/>
          </a:stretch>
        </p:blipFill>
        <p:spPr>
          <a:xfrm>
            <a:off x="9743687" y="6098796"/>
            <a:ext cx="2040934" cy="699990"/>
          </a:xfrm>
          <a:prstGeom prst="rect">
            <a:avLst/>
          </a:prstGeom>
        </p:spPr>
      </p:pic>
      <p:sp>
        <p:nvSpPr>
          <p:cNvPr id="10" name="Title 1">
            <a:extLst>
              <a:ext uri="{FF2B5EF4-FFF2-40B4-BE49-F238E27FC236}">
                <a16:creationId xmlns:a16="http://schemas.microsoft.com/office/drawing/2014/main" id="{54C1291C-3A26-164B-8647-FF3DCE0321A4}"/>
              </a:ext>
            </a:extLst>
          </p:cNvPr>
          <p:cNvSpPr>
            <a:spLocks noGrp="1"/>
          </p:cNvSpPr>
          <p:nvPr>
            <p:ph type="title" hasCustomPrompt="1"/>
          </p:nvPr>
        </p:nvSpPr>
        <p:spPr>
          <a:xfrm>
            <a:off x="488950" y="482602"/>
            <a:ext cx="11188700" cy="562427"/>
          </a:xfrm>
          <a:prstGeom prst="rect">
            <a:avLst/>
          </a:prstGeom>
        </p:spPr>
        <p:txBody>
          <a:bodyPr lIns="0"/>
          <a:lstStyle>
            <a:lvl1pPr>
              <a:defRPr baseline="0">
                <a:solidFill>
                  <a:schemeClr val="tx1"/>
                </a:solidFill>
              </a:defRPr>
            </a:lvl1pPr>
          </a:lstStyle>
          <a:p>
            <a:r>
              <a:rPr lang="en-US" dirty="0"/>
              <a:t>Headline Goes Here, Roboto Light, 36 Points, 1 Line</a:t>
            </a:r>
          </a:p>
        </p:txBody>
      </p:sp>
      <p:sp>
        <p:nvSpPr>
          <p:cNvPr id="16" name="Text Placeholder 4">
            <a:extLst>
              <a:ext uri="{FF2B5EF4-FFF2-40B4-BE49-F238E27FC236}">
                <a16:creationId xmlns:a16="http://schemas.microsoft.com/office/drawing/2014/main" id="{AD4C3FDB-DB8D-E445-B6BF-BA9B40E84A44}"/>
              </a:ext>
            </a:extLst>
          </p:cNvPr>
          <p:cNvSpPr>
            <a:spLocks noGrp="1"/>
          </p:cNvSpPr>
          <p:nvPr>
            <p:ph type="body" sz="quarter" idx="13" hasCustomPrompt="1"/>
          </p:nvPr>
        </p:nvSpPr>
        <p:spPr>
          <a:xfrm>
            <a:off x="488951" y="1043417"/>
            <a:ext cx="11193296" cy="331601"/>
          </a:xfrm>
        </p:spPr>
        <p:txBody>
          <a:bodyPr anchor="t"/>
          <a:lstStyle>
            <a:lvl1pPr marL="0" indent="0">
              <a:buNone/>
              <a:defRPr sz="2400" i="0">
                <a:solidFill>
                  <a:schemeClr val="bg1">
                    <a:lumMod val="50000"/>
                  </a:schemeClr>
                </a:solidFill>
              </a:defRPr>
            </a:lvl1pPr>
            <a:lvl2pPr marL="169863" indent="0">
              <a:buNone/>
              <a:defRPr/>
            </a:lvl2pPr>
            <a:lvl3pPr marL="344487" indent="0">
              <a:buNone/>
              <a:defRPr/>
            </a:lvl3pPr>
            <a:lvl4pPr marL="458788" indent="0">
              <a:buNone/>
              <a:defRPr/>
            </a:lvl4pPr>
            <a:lvl5pPr marL="630237" indent="0">
              <a:buNone/>
              <a:defRPr/>
            </a:lvl5pPr>
          </a:lstStyle>
          <a:p>
            <a:pPr lvl="0"/>
            <a:r>
              <a:rPr lang="en-US" dirty="0"/>
              <a:t>Subtitle goes here, </a:t>
            </a:r>
            <a:r>
              <a:rPr lang="en-US" dirty="0" err="1"/>
              <a:t>Roboto</a:t>
            </a:r>
            <a:r>
              <a:rPr lang="en-US" dirty="0"/>
              <a:t> Regular 24 point, no longer than one line</a:t>
            </a:r>
          </a:p>
        </p:txBody>
      </p:sp>
    </p:spTree>
    <p:extLst>
      <p:ext uri="{BB962C8B-B14F-4D97-AF65-F5344CB8AC3E}">
        <p14:creationId xmlns:p14="http://schemas.microsoft.com/office/powerpoint/2010/main" val="1724168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Content/no subhea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3507B6BE-1E7D-4A14-B834-59AE4FB6E669}"/>
              </a:ext>
            </a:extLst>
          </p:cNvPr>
          <p:cNvSpPr txBox="1"/>
          <p:nvPr userDrawn="1"/>
        </p:nvSpPr>
        <p:spPr>
          <a:xfrm>
            <a:off x="1023708"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dirty="0">
                <a:solidFill>
                  <a:schemeClr val="tx1"/>
                </a:solidFill>
                <a:latin typeface="Roboto" charset="0"/>
                <a:ea typeface="Roboto" charset="0"/>
                <a:cs typeface="Roboto" charset="0"/>
              </a:rPr>
              <a:t>© Informatica. Proprietary and Confidential.</a:t>
            </a:r>
          </a:p>
        </p:txBody>
      </p:sp>
      <p:sp>
        <p:nvSpPr>
          <p:cNvPr id="23" name="TextBox 22">
            <a:extLst>
              <a:ext uri="{FF2B5EF4-FFF2-40B4-BE49-F238E27FC236}">
                <a16:creationId xmlns:a16="http://schemas.microsoft.com/office/drawing/2014/main" id="{BCF260CE-EC9E-49A9-9345-D0C73BFC8564}"/>
              </a:ext>
            </a:extLst>
          </p:cNvPr>
          <p:cNvSpPr txBox="1"/>
          <p:nvPr userDrawn="1"/>
        </p:nvSpPr>
        <p:spPr>
          <a:xfrm>
            <a:off x="176868" y="6365106"/>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900" b="0" i="0" kern="1200" smtClean="0">
                <a:solidFill>
                  <a:schemeClr val="bg1"/>
                </a:solidFill>
                <a:latin typeface="Roboto" charset="0"/>
                <a:ea typeface="Roboto" charset="0"/>
                <a:cs typeface="Roboto" charset="0"/>
              </a:rPr>
              <a:pPr marL="0" lvl="0" algn="ctr" defTabSz="457200" rtl="0" eaLnBrk="1" latinLnBrk="0" hangingPunct="1"/>
              <a:t>‹#›</a:t>
            </a:fld>
            <a:endParaRPr lang="en-US" sz="900" b="0" i="0" kern="1200" dirty="0">
              <a:solidFill>
                <a:schemeClr val="bg1"/>
              </a:solidFill>
              <a:latin typeface="Roboto" charset="0"/>
              <a:ea typeface="Roboto" charset="0"/>
              <a:cs typeface="Roboto" charset="0"/>
            </a:endParaRPr>
          </a:p>
        </p:txBody>
      </p:sp>
      <p:sp>
        <p:nvSpPr>
          <p:cNvPr id="13" name="Content Placeholder 5">
            <a:extLst>
              <a:ext uri="{FF2B5EF4-FFF2-40B4-BE49-F238E27FC236}">
                <a16:creationId xmlns:a16="http://schemas.microsoft.com/office/drawing/2014/main" id="{546EAC81-C926-0A46-91BF-C3797379BA1F}"/>
              </a:ext>
            </a:extLst>
          </p:cNvPr>
          <p:cNvSpPr>
            <a:spLocks noGrp="1"/>
          </p:cNvSpPr>
          <p:nvPr>
            <p:ph sz="quarter" idx="14" hasCustomPrompt="1"/>
          </p:nvPr>
        </p:nvSpPr>
        <p:spPr>
          <a:xfrm>
            <a:off x="1027113" y="1854200"/>
            <a:ext cx="10650537" cy="4165600"/>
          </a:xfrm>
        </p:spPr>
        <p:txBody>
          <a:bodyPr/>
          <a:lstStyle>
            <a:lvl1pPr>
              <a:defRPr baseline="0"/>
            </a:lvl1pPr>
            <a:lvl2pPr>
              <a:defRPr baseline="0"/>
            </a:lvl2pPr>
            <a:lvl3pPr>
              <a:buClr>
                <a:schemeClr val="accent2"/>
              </a:buClr>
              <a:defRPr/>
            </a:lvl3pPr>
          </a:lstStyle>
          <a:p>
            <a:pPr lvl="0"/>
            <a:r>
              <a:rPr lang="en-US" dirty="0"/>
              <a:t>First bullet, Roboto Regular 20 point</a:t>
            </a:r>
          </a:p>
          <a:p>
            <a:pPr lvl="1"/>
            <a:r>
              <a:rPr lang="en-US" dirty="0"/>
              <a:t>Second bullet, </a:t>
            </a:r>
            <a:r>
              <a:rPr lang="en-US" dirty="0" err="1"/>
              <a:t>Roboto</a:t>
            </a:r>
            <a:r>
              <a:rPr lang="en-US" dirty="0"/>
              <a:t> Regular 18 point</a:t>
            </a:r>
          </a:p>
          <a:p>
            <a:pPr lvl="2"/>
            <a:r>
              <a:rPr lang="en-US" dirty="0"/>
              <a:t>Third bullet, </a:t>
            </a:r>
            <a:r>
              <a:rPr lang="en-US" dirty="0" err="1"/>
              <a:t>Roboto</a:t>
            </a:r>
            <a:r>
              <a:rPr lang="en-US" dirty="0"/>
              <a:t> Regular 16 point</a:t>
            </a:r>
          </a:p>
        </p:txBody>
      </p:sp>
      <p:sp>
        <p:nvSpPr>
          <p:cNvPr id="15" name="Title 1">
            <a:extLst>
              <a:ext uri="{FF2B5EF4-FFF2-40B4-BE49-F238E27FC236}">
                <a16:creationId xmlns:a16="http://schemas.microsoft.com/office/drawing/2014/main" id="{3EC000B5-D37A-E045-9182-BE90422B5E2A}"/>
              </a:ext>
            </a:extLst>
          </p:cNvPr>
          <p:cNvSpPr>
            <a:spLocks noGrp="1"/>
          </p:cNvSpPr>
          <p:nvPr>
            <p:ph type="title" hasCustomPrompt="1"/>
          </p:nvPr>
        </p:nvSpPr>
        <p:spPr>
          <a:xfrm>
            <a:off x="493714" y="482602"/>
            <a:ext cx="11188532" cy="562427"/>
          </a:xfrm>
          <a:prstGeom prst="rect">
            <a:avLst/>
          </a:prstGeom>
        </p:spPr>
        <p:txBody>
          <a:bodyPr lIns="0"/>
          <a:lstStyle>
            <a:lvl1pPr>
              <a:defRPr baseline="0">
                <a:solidFill>
                  <a:schemeClr val="tx1"/>
                </a:solidFill>
              </a:defRPr>
            </a:lvl1pPr>
          </a:lstStyle>
          <a:p>
            <a:r>
              <a:rPr lang="en-US" dirty="0"/>
              <a:t>Roboto Light, 36 Points, 1 Line</a:t>
            </a:r>
          </a:p>
        </p:txBody>
      </p:sp>
      <p:pic>
        <p:nvPicPr>
          <p:cNvPr id="11" name="Picture 10">
            <a:extLst>
              <a:ext uri="{FF2B5EF4-FFF2-40B4-BE49-F238E27FC236}">
                <a16:creationId xmlns:a16="http://schemas.microsoft.com/office/drawing/2014/main" id="{BFF7DC98-83CC-A445-9D4D-ACC74F5C2E52}"/>
              </a:ext>
            </a:extLst>
          </p:cNvPr>
          <p:cNvPicPr>
            <a:picLocks noChangeAspect="1"/>
          </p:cNvPicPr>
          <p:nvPr userDrawn="1"/>
        </p:nvPicPr>
        <p:blipFill>
          <a:blip r:embed="rId3"/>
          <a:stretch>
            <a:fillRect/>
          </a:stretch>
        </p:blipFill>
        <p:spPr>
          <a:xfrm>
            <a:off x="9743687" y="6098796"/>
            <a:ext cx="2040934" cy="699990"/>
          </a:xfrm>
          <a:prstGeom prst="rect">
            <a:avLst/>
          </a:prstGeom>
        </p:spPr>
      </p:pic>
    </p:spTree>
    <p:extLst>
      <p:ext uri="{BB962C8B-B14F-4D97-AF65-F5344CB8AC3E}">
        <p14:creationId xmlns:p14="http://schemas.microsoft.com/office/powerpoint/2010/main" val="3087655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Content_option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493713" y="482602"/>
            <a:ext cx="11183937" cy="1084228"/>
          </a:xfrm>
          <a:prstGeom prst="rect">
            <a:avLst/>
          </a:prstGeom>
        </p:spPr>
        <p:txBody>
          <a:bodyPr lIns="0"/>
          <a:lstStyle>
            <a:lvl1pPr>
              <a:defRPr baseline="0">
                <a:solidFill>
                  <a:schemeClr val="tx1"/>
                </a:solidFill>
              </a:defRPr>
            </a:lvl1pPr>
          </a:lstStyle>
          <a:p>
            <a:r>
              <a:rPr lang="en-US" dirty="0"/>
              <a:t>Headline Goes Here, Roboto Light, 36 Points, Can Span 2 Lines</a:t>
            </a:r>
          </a:p>
        </p:txBody>
      </p:sp>
      <p:sp>
        <p:nvSpPr>
          <p:cNvPr id="11" name="Content Placeholder 5">
            <a:extLst>
              <a:ext uri="{FF2B5EF4-FFF2-40B4-BE49-F238E27FC236}">
                <a16:creationId xmlns:a16="http://schemas.microsoft.com/office/drawing/2014/main" id="{956D1FDC-5FA5-4B2D-A5AA-86637FA3B976}"/>
              </a:ext>
            </a:extLst>
          </p:cNvPr>
          <p:cNvSpPr>
            <a:spLocks noGrp="1"/>
          </p:cNvSpPr>
          <p:nvPr userDrawn="1">
            <p:ph sz="quarter" idx="14" hasCustomPrompt="1"/>
          </p:nvPr>
        </p:nvSpPr>
        <p:spPr>
          <a:xfrm>
            <a:off x="1027113" y="1854200"/>
            <a:ext cx="10650537" cy="4165600"/>
          </a:xfrm>
        </p:spPr>
        <p:txBody>
          <a:bodyPr/>
          <a:lstStyle>
            <a:lvl1pPr>
              <a:defRPr baseline="0"/>
            </a:lvl1pPr>
            <a:lvl2pPr>
              <a:defRPr baseline="0"/>
            </a:lvl2pPr>
            <a:lvl3pPr>
              <a:buClr>
                <a:schemeClr val="accent2"/>
              </a:buClr>
              <a:defRPr/>
            </a:lvl3pPr>
          </a:lstStyle>
          <a:p>
            <a:pPr lvl="0"/>
            <a:r>
              <a:rPr lang="en-US" dirty="0"/>
              <a:t>First bullet, Roboto Regular 20 point</a:t>
            </a:r>
          </a:p>
          <a:p>
            <a:pPr lvl="1"/>
            <a:r>
              <a:rPr lang="en-US" dirty="0"/>
              <a:t>Second bullet, </a:t>
            </a:r>
            <a:r>
              <a:rPr lang="en-US" dirty="0" err="1"/>
              <a:t>Roboto</a:t>
            </a:r>
            <a:r>
              <a:rPr lang="en-US" dirty="0"/>
              <a:t> Regular 18 point</a:t>
            </a:r>
          </a:p>
          <a:p>
            <a:pPr lvl="2"/>
            <a:r>
              <a:rPr lang="en-US" dirty="0"/>
              <a:t>Third bullet, </a:t>
            </a:r>
            <a:r>
              <a:rPr lang="en-US" dirty="0" err="1"/>
              <a:t>Roboto</a:t>
            </a:r>
            <a:r>
              <a:rPr lang="en-US" dirty="0"/>
              <a:t> Regular 16 point</a:t>
            </a:r>
          </a:p>
        </p:txBody>
      </p:sp>
      <p:sp>
        <p:nvSpPr>
          <p:cNvPr id="23" name="TextBox 22">
            <a:extLst>
              <a:ext uri="{FF2B5EF4-FFF2-40B4-BE49-F238E27FC236}">
                <a16:creationId xmlns:a16="http://schemas.microsoft.com/office/drawing/2014/main" id="{BCF260CE-EC9E-49A9-9345-D0C73BFC8564}"/>
              </a:ext>
            </a:extLst>
          </p:cNvPr>
          <p:cNvSpPr txBox="1"/>
          <p:nvPr userDrawn="1"/>
        </p:nvSpPr>
        <p:spPr>
          <a:xfrm>
            <a:off x="176868" y="6365106"/>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900" b="0" i="0" kern="1200" smtClean="0">
                <a:solidFill>
                  <a:schemeClr val="bg1"/>
                </a:solidFill>
                <a:latin typeface="Roboto" charset="0"/>
                <a:ea typeface="Roboto" charset="0"/>
                <a:cs typeface="Roboto" charset="0"/>
              </a:rPr>
              <a:pPr marL="0" lvl="0" algn="ctr" defTabSz="457200" rtl="0" eaLnBrk="1" latinLnBrk="0" hangingPunct="1"/>
              <a:t>‹#›</a:t>
            </a:fld>
            <a:endParaRPr lang="en-US" sz="900" b="0" i="0" kern="1200" dirty="0">
              <a:solidFill>
                <a:schemeClr val="bg1"/>
              </a:solidFill>
              <a:latin typeface="Roboto" charset="0"/>
              <a:ea typeface="Roboto" charset="0"/>
              <a:cs typeface="Roboto" charset="0"/>
            </a:endParaRPr>
          </a:p>
        </p:txBody>
      </p:sp>
      <p:sp>
        <p:nvSpPr>
          <p:cNvPr id="3" name="TextBox 2">
            <a:extLst>
              <a:ext uri="{FF2B5EF4-FFF2-40B4-BE49-F238E27FC236}">
                <a16:creationId xmlns:a16="http://schemas.microsoft.com/office/drawing/2014/main" id="{68CA8FDE-C2BF-46D0-BFBA-41DC685F9661}"/>
              </a:ext>
            </a:extLst>
          </p:cNvPr>
          <p:cNvSpPr txBox="1"/>
          <p:nvPr userDrawn="1"/>
        </p:nvSpPr>
        <p:spPr>
          <a:xfrm>
            <a:off x="1023708"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dirty="0">
                <a:solidFill>
                  <a:schemeClr val="tx1"/>
                </a:solidFill>
                <a:latin typeface="Roboto" charset="0"/>
                <a:ea typeface="Roboto" charset="0"/>
                <a:cs typeface="Roboto" charset="0"/>
              </a:rPr>
              <a:t>© Informatica. Proprietary and Confidential.</a:t>
            </a:r>
          </a:p>
        </p:txBody>
      </p:sp>
      <p:pic>
        <p:nvPicPr>
          <p:cNvPr id="13" name="Picture 12">
            <a:extLst>
              <a:ext uri="{FF2B5EF4-FFF2-40B4-BE49-F238E27FC236}">
                <a16:creationId xmlns:a16="http://schemas.microsoft.com/office/drawing/2014/main" id="{4A16DD13-C868-5A4C-BE43-C44AF2E21E7D}"/>
              </a:ext>
            </a:extLst>
          </p:cNvPr>
          <p:cNvPicPr>
            <a:picLocks noChangeAspect="1"/>
          </p:cNvPicPr>
          <p:nvPr userDrawn="1"/>
        </p:nvPicPr>
        <p:blipFill>
          <a:blip r:embed="rId3"/>
          <a:stretch>
            <a:fillRect/>
          </a:stretch>
        </p:blipFill>
        <p:spPr>
          <a:xfrm>
            <a:off x="9743687" y="6098796"/>
            <a:ext cx="2040934" cy="699990"/>
          </a:xfrm>
          <a:prstGeom prst="rect">
            <a:avLst/>
          </a:prstGeom>
        </p:spPr>
      </p:pic>
    </p:spTree>
    <p:extLst>
      <p:ext uri="{BB962C8B-B14F-4D97-AF65-F5344CB8AC3E}">
        <p14:creationId xmlns:p14="http://schemas.microsoft.com/office/powerpoint/2010/main" val="3896638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Subtitle/Headlines &amp;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Content Placeholder 5">
            <a:extLst>
              <a:ext uri="{FF2B5EF4-FFF2-40B4-BE49-F238E27FC236}">
                <a16:creationId xmlns:a16="http://schemas.microsoft.com/office/drawing/2014/main" id="{956D1FDC-5FA5-4B2D-A5AA-86637FA3B976}"/>
              </a:ext>
            </a:extLst>
          </p:cNvPr>
          <p:cNvSpPr>
            <a:spLocks noGrp="1"/>
          </p:cNvSpPr>
          <p:nvPr userDrawn="1">
            <p:ph sz="quarter" idx="14" hasCustomPrompt="1"/>
          </p:nvPr>
        </p:nvSpPr>
        <p:spPr>
          <a:xfrm>
            <a:off x="1025388" y="2290762"/>
            <a:ext cx="3269180" cy="3729038"/>
          </a:xfrm>
        </p:spPr>
        <p:txBody>
          <a:bodyPr/>
          <a:lstStyle>
            <a:lvl1pPr>
              <a:spcBef>
                <a:spcPts val="1200"/>
              </a:spcBef>
              <a:defRPr sz="1800" baseline="0"/>
            </a:lvl1pPr>
            <a:lvl2pPr>
              <a:spcBef>
                <a:spcPts val="600"/>
              </a:spcBef>
              <a:defRPr sz="1600" baseline="0"/>
            </a:lvl2pPr>
            <a:lvl3pPr>
              <a:spcBef>
                <a:spcPts val="600"/>
              </a:spcBef>
              <a:defRPr sz="1400"/>
            </a:lvl3pPr>
          </a:lstStyle>
          <a:p>
            <a:pPr lvl="0"/>
            <a:r>
              <a:rPr lang="en-US" dirty="0"/>
              <a:t>First bullet, Roboto Regular </a:t>
            </a:r>
          </a:p>
          <a:p>
            <a:pPr lvl="1"/>
            <a:r>
              <a:rPr lang="en-US" dirty="0"/>
              <a:t>Second bullet, Roboto Regular</a:t>
            </a:r>
          </a:p>
          <a:p>
            <a:pPr lvl="2"/>
            <a:r>
              <a:rPr lang="en-US" dirty="0"/>
              <a:t>Third bullet, Roboto Regular</a:t>
            </a:r>
          </a:p>
        </p:txBody>
      </p:sp>
      <p:sp>
        <p:nvSpPr>
          <p:cNvPr id="12" name="Text Placeholder 2">
            <a:extLst>
              <a:ext uri="{FF2B5EF4-FFF2-40B4-BE49-F238E27FC236}">
                <a16:creationId xmlns:a16="http://schemas.microsoft.com/office/drawing/2014/main" id="{055D64D1-7AD8-4D53-A0ED-118D84E22AE7}"/>
              </a:ext>
            </a:extLst>
          </p:cNvPr>
          <p:cNvSpPr>
            <a:spLocks noGrp="1"/>
          </p:cNvSpPr>
          <p:nvPr userDrawn="1">
            <p:ph type="body" idx="1" hasCustomPrompt="1"/>
          </p:nvPr>
        </p:nvSpPr>
        <p:spPr>
          <a:xfrm>
            <a:off x="1027526" y="1854199"/>
            <a:ext cx="3269180" cy="436563"/>
          </a:xfrm>
          <a:prstGeom prst="rect">
            <a:avLst/>
          </a:prstGeom>
        </p:spPr>
        <p:txBody>
          <a:bodyPr anchor="t"/>
          <a:lstStyle>
            <a:lvl1pPr marL="0" indent="0">
              <a:buNone/>
              <a:defRPr sz="2000" b="1" baseline="0">
                <a:solidFill>
                  <a:schemeClr val="accent5"/>
                </a:solidFill>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2" indent="0">
              <a:buNone/>
              <a:defRPr sz="1600" b="1"/>
            </a:lvl6pPr>
            <a:lvl7pPr marL="2742651" indent="0">
              <a:buNone/>
              <a:defRPr sz="1600" b="1"/>
            </a:lvl7pPr>
            <a:lvl8pPr marL="3199760" indent="0">
              <a:buNone/>
              <a:defRPr sz="1600" b="1"/>
            </a:lvl8pPr>
            <a:lvl9pPr marL="3656869" indent="0">
              <a:buNone/>
              <a:defRPr sz="1600" b="1"/>
            </a:lvl9pPr>
          </a:lstStyle>
          <a:p>
            <a:pPr lvl="0"/>
            <a:r>
              <a:rPr lang="en-US" dirty="0"/>
              <a:t>Headline goes here</a:t>
            </a:r>
          </a:p>
        </p:txBody>
      </p:sp>
      <p:sp>
        <p:nvSpPr>
          <p:cNvPr id="15" name="Content Placeholder 5">
            <a:extLst>
              <a:ext uri="{FF2B5EF4-FFF2-40B4-BE49-F238E27FC236}">
                <a16:creationId xmlns:a16="http://schemas.microsoft.com/office/drawing/2014/main" id="{26C68CC7-FCFB-4E97-8E67-90A77CBE7883}"/>
              </a:ext>
            </a:extLst>
          </p:cNvPr>
          <p:cNvSpPr>
            <a:spLocks noGrp="1"/>
          </p:cNvSpPr>
          <p:nvPr userDrawn="1">
            <p:ph sz="quarter" idx="15" hasCustomPrompt="1"/>
          </p:nvPr>
        </p:nvSpPr>
        <p:spPr>
          <a:xfrm>
            <a:off x="4734911" y="2290762"/>
            <a:ext cx="3269180" cy="3729038"/>
          </a:xfrm>
        </p:spPr>
        <p:txBody>
          <a:bodyPr/>
          <a:lstStyle>
            <a:lvl1pPr>
              <a:spcBef>
                <a:spcPts val="1200"/>
              </a:spcBef>
              <a:defRPr sz="1800" baseline="0"/>
            </a:lvl1pPr>
            <a:lvl2pPr>
              <a:spcBef>
                <a:spcPts val="600"/>
              </a:spcBef>
              <a:defRPr sz="1600" baseline="0"/>
            </a:lvl2pPr>
            <a:lvl3pPr>
              <a:spcBef>
                <a:spcPts val="600"/>
              </a:spcBef>
              <a:defRPr sz="1400"/>
            </a:lvl3pPr>
          </a:lstStyle>
          <a:p>
            <a:pPr lvl="0"/>
            <a:r>
              <a:rPr lang="en-US" dirty="0"/>
              <a:t>First bullet, Roboto Regular </a:t>
            </a:r>
          </a:p>
          <a:p>
            <a:pPr lvl="1"/>
            <a:r>
              <a:rPr lang="en-US" dirty="0"/>
              <a:t>Second bullet, Roboto Regular</a:t>
            </a:r>
          </a:p>
          <a:p>
            <a:pPr lvl="2"/>
            <a:r>
              <a:rPr lang="en-US" dirty="0"/>
              <a:t>Third bullet, Roboto Regular</a:t>
            </a:r>
          </a:p>
        </p:txBody>
      </p:sp>
      <p:sp>
        <p:nvSpPr>
          <p:cNvPr id="19" name="Text Placeholder 2">
            <a:extLst>
              <a:ext uri="{FF2B5EF4-FFF2-40B4-BE49-F238E27FC236}">
                <a16:creationId xmlns:a16="http://schemas.microsoft.com/office/drawing/2014/main" id="{F89E3C59-0A83-46CB-AFF1-091BB74D0EA9}"/>
              </a:ext>
            </a:extLst>
          </p:cNvPr>
          <p:cNvSpPr>
            <a:spLocks noGrp="1"/>
          </p:cNvSpPr>
          <p:nvPr userDrawn="1">
            <p:ph type="body" idx="16" hasCustomPrompt="1"/>
          </p:nvPr>
        </p:nvSpPr>
        <p:spPr>
          <a:xfrm>
            <a:off x="4731941" y="1854199"/>
            <a:ext cx="3269180" cy="436563"/>
          </a:xfrm>
          <a:prstGeom prst="rect">
            <a:avLst/>
          </a:prstGeom>
        </p:spPr>
        <p:txBody>
          <a:bodyPr anchor="t"/>
          <a:lstStyle>
            <a:lvl1pPr marL="0" indent="0">
              <a:buNone/>
              <a:defRPr sz="2000" b="1" baseline="0">
                <a:solidFill>
                  <a:schemeClr val="accent5"/>
                </a:solidFill>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2" indent="0">
              <a:buNone/>
              <a:defRPr sz="1600" b="1"/>
            </a:lvl6pPr>
            <a:lvl7pPr marL="2742651" indent="0">
              <a:buNone/>
              <a:defRPr sz="1600" b="1"/>
            </a:lvl7pPr>
            <a:lvl8pPr marL="3199760" indent="0">
              <a:buNone/>
              <a:defRPr sz="1600" b="1"/>
            </a:lvl8pPr>
            <a:lvl9pPr marL="3656869" indent="0">
              <a:buNone/>
              <a:defRPr sz="1600" b="1"/>
            </a:lvl9pPr>
          </a:lstStyle>
          <a:p>
            <a:pPr lvl="0"/>
            <a:r>
              <a:rPr lang="en-US" dirty="0"/>
              <a:t>Headline goes here</a:t>
            </a:r>
          </a:p>
        </p:txBody>
      </p:sp>
      <p:sp>
        <p:nvSpPr>
          <p:cNvPr id="20" name="Content Placeholder 5">
            <a:extLst>
              <a:ext uri="{FF2B5EF4-FFF2-40B4-BE49-F238E27FC236}">
                <a16:creationId xmlns:a16="http://schemas.microsoft.com/office/drawing/2014/main" id="{962B4E02-4383-440D-AB49-C9B1E385046F}"/>
              </a:ext>
            </a:extLst>
          </p:cNvPr>
          <p:cNvSpPr>
            <a:spLocks noGrp="1"/>
          </p:cNvSpPr>
          <p:nvPr userDrawn="1">
            <p:ph sz="quarter" idx="17" hasCustomPrompt="1"/>
          </p:nvPr>
        </p:nvSpPr>
        <p:spPr>
          <a:xfrm>
            <a:off x="8408366" y="2290762"/>
            <a:ext cx="3269180" cy="3729038"/>
          </a:xfrm>
        </p:spPr>
        <p:txBody>
          <a:bodyPr/>
          <a:lstStyle>
            <a:lvl1pPr>
              <a:spcBef>
                <a:spcPts val="1200"/>
              </a:spcBef>
              <a:defRPr sz="1800" baseline="0"/>
            </a:lvl1pPr>
            <a:lvl2pPr>
              <a:spcBef>
                <a:spcPts val="600"/>
              </a:spcBef>
              <a:defRPr sz="1600" baseline="0"/>
            </a:lvl2pPr>
            <a:lvl3pPr>
              <a:spcBef>
                <a:spcPts val="600"/>
              </a:spcBef>
              <a:defRPr sz="1400"/>
            </a:lvl3pPr>
          </a:lstStyle>
          <a:p>
            <a:pPr lvl="0"/>
            <a:r>
              <a:rPr lang="en-US" dirty="0"/>
              <a:t>First bullet, Roboto Regular </a:t>
            </a:r>
          </a:p>
          <a:p>
            <a:pPr lvl="1"/>
            <a:r>
              <a:rPr lang="en-US" dirty="0"/>
              <a:t>Second bullet, Roboto Regular</a:t>
            </a:r>
          </a:p>
          <a:p>
            <a:pPr lvl="2"/>
            <a:r>
              <a:rPr lang="en-US" dirty="0"/>
              <a:t>Third bullet, Roboto Regular</a:t>
            </a:r>
          </a:p>
        </p:txBody>
      </p:sp>
      <p:sp>
        <p:nvSpPr>
          <p:cNvPr id="21" name="Text Placeholder 2">
            <a:extLst>
              <a:ext uri="{FF2B5EF4-FFF2-40B4-BE49-F238E27FC236}">
                <a16:creationId xmlns:a16="http://schemas.microsoft.com/office/drawing/2014/main" id="{50F3AD2F-D27D-4DC6-8CE0-ACED6D2AD57D}"/>
              </a:ext>
            </a:extLst>
          </p:cNvPr>
          <p:cNvSpPr>
            <a:spLocks noGrp="1"/>
          </p:cNvSpPr>
          <p:nvPr userDrawn="1">
            <p:ph type="body" idx="18" hasCustomPrompt="1"/>
          </p:nvPr>
        </p:nvSpPr>
        <p:spPr>
          <a:xfrm>
            <a:off x="8405396" y="1854199"/>
            <a:ext cx="3269180" cy="436563"/>
          </a:xfrm>
          <a:prstGeom prst="rect">
            <a:avLst/>
          </a:prstGeom>
        </p:spPr>
        <p:txBody>
          <a:bodyPr anchor="t"/>
          <a:lstStyle>
            <a:lvl1pPr marL="0" indent="0">
              <a:buNone/>
              <a:defRPr sz="2000" b="1" baseline="0">
                <a:solidFill>
                  <a:schemeClr val="accent5"/>
                </a:solidFill>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2" indent="0">
              <a:buNone/>
              <a:defRPr sz="1600" b="1"/>
            </a:lvl6pPr>
            <a:lvl7pPr marL="2742651" indent="0">
              <a:buNone/>
              <a:defRPr sz="1600" b="1"/>
            </a:lvl7pPr>
            <a:lvl8pPr marL="3199760" indent="0">
              <a:buNone/>
              <a:defRPr sz="1600" b="1"/>
            </a:lvl8pPr>
            <a:lvl9pPr marL="3656869" indent="0">
              <a:buNone/>
              <a:defRPr sz="1600" b="1"/>
            </a:lvl9pPr>
          </a:lstStyle>
          <a:p>
            <a:pPr lvl="0"/>
            <a:r>
              <a:rPr lang="en-US" dirty="0"/>
              <a:t>Headline goes here</a:t>
            </a:r>
          </a:p>
        </p:txBody>
      </p:sp>
      <p:sp>
        <p:nvSpPr>
          <p:cNvPr id="84" name="TextBox 83">
            <a:extLst>
              <a:ext uri="{FF2B5EF4-FFF2-40B4-BE49-F238E27FC236}">
                <a16:creationId xmlns:a16="http://schemas.microsoft.com/office/drawing/2014/main" id="{452D0E9B-C1A1-417A-AEE1-63EB1720F76F}"/>
              </a:ext>
            </a:extLst>
          </p:cNvPr>
          <p:cNvSpPr txBox="1"/>
          <p:nvPr userDrawn="1"/>
        </p:nvSpPr>
        <p:spPr>
          <a:xfrm>
            <a:off x="176868" y="6365106"/>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900" b="0" i="0" kern="1200" smtClean="0">
                <a:solidFill>
                  <a:schemeClr val="bg1"/>
                </a:solidFill>
                <a:latin typeface="Roboto" charset="0"/>
                <a:ea typeface="Roboto" charset="0"/>
                <a:cs typeface="Roboto" charset="0"/>
              </a:rPr>
              <a:pPr marL="0" lvl="0" algn="ctr" defTabSz="457200" rtl="0" eaLnBrk="1" latinLnBrk="0" hangingPunct="1"/>
              <a:t>‹#›</a:t>
            </a:fld>
            <a:endParaRPr lang="en-US" sz="900" b="0" i="0" kern="1200" dirty="0">
              <a:solidFill>
                <a:schemeClr val="bg1"/>
              </a:solidFill>
              <a:latin typeface="Roboto" charset="0"/>
              <a:ea typeface="Roboto" charset="0"/>
              <a:cs typeface="Roboto" charset="0"/>
            </a:endParaRPr>
          </a:p>
        </p:txBody>
      </p:sp>
      <p:sp>
        <p:nvSpPr>
          <p:cNvPr id="3" name="TextBox 2">
            <a:extLst>
              <a:ext uri="{FF2B5EF4-FFF2-40B4-BE49-F238E27FC236}">
                <a16:creationId xmlns:a16="http://schemas.microsoft.com/office/drawing/2014/main" id="{7381646B-CBD8-4A6C-AC78-62B17E690EE5}"/>
              </a:ext>
            </a:extLst>
          </p:cNvPr>
          <p:cNvSpPr txBox="1"/>
          <p:nvPr userDrawn="1"/>
        </p:nvSpPr>
        <p:spPr>
          <a:xfrm>
            <a:off x="1023708"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dirty="0">
                <a:solidFill>
                  <a:schemeClr val="tx1"/>
                </a:solidFill>
                <a:latin typeface="Roboto" charset="0"/>
                <a:ea typeface="Roboto" charset="0"/>
                <a:cs typeface="Roboto" charset="0"/>
              </a:rPr>
              <a:t>© Informatica. Proprietary and Confidential.</a:t>
            </a:r>
          </a:p>
        </p:txBody>
      </p:sp>
      <p:pic>
        <p:nvPicPr>
          <p:cNvPr id="16" name="Picture 15">
            <a:extLst>
              <a:ext uri="{FF2B5EF4-FFF2-40B4-BE49-F238E27FC236}">
                <a16:creationId xmlns:a16="http://schemas.microsoft.com/office/drawing/2014/main" id="{A6BB98FB-04A1-8843-9326-64075BA31452}"/>
              </a:ext>
            </a:extLst>
          </p:cNvPr>
          <p:cNvPicPr>
            <a:picLocks noChangeAspect="1"/>
          </p:cNvPicPr>
          <p:nvPr userDrawn="1"/>
        </p:nvPicPr>
        <p:blipFill>
          <a:blip r:embed="rId3"/>
          <a:stretch>
            <a:fillRect/>
          </a:stretch>
        </p:blipFill>
        <p:spPr>
          <a:xfrm>
            <a:off x="9743687" y="6098796"/>
            <a:ext cx="2040934" cy="699990"/>
          </a:xfrm>
          <a:prstGeom prst="rect">
            <a:avLst/>
          </a:prstGeom>
        </p:spPr>
      </p:pic>
      <p:sp>
        <p:nvSpPr>
          <p:cNvPr id="23" name="Title 1">
            <a:extLst>
              <a:ext uri="{FF2B5EF4-FFF2-40B4-BE49-F238E27FC236}">
                <a16:creationId xmlns:a16="http://schemas.microsoft.com/office/drawing/2014/main" id="{331A327B-7A76-224D-9861-30F7AF24A7E9}"/>
              </a:ext>
            </a:extLst>
          </p:cNvPr>
          <p:cNvSpPr>
            <a:spLocks noGrp="1"/>
          </p:cNvSpPr>
          <p:nvPr>
            <p:ph type="title" hasCustomPrompt="1"/>
          </p:nvPr>
        </p:nvSpPr>
        <p:spPr>
          <a:xfrm>
            <a:off x="488950" y="482602"/>
            <a:ext cx="11188700" cy="562427"/>
          </a:xfrm>
          <a:prstGeom prst="rect">
            <a:avLst/>
          </a:prstGeom>
        </p:spPr>
        <p:txBody>
          <a:bodyPr lIns="0"/>
          <a:lstStyle>
            <a:lvl1pPr>
              <a:defRPr baseline="0">
                <a:solidFill>
                  <a:schemeClr val="tx1"/>
                </a:solidFill>
              </a:defRPr>
            </a:lvl1pPr>
          </a:lstStyle>
          <a:p>
            <a:r>
              <a:rPr lang="en-US" dirty="0"/>
              <a:t>Headline Goes Here, Roboto Light, 36 Points, 1 Line</a:t>
            </a:r>
          </a:p>
        </p:txBody>
      </p:sp>
      <p:sp>
        <p:nvSpPr>
          <p:cNvPr id="26" name="Text Placeholder 4">
            <a:extLst>
              <a:ext uri="{FF2B5EF4-FFF2-40B4-BE49-F238E27FC236}">
                <a16:creationId xmlns:a16="http://schemas.microsoft.com/office/drawing/2014/main" id="{C5B53A84-8182-924A-A7CC-CC8D6298DE10}"/>
              </a:ext>
            </a:extLst>
          </p:cNvPr>
          <p:cNvSpPr>
            <a:spLocks noGrp="1"/>
          </p:cNvSpPr>
          <p:nvPr>
            <p:ph type="body" sz="quarter" idx="13" hasCustomPrompt="1"/>
          </p:nvPr>
        </p:nvSpPr>
        <p:spPr>
          <a:xfrm>
            <a:off x="488951" y="1043417"/>
            <a:ext cx="11193296" cy="331601"/>
          </a:xfrm>
        </p:spPr>
        <p:txBody>
          <a:bodyPr anchor="t"/>
          <a:lstStyle>
            <a:lvl1pPr marL="0" indent="0">
              <a:buNone/>
              <a:defRPr sz="2400" i="0">
                <a:solidFill>
                  <a:schemeClr val="bg1">
                    <a:lumMod val="50000"/>
                  </a:schemeClr>
                </a:solidFill>
              </a:defRPr>
            </a:lvl1pPr>
            <a:lvl2pPr marL="169863" indent="0">
              <a:buNone/>
              <a:defRPr/>
            </a:lvl2pPr>
            <a:lvl3pPr marL="344487" indent="0">
              <a:buNone/>
              <a:defRPr/>
            </a:lvl3pPr>
            <a:lvl4pPr marL="458788" indent="0">
              <a:buNone/>
              <a:defRPr/>
            </a:lvl4pPr>
            <a:lvl5pPr marL="630237" indent="0">
              <a:buNone/>
              <a:defRPr/>
            </a:lvl5pPr>
          </a:lstStyle>
          <a:p>
            <a:pPr lvl="0"/>
            <a:r>
              <a:rPr lang="en-US" dirty="0"/>
              <a:t>Subtitle goes here, </a:t>
            </a:r>
            <a:r>
              <a:rPr lang="en-US" dirty="0" err="1"/>
              <a:t>Roboto</a:t>
            </a:r>
            <a:r>
              <a:rPr lang="en-US" dirty="0"/>
              <a:t> Regular 24 point, no longer than one line</a:t>
            </a:r>
          </a:p>
        </p:txBody>
      </p:sp>
    </p:spTree>
    <p:extLst>
      <p:ext uri="{BB962C8B-B14F-4D97-AF65-F5344CB8AC3E}">
        <p14:creationId xmlns:p14="http://schemas.microsoft.com/office/powerpoint/2010/main" val="2942843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Subtitle/Images/Headlines &amp;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Content Placeholder 5">
            <a:extLst>
              <a:ext uri="{FF2B5EF4-FFF2-40B4-BE49-F238E27FC236}">
                <a16:creationId xmlns:a16="http://schemas.microsoft.com/office/drawing/2014/main" id="{956D1FDC-5FA5-4B2D-A5AA-86637FA3B976}"/>
              </a:ext>
            </a:extLst>
          </p:cNvPr>
          <p:cNvSpPr>
            <a:spLocks noGrp="1"/>
          </p:cNvSpPr>
          <p:nvPr userDrawn="1">
            <p:ph sz="quarter" idx="14" hasCustomPrompt="1"/>
          </p:nvPr>
        </p:nvSpPr>
        <p:spPr>
          <a:xfrm>
            <a:off x="1032221" y="4581525"/>
            <a:ext cx="5080275" cy="1438274"/>
          </a:xfrm>
        </p:spPr>
        <p:txBody>
          <a:bodyPr/>
          <a:lstStyle>
            <a:lvl1pPr>
              <a:spcBef>
                <a:spcPts val="1200"/>
              </a:spcBef>
              <a:defRPr sz="1800" baseline="0"/>
            </a:lvl1pPr>
            <a:lvl2pPr>
              <a:spcBef>
                <a:spcPts val="600"/>
              </a:spcBef>
              <a:defRPr sz="1600" baseline="0"/>
            </a:lvl2pPr>
            <a:lvl3pPr>
              <a:spcBef>
                <a:spcPts val="600"/>
              </a:spcBef>
              <a:defRPr sz="1400"/>
            </a:lvl3pPr>
          </a:lstStyle>
          <a:p>
            <a:pPr lvl="0"/>
            <a:r>
              <a:rPr lang="en-US" dirty="0"/>
              <a:t>First bullet, Roboto Regular 18 point</a:t>
            </a:r>
          </a:p>
          <a:p>
            <a:pPr lvl="1"/>
            <a:r>
              <a:rPr lang="en-US" dirty="0"/>
              <a:t>Second bullet, Roboto Regular 16 point</a:t>
            </a:r>
          </a:p>
          <a:p>
            <a:pPr lvl="2"/>
            <a:r>
              <a:rPr lang="en-US" dirty="0"/>
              <a:t>Third bullet, Roboto Regular 14 point</a:t>
            </a:r>
          </a:p>
        </p:txBody>
      </p:sp>
      <p:sp>
        <p:nvSpPr>
          <p:cNvPr id="12" name="Text Placeholder 2">
            <a:extLst>
              <a:ext uri="{FF2B5EF4-FFF2-40B4-BE49-F238E27FC236}">
                <a16:creationId xmlns:a16="http://schemas.microsoft.com/office/drawing/2014/main" id="{055D64D1-7AD8-4D53-A0ED-118D84E22AE7}"/>
              </a:ext>
            </a:extLst>
          </p:cNvPr>
          <p:cNvSpPr>
            <a:spLocks noGrp="1"/>
          </p:cNvSpPr>
          <p:nvPr userDrawn="1">
            <p:ph type="body" idx="1" hasCustomPrompt="1"/>
          </p:nvPr>
        </p:nvSpPr>
        <p:spPr>
          <a:xfrm>
            <a:off x="1027113" y="4132262"/>
            <a:ext cx="5084770" cy="436563"/>
          </a:xfrm>
          <a:prstGeom prst="rect">
            <a:avLst/>
          </a:prstGeom>
        </p:spPr>
        <p:txBody>
          <a:bodyPr anchor="t"/>
          <a:lstStyle>
            <a:lvl1pPr marL="0" indent="0">
              <a:buNone/>
              <a:defRPr sz="1800" b="1" baseline="0">
                <a:solidFill>
                  <a:schemeClr val="accent5"/>
                </a:solidFill>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2" indent="0">
              <a:buNone/>
              <a:defRPr sz="1600" b="1"/>
            </a:lvl6pPr>
            <a:lvl7pPr marL="2742651" indent="0">
              <a:buNone/>
              <a:defRPr sz="1600" b="1"/>
            </a:lvl7pPr>
            <a:lvl8pPr marL="3199760" indent="0">
              <a:buNone/>
              <a:defRPr sz="1600" b="1"/>
            </a:lvl8pPr>
            <a:lvl9pPr marL="3656869" indent="0">
              <a:buNone/>
              <a:defRPr sz="1600" b="1"/>
            </a:lvl9pPr>
          </a:lstStyle>
          <a:p>
            <a:pPr lvl="0"/>
            <a:r>
              <a:rPr lang="en-US" dirty="0"/>
              <a:t>Headline goes here, Roboto 18 point bold</a:t>
            </a:r>
          </a:p>
        </p:txBody>
      </p:sp>
      <p:sp>
        <p:nvSpPr>
          <p:cNvPr id="13" name="Content Placeholder 5">
            <a:extLst>
              <a:ext uri="{FF2B5EF4-FFF2-40B4-BE49-F238E27FC236}">
                <a16:creationId xmlns:a16="http://schemas.microsoft.com/office/drawing/2014/main" id="{82F76E5E-F799-4651-BEAE-F9087B98CD04}"/>
              </a:ext>
            </a:extLst>
          </p:cNvPr>
          <p:cNvSpPr>
            <a:spLocks noGrp="1"/>
          </p:cNvSpPr>
          <p:nvPr userDrawn="1">
            <p:ph sz="quarter" idx="15" hasCustomPrompt="1"/>
          </p:nvPr>
        </p:nvSpPr>
        <p:spPr>
          <a:xfrm>
            <a:off x="6590642" y="4581525"/>
            <a:ext cx="5085971" cy="1438274"/>
          </a:xfrm>
        </p:spPr>
        <p:txBody>
          <a:bodyPr/>
          <a:lstStyle>
            <a:lvl1pPr>
              <a:spcBef>
                <a:spcPts val="1200"/>
              </a:spcBef>
              <a:defRPr sz="1800" baseline="0"/>
            </a:lvl1pPr>
            <a:lvl2pPr>
              <a:spcBef>
                <a:spcPts val="600"/>
              </a:spcBef>
              <a:defRPr sz="1600" baseline="0"/>
            </a:lvl2pPr>
            <a:lvl3pPr>
              <a:spcBef>
                <a:spcPts val="600"/>
              </a:spcBef>
              <a:defRPr sz="1400"/>
            </a:lvl3pPr>
          </a:lstStyle>
          <a:p>
            <a:pPr lvl="0"/>
            <a:r>
              <a:rPr lang="en-US" dirty="0"/>
              <a:t>First bullet, Roboto Regular 18 point</a:t>
            </a:r>
          </a:p>
          <a:p>
            <a:pPr lvl="1"/>
            <a:r>
              <a:rPr lang="en-US" dirty="0"/>
              <a:t>Second bullet, Roboto Regular 16 point</a:t>
            </a:r>
          </a:p>
          <a:p>
            <a:pPr lvl="2"/>
            <a:r>
              <a:rPr lang="en-US" dirty="0"/>
              <a:t>Third bullet, Roboto Regular 14 point</a:t>
            </a:r>
          </a:p>
        </p:txBody>
      </p:sp>
      <p:sp>
        <p:nvSpPr>
          <p:cNvPr id="14" name="Text Placeholder 2">
            <a:extLst>
              <a:ext uri="{FF2B5EF4-FFF2-40B4-BE49-F238E27FC236}">
                <a16:creationId xmlns:a16="http://schemas.microsoft.com/office/drawing/2014/main" id="{B715CEF1-A7FF-4442-88D8-7F20DA48ADC7}"/>
              </a:ext>
            </a:extLst>
          </p:cNvPr>
          <p:cNvSpPr>
            <a:spLocks noGrp="1"/>
          </p:cNvSpPr>
          <p:nvPr userDrawn="1">
            <p:ph type="body" idx="16" hasCustomPrompt="1"/>
          </p:nvPr>
        </p:nvSpPr>
        <p:spPr>
          <a:xfrm>
            <a:off x="6586607" y="4132262"/>
            <a:ext cx="5097010" cy="436563"/>
          </a:xfrm>
          <a:prstGeom prst="rect">
            <a:avLst/>
          </a:prstGeom>
        </p:spPr>
        <p:txBody>
          <a:bodyPr anchor="t"/>
          <a:lstStyle>
            <a:lvl1pPr marL="0" indent="0">
              <a:buNone/>
              <a:defRPr sz="1800" b="1" baseline="0">
                <a:solidFill>
                  <a:schemeClr val="accent5"/>
                </a:solidFill>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2" indent="0">
              <a:buNone/>
              <a:defRPr sz="1600" b="1"/>
            </a:lvl6pPr>
            <a:lvl7pPr marL="2742651" indent="0">
              <a:buNone/>
              <a:defRPr sz="1600" b="1"/>
            </a:lvl7pPr>
            <a:lvl8pPr marL="3199760" indent="0">
              <a:buNone/>
              <a:defRPr sz="1600" b="1"/>
            </a:lvl8pPr>
            <a:lvl9pPr marL="3656869" indent="0">
              <a:buNone/>
              <a:defRPr sz="1600" b="1"/>
            </a:lvl9pPr>
          </a:lstStyle>
          <a:p>
            <a:pPr lvl="0"/>
            <a:r>
              <a:rPr lang="en-US" dirty="0"/>
              <a:t>Headline goes here, Roboto 18 point bold</a:t>
            </a:r>
          </a:p>
        </p:txBody>
      </p:sp>
      <p:sp>
        <p:nvSpPr>
          <p:cNvPr id="15" name="Picture Placeholder 6">
            <a:extLst>
              <a:ext uri="{FF2B5EF4-FFF2-40B4-BE49-F238E27FC236}">
                <a16:creationId xmlns:a16="http://schemas.microsoft.com/office/drawing/2014/main" id="{46B0C8DB-1D41-4ABF-896D-80CF7EFD97FD}"/>
              </a:ext>
            </a:extLst>
          </p:cNvPr>
          <p:cNvSpPr>
            <a:spLocks noGrp="1"/>
          </p:cNvSpPr>
          <p:nvPr userDrawn="1">
            <p:ph type="pic" sz="quarter" idx="17" hasCustomPrompt="1"/>
          </p:nvPr>
        </p:nvSpPr>
        <p:spPr>
          <a:xfrm>
            <a:off x="1027113" y="1854200"/>
            <a:ext cx="4761212" cy="2088072"/>
          </a:xfrm>
          <a:solidFill>
            <a:schemeClr val="bg1">
              <a:lumMod val="95000"/>
            </a:schemeClr>
          </a:solidFill>
        </p:spPr>
        <p:txBody>
          <a:bodyPr anchor="ctr"/>
          <a:lstStyle>
            <a:lvl1pPr marL="0" indent="0" algn="ctr">
              <a:buNone/>
              <a:defRPr/>
            </a:lvl1pPr>
          </a:lstStyle>
          <a:p>
            <a:r>
              <a:rPr lang="en-US" dirty="0"/>
              <a:t>CLICK TO INSERT IMAGE</a:t>
            </a:r>
          </a:p>
        </p:txBody>
      </p:sp>
      <p:sp>
        <p:nvSpPr>
          <p:cNvPr id="19" name="Picture Placeholder 6">
            <a:extLst>
              <a:ext uri="{FF2B5EF4-FFF2-40B4-BE49-F238E27FC236}">
                <a16:creationId xmlns:a16="http://schemas.microsoft.com/office/drawing/2014/main" id="{50C5E539-EA0F-43C9-94FB-2E4FECAC8DD1}"/>
              </a:ext>
            </a:extLst>
          </p:cNvPr>
          <p:cNvSpPr>
            <a:spLocks noGrp="1"/>
          </p:cNvSpPr>
          <p:nvPr userDrawn="1">
            <p:ph type="pic" sz="quarter" idx="18" hasCustomPrompt="1"/>
          </p:nvPr>
        </p:nvSpPr>
        <p:spPr>
          <a:xfrm>
            <a:off x="6586607" y="1854200"/>
            <a:ext cx="4766550" cy="2088072"/>
          </a:xfrm>
          <a:solidFill>
            <a:schemeClr val="bg1">
              <a:lumMod val="95000"/>
            </a:schemeClr>
          </a:solidFill>
        </p:spPr>
        <p:txBody>
          <a:bodyPr anchor="ctr"/>
          <a:lstStyle>
            <a:lvl1pPr marL="0" indent="0" algn="ctr">
              <a:buNone/>
              <a:defRPr/>
            </a:lvl1pPr>
          </a:lstStyle>
          <a:p>
            <a:r>
              <a:rPr lang="en-US" dirty="0"/>
              <a:t>CLICK TO INSERT IMAGE</a:t>
            </a:r>
          </a:p>
        </p:txBody>
      </p:sp>
      <p:sp>
        <p:nvSpPr>
          <p:cNvPr id="55" name="TextBox 54">
            <a:extLst>
              <a:ext uri="{FF2B5EF4-FFF2-40B4-BE49-F238E27FC236}">
                <a16:creationId xmlns:a16="http://schemas.microsoft.com/office/drawing/2014/main" id="{4E04ED03-EA9F-4368-A83A-01E9195C1AF3}"/>
              </a:ext>
            </a:extLst>
          </p:cNvPr>
          <p:cNvSpPr txBox="1"/>
          <p:nvPr userDrawn="1"/>
        </p:nvSpPr>
        <p:spPr>
          <a:xfrm>
            <a:off x="176868" y="6365106"/>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900" b="0" i="0" kern="1200" smtClean="0">
                <a:solidFill>
                  <a:schemeClr val="bg1"/>
                </a:solidFill>
                <a:latin typeface="Roboto" charset="0"/>
                <a:ea typeface="Roboto" charset="0"/>
                <a:cs typeface="Roboto" charset="0"/>
              </a:rPr>
              <a:pPr marL="0" lvl="0" algn="ctr" defTabSz="457200" rtl="0" eaLnBrk="1" latinLnBrk="0" hangingPunct="1"/>
              <a:t>‹#›</a:t>
            </a:fld>
            <a:endParaRPr lang="en-US" sz="900" b="0" i="0" kern="1200" dirty="0">
              <a:solidFill>
                <a:schemeClr val="bg1"/>
              </a:solidFill>
              <a:latin typeface="Roboto" charset="0"/>
              <a:ea typeface="Roboto" charset="0"/>
              <a:cs typeface="Roboto" charset="0"/>
            </a:endParaRPr>
          </a:p>
        </p:txBody>
      </p:sp>
      <p:sp>
        <p:nvSpPr>
          <p:cNvPr id="3" name="TextBox 2">
            <a:extLst>
              <a:ext uri="{FF2B5EF4-FFF2-40B4-BE49-F238E27FC236}">
                <a16:creationId xmlns:a16="http://schemas.microsoft.com/office/drawing/2014/main" id="{7B478BEA-4903-4298-BEE0-9D44347BD4FE}"/>
              </a:ext>
            </a:extLst>
          </p:cNvPr>
          <p:cNvSpPr txBox="1"/>
          <p:nvPr userDrawn="1"/>
        </p:nvSpPr>
        <p:spPr>
          <a:xfrm>
            <a:off x="1023708"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dirty="0">
                <a:solidFill>
                  <a:schemeClr val="tx1"/>
                </a:solidFill>
                <a:latin typeface="Roboto" charset="0"/>
                <a:ea typeface="Roboto" charset="0"/>
                <a:cs typeface="Roboto" charset="0"/>
              </a:rPr>
              <a:t>© Informatica. Proprietary and Confidential.</a:t>
            </a:r>
          </a:p>
        </p:txBody>
      </p:sp>
      <p:pic>
        <p:nvPicPr>
          <p:cNvPr id="16" name="Picture 15">
            <a:extLst>
              <a:ext uri="{FF2B5EF4-FFF2-40B4-BE49-F238E27FC236}">
                <a16:creationId xmlns:a16="http://schemas.microsoft.com/office/drawing/2014/main" id="{3D50B40B-C569-8D4D-BEC0-84E7834A2025}"/>
              </a:ext>
            </a:extLst>
          </p:cNvPr>
          <p:cNvPicPr>
            <a:picLocks noChangeAspect="1"/>
          </p:cNvPicPr>
          <p:nvPr userDrawn="1"/>
        </p:nvPicPr>
        <p:blipFill>
          <a:blip r:embed="rId3"/>
          <a:stretch>
            <a:fillRect/>
          </a:stretch>
        </p:blipFill>
        <p:spPr>
          <a:xfrm>
            <a:off x="9743687" y="6098796"/>
            <a:ext cx="2040934" cy="699990"/>
          </a:xfrm>
          <a:prstGeom prst="rect">
            <a:avLst/>
          </a:prstGeom>
        </p:spPr>
      </p:pic>
      <p:sp>
        <p:nvSpPr>
          <p:cNvPr id="22" name="Title 1">
            <a:extLst>
              <a:ext uri="{FF2B5EF4-FFF2-40B4-BE49-F238E27FC236}">
                <a16:creationId xmlns:a16="http://schemas.microsoft.com/office/drawing/2014/main" id="{7189EB9B-B924-D249-A260-542D7F74BD4E}"/>
              </a:ext>
            </a:extLst>
          </p:cNvPr>
          <p:cNvSpPr>
            <a:spLocks noGrp="1"/>
          </p:cNvSpPr>
          <p:nvPr>
            <p:ph type="title" hasCustomPrompt="1"/>
          </p:nvPr>
        </p:nvSpPr>
        <p:spPr>
          <a:xfrm>
            <a:off x="488950" y="482602"/>
            <a:ext cx="11188700" cy="562427"/>
          </a:xfrm>
          <a:prstGeom prst="rect">
            <a:avLst/>
          </a:prstGeom>
        </p:spPr>
        <p:txBody>
          <a:bodyPr lIns="0"/>
          <a:lstStyle>
            <a:lvl1pPr>
              <a:defRPr baseline="0">
                <a:solidFill>
                  <a:schemeClr val="tx1"/>
                </a:solidFill>
              </a:defRPr>
            </a:lvl1pPr>
          </a:lstStyle>
          <a:p>
            <a:r>
              <a:rPr lang="en-US" dirty="0"/>
              <a:t>Headline Goes Here, Roboto Light, 36 Points, 1 Line</a:t>
            </a:r>
          </a:p>
        </p:txBody>
      </p:sp>
      <p:sp>
        <p:nvSpPr>
          <p:cNvPr id="24" name="Text Placeholder 4">
            <a:extLst>
              <a:ext uri="{FF2B5EF4-FFF2-40B4-BE49-F238E27FC236}">
                <a16:creationId xmlns:a16="http://schemas.microsoft.com/office/drawing/2014/main" id="{8BDF6AF4-D73C-B047-B691-63FAEA256D4F}"/>
              </a:ext>
            </a:extLst>
          </p:cNvPr>
          <p:cNvSpPr>
            <a:spLocks noGrp="1"/>
          </p:cNvSpPr>
          <p:nvPr>
            <p:ph type="body" sz="quarter" idx="13" hasCustomPrompt="1"/>
          </p:nvPr>
        </p:nvSpPr>
        <p:spPr>
          <a:xfrm>
            <a:off x="488951" y="1043417"/>
            <a:ext cx="11193296" cy="331601"/>
          </a:xfrm>
        </p:spPr>
        <p:txBody>
          <a:bodyPr anchor="t"/>
          <a:lstStyle>
            <a:lvl1pPr marL="0" indent="0">
              <a:buNone/>
              <a:defRPr sz="2400" i="0">
                <a:solidFill>
                  <a:schemeClr val="bg1">
                    <a:lumMod val="50000"/>
                  </a:schemeClr>
                </a:solidFill>
              </a:defRPr>
            </a:lvl1pPr>
            <a:lvl2pPr marL="169863" indent="0">
              <a:buNone/>
              <a:defRPr/>
            </a:lvl2pPr>
            <a:lvl3pPr marL="344487" indent="0">
              <a:buNone/>
              <a:defRPr/>
            </a:lvl3pPr>
            <a:lvl4pPr marL="458788" indent="0">
              <a:buNone/>
              <a:defRPr/>
            </a:lvl4pPr>
            <a:lvl5pPr marL="630237" indent="0">
              <a:buNone/>
              <a:defRPr/>
            </a:lvl5pPr>
          </a:lstStyle>
          <a:p>
            <a:pPr lvl="0"/>
            <a:r>
              <a:rPr lang="en-US" dirty="0"/>
              <a:t>Subtitle goes here, </a:t>
            </a:r>
            <a:r>
              <a:rPr lang="en-US" dirty="0" err="1"/>
              <a:t>Roboto</a:t>
            </a:r>
            <a:r>
              <a:rPr lang="en-US" dirty="0"/>
              <a:t> Regular 24 point, no longer than one line</a:t>
            </a:r>
          </a:p>
        </p:txBody>
      </p:sp>
    </p:spTree>
    <p:extLst>
      <p:ext uri="{BB962C8B-B14F-4D97-AF65-F5344CB8AC3E}">
        <p14:creationId xmlns:p14="http://schemas.microsoft.com/office/powerpoint/2010/main" val="3973294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_option 2 w/ headsho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Diamond 7">
            <a:extLst>
              <a:ext uri="{FF2B5EF4-FFF2-40B4-BE49-F238E27FC236}">
                <a16:creationId xmlns:a16="http://schemas.microsoft.com/office/drawing/2014/main" id="{F5613363-69C0-48DC-AA41-FB77E9E0D220}"/>
              </a:ext>
            </a:extLst>
          </p:cNvPr>
          <p:cNvSpPr/>
          <p:nvPr userDrawn="1"/>
        </p:nvSpPr>
        <p:spPr>
          <a:xfrm>
            <a:off x="8747094" y="732346"/>
            <a:ext cx="2909484" cy="2909484"/>
          </a:xfrm>
          <a:prstGeom prst="diamond">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algn="ctr"/>
            <a:endParaRPr lang="en-US">
              <a:latin typeface="Roboto" charset="0"/>
              <a:ea typeface="Roboto" charset="0"/>
              <a:cs typeface="Roboto" charset="0"/>
            </a:endParaRPr>
          </a:p>
        </p:txBody>
      </p:sp>
      <p:sp>
        <p:nvSpPr>
          <p:cNvPr id="9" name="Picture Placeholder 6">
            <a:extLst>
              <a:ext uri="{FF2B5EF4-FFF2-40B4-BE49-F238E27FC236}">
                <a16:creationId xmlns:a16="http://schemas.microsoft.com/office/drawing/2014/main" id="{37D6F37B-405E-4563-8A14-BBF68692BE50}"/>
              </a:ext>
            </a:extLst>
          </p:cNvPr>
          <p:cNvSpPr>
            <a:spLocks noGrp="1"/>
          </p:cNvSpPr>
          <p:nvPr>
            <p:ph type="pic" sz="quarter" idx="15" hasCustomPrompt="1"/>
          </p:nvPr>
        </p:nvSpPr>
        <p:spPr>
          <a:xfrm>
            <a:off x="8753599" y="558610"/>
            <a:ext cx="2889058" cy="2887103"/>
          </a:xfrm>
          <a:prstGeom prst="diamond">
            <a:avLst/>
          </a:prstGeom>
          <a:solidFill>
            <a:schemeClr val="bg1">
              <a:lumMod val="95000"/>
            </a:schemeClr>
          </a:solidFill>
          <a:ln w="38100">
            <a:solidFill>
              <a:schemeClr val="bg1"/>
            </a:solidFill>
          </a:ln>
        </p:spPr>
        <p:txBody>
          <a:bodyPr vert="horz" lIns="0" tIns="0" rIns="0" bIns="0" rtlCol="0" anchor="ctr">
            <a:noAutofit/>
          </a:bodyPr>
          <a:lstStyle>
            <a:lvl1pPr>
              <a:defRPr lang="en-US" dirty="0"/>
            </a:lvl1pPr>
          </a:lstStyle>
          <a:p>
            <a:pPr marL="0" lvl="0" indent="0" algn="ctr">
              <a:buNone/>
            </a:pPr>
            <a:r>
              <a:rPr lang="en-US" dirty="0"/>
              <a:t>CLICK TO INSERT IMAGE</a:t>
            </a:r>
          </a:p>
        </p:txBody>
      </p:sp>
      <p:sp>
        <p:nvSpPr>
          <p:cNvPr id="15" name="Text Placeholder 16">
            <a:extLst>
              <a:ext uri="{FF2B5EF4-FFF2-40B4-BE49-F238E27FC236}">
                <a16:creationId xmlns:a16="http://schemas.microsoft.com/office/drawing/2014/main" id="{5119183F-DFD9-B043-98CE-47E3A872B0F3}"/>
              </a:ext>
            </a:extLst>
          </p:cNvPr>
          <p:cNvSpPr>
            <a:spLocks noGrp="1"/>
          </p:cNvSpPr>
          <p:nvPr>
            <p:ph type="body" sz="quarter" idx="10" hasCustomPrompt="1"/>
          </p:nvPr>
        </p:nvSpPr>
        <p:spPr bwMode="gray">
          <a:xfrm>
            <a:off x="1161225" y="1251522"/>
            <a:ext cx="6369780" cy="648398"/>
          </a:xfrm>
          <a:prstGeom prst="rect">
            <a:avLst/>
          </a:prstGeom>
        </p:spPr>
        <p:txBody>
          <a:bodyPr anchor="b" anchorCtr="0"/>
          <a:lstStyle>
            <a:lvl1pPr marL="0" indent="0">
              <a:lnSpc>
                <a:spcPct val="95000"/>
              </a:lnSpc>
              <a:spcBef>
                <a:spcPts val="0"/>
              </a:spcBef>
              <a:spcAft>
                <a:spcPts val="0"/>
              </a:spcAft>
              <a:buNone/>
              <a:defRPr sz="2400" b="0" i="0">
                <a:solidFill>
                  <a:schemeClr val="bg1"/>
                </a:solidFill>
                <a:latin typeface="+mj-lt"/>
                <a:ea typeface="Roboto" charset="0"/>
                <a:cs typeface="Roboto" charset="0"/>
              </a:defRPr>
            </a:lvl1pPr>
            <a:lvl2pPr marL="457108" indent="0">
              <a:buNone/>
              <a:defRPr/>
            </a:lvl2pPr>
            <a:lvl3pPr marL="914217" indent="0">
              <a:buNone/>
              <a:defRPr/>
            </a:lvl3pPr>
            <a:lvl4pPr marL="1371326" indent="0">
              <a:buNone/>
              <a:defRPr/>
            </a:lvl4pPr>
            <a:lvl5pPr marL="1828435" indent="0">
              <a:buNone/>
              <a:defRPr/>
            </a:lvl5pPr>
          </a:lstStyle>
          <a:p>
            <a:pPr lvl="0"/>
            <a:r>
              <a:rPr lang="en-US" dirty="0"/>
              <a:t>Date Roboto Light 20 Point</a:t>
            </a:r>
          </a:p>
        </p:txBody>
      </p:sp>
      <p:sp>
        <p:nvSpPr>
          <p:cNvPr id="16" name="Text Placeholder 23">
            <a:extLst>
              <a:ext uri="{FF2B5EF4-FFF2-40B4-BE49-F238E27FC236}">
                <a16:creationId xmlns:a16="http://schemas.microsoft.com/office/drawing/2014/main" id="{9865506C-2CCE-004A-9DD4-25AD8B0F90BD}"/>
              </a:ext>
            </a:extLst>
          </p:cNvPr>
          <p:cNvSpPr>
            <a:spLocks noGrp="1"/>
          </p:cNvSpPr>
          <p:nvPr>
            <p:ph type="body" sz="quarter" idx="11" hasCustomPrompt="1"/>
          </p:nvPr>
        </p:nvSpPr>
        <p:spPr bwMode="gray">
          <a:xfrm>
            <a:off x="1161225" y="2629671"/>
            <a:ext cx="7592373" cy="2102713"/>
          </a:xfrm>
          <a:prstGeom prst="rect">
            <a:avLst/>
          </a:prstGeom>
        </p:spPr>
        <p:txBody>
          <a:bodyPr anchor="ctr" anchorCtr="0"/>
          <a:lstStyle>
            <a:lvl1pPr marL="0" indent="0">
              <a:spcBef>
                <a:spcPts val="600"/>
              </a:spcBef>
              <a:buNone/>
              <a:defRPr sz="5400" b="0" i="0">
                <a:solidFill>
                  <a:schemeClr val="bg1"/>
                </a:solidFill>
                <a:latin typeface="+mj-lt"/>
                <a:ea typeface="Roboto Lt" charset="0"/>
                <a:cs typeface="Roboto Lt" charset="0"/>
              </a:defRPr>
            </a:lvl1pPr>
            <a:lvl2pPr marL="457108" indent="0">
              <a:buNone/>
              <a:defRPr/>
            </a:lvl2pPr>
            <a:lvl3pPr marL="914217" indent="0">
              <a:buNone/>
              <a:defRPr/>
            </a:lvl3pPr>
            <a:lvl4pPr marL="1371326" indent="0">
              <a:buNone/>
              <a:defRPr/>
            </a:lvl4pPr>
            <a:lvl5pPr marL="1828435" indent="0">
              <a:buNone/>
              <a:defRPr/>
            </a:lvl5pPr>
          </a:lstStyle>
          <a:p>
            <a:r>
              <a:rPr lang="en-US" dirty="0"/>
              <a:t>Title Goes Here Roboto Light 54 Point</a:t>
            </a:r>
          </a:p>
        </p:txBody>
      </p:sp>
      <p:sp>
        <p:nvSpPr>
          <p:cNvPr id="17" name="Text Placeholder 25">
            <a:extLst>
              <a:ext uri="{FF2B5EF4-FFF2-40B4-BE49-F238E27FC236}">
                <a16:creationId xmlns:a16="http://schemas.microsoft.com/office/drawing/2014/main" id="{84C07AB6-98ED-4049-8D88-7E2B90C8D1C1}"/>
              </a:ext>
            </a:extLst>
          </p:cNvPr>
          <p:cNvSpPr>
            <a:spLocks noGrp="1"/>
          </p:cNvSpPr>
          <p:nvPr>
            <p:ph type="body" sz="quarter" idx="12" hasCustomPrompt="1"/>
          </p:nvPr>
        </p:nvSpPr>
        <p:spPr bwMode="gray">
          <a:xfrm>
            <a:off x="1161225" y="4908299"/>
            <a:ext cx="6393330" cy="289576"/>
          </a:xfrm>
          <a:prstGeom prst="rect">
            <a:avLst/>
          </a:prstGeom>
        </p:spPr>
        <p:txBody>
          <a:bodyPr/>
          <a:lstStyle>
            <a:lvl1pPr marL="0" indent="0">
              <a:buNone/>
              <a:defRPr b="0" i="0" baseline="0">
                <a:solidFill>
                  <a:schemeClr val="bg1"/>
                </a:solidFill>
                <a:latin typeface="Roboto" charset="0"/>
                <a:ea typeface="Roboto" charset="0"/>
                <a:cs typeface="Roboto" charset="0"/>
              </a:defRPr>
            </a:lvl1pPr>
            <a:lvl2pPr marL="457108" indent="0">
              <a:buNone/>
              <a:defRPr/>
            </a:lvl2pPr>
            <a:lvl3pPr marL="914217" indent="0">
              <a:buNone/>
              <a:defRPr/>
            </a:lvl3pPr>
            <a:lvl4pPr marL="1371326" indent="0">
              <a:buNone/>
              <a:defRPr/>
            </a:lvl4pPr>
            <a:lvl5pPr marL="1828435" indent="0">
              <a:buNone/>
              <a:defRPr/>
            </a:lvl5pPr>
          </a:lstStyle>
          <a:p>
            <a:pPr lvl="0"/>
            <a:r>
              <a:rPr lang="en-US" dirty="0"/>
              <a:t>Speaker Name, Roboto Regular 20 Point</a:t>
            </a:r>
          </a:p>
        </p:txBody>
      </p:sp>
      <p:sp>
        <p:nvSpPr>
          <p:cNvPr id="18" name="Text Placeholder 27">
            <a:extLst>
              <a:ext uri="{FF2B5EF4-FFF2-40B4-BE49-F238E27FC236}">
                <a16:creationId xmlns:a16="http://schemas.microsoft.com/office/drawing/2014/main" id="{92CDFCC1-8052-0048-9994-D6CA17E752F1}"/>
              </a:ext>
            </a:extLst>
          </p:cNvPr>
          <p:cNvSpPr>
            <a:spLocks noGrp="1"/>
          </p:cNvSpPr>
          <p:nvPr>
            <p:ph type="body" sz="quarter" idx="13" hasCustomPrompt="1"/>
          </p:nvPr>
        </p:nvSpPr>
        <p:spPr bwMode="gray">
          <a:xfrm>
            <a:off x="1161225" y="5294969"/>
            <a:ext cx="6393330" cy="291041"/>
          </a:xfrm>
          <a:prstGeom prst="rect">
            <a:avLst/>
          </a:prstGeom>
        </p:spPr>
        <p:txBody>
          <a:bodyPr/>
          <a:lstStyle>
            <a:lvl1pPr marL="0" indent="0">
              <a:buNone/>
              <a:defRPr i="1" baseline="0">
                <a:solidFill>
                  <a:schemeClr val="bg1"/>
                </a:solidFill>
              </a:defRPr>
            </a:lvl1pPr>
            <a:lvl2pPr marL="457108" indent="0">
              <a:buNone/>
              <a:defRPr/>
            </a:lvl2pPr>
            <a:lvl3pPr marL="914217" indent="0">
              <a:buNone/>
              <a:defRPr/>
            </a:lvl3pPr>
            <a:lvl4pPr marL="1371326" indent="0">
              <a:buNone/>
              <a:defRPr/>
            </a:lvl4pPr>
            <a:lvl5pPr marL="1828435" indent="0">
              <a:buNone/>
              <a:defRPr/>
            </a:lvl5pPr>
          </a:lstStyle>
          <a:p>
            <a:pPr lvl="0"/>
            <a:r>
              <a:rPr lang="en-US" dirty="0"/>
              <a:t>Speaker Title or Email, Roboto Italic 20 Point</a:t>
            </a:r>
          </a:p>
        </p:txBody>
      </p:sp>
      <p:pic>
        <p:nvPicPr>
          <p:cNvPr id="22" name="Picture 21">
            <a:extLst>
              <a:ext uri="{FF2B5EF4-FFF2-40B4-BE49-F238E27FC236}">
                <a16:creationId xmlns:a16="http://schemas.microsoft.com/office/drawing/2014/main" id="{D65F61FE-A349-8043-9CBB-E9B05B6D9249}"/>
              </a:ext>
            </a:extLst>
          </p:cNvPr>
          <p:cNvPicPr>
            <a:picLocks noChangeAspect="1"/>
          </p:cNvPicPr>
          <p:nvPr userDrawn="1"/>
        </p:nvPicPr>
        <p:blipFill>
          <a:blip r:embed="rId3"/>
          <a:stretch>
            <a:fillRect/>
          </a:stretch>
        </p:blipFill>
        <p:spPr>
          <a:xfrm>
            <a:off x="9458461" y="6007608"/>
            <a:ext cx="2478024" cy="849901"/>
          </a:xfrm>
          <a:prstGeom prst="rect">
            <a:avLst/>
          </a:prstGeom>
        </p:spPr>
      </p:pic>
      <p:cxnSp>
        <p:nvCxnSpPr>
          <p:cNvPr id="13" name="Straight Connector 12">
            <a:extLst>
              <a:ext uri="{FF2B5EF4-FFF2-40B4-BE49-F238E27FC236}">
                <a16:creationId xmlns:a16="http://schemas.microsoft.com/office/drawing/2014/main" id="{84D836DA-B910-E44F-9409-6B499266240F}"/>
              </a:ext>
            </a:extLst>
          </p:cNvPr>
          <p:cNvCxnSpPr>
            <a:cxnSpLocks/>
          </p:cNvCxnSpPr>
          <p:nvPr userDrawn="1"/>
        </p:nvCxnSpPr>
        <p:spPr>
          <a:xfrm>
            <a:off x="1173323" y="1956269"/>
            <a:ext cx="42201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19430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Subtitle/Images/Headlines &amp;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Content Placeholder 5">
            <a:extLst>
              <a:ext uri="{FF2B5EF4-FFF2-40B4-BE49-F238E27FC236}">
                <a16:creationId xmlns:a16="http://schemas.microsoft.com/office/drawing/2014/main" id="{956D1FDC-5FA5-4B2D-A5AA-86637FA3B976}"/>
              </a:ext>
            </a:extLst>
          </p:cNvPr>
          <p:cNvSpPr>
            <a:spLocks noGrp="1"/>
          </p:cNvSpPr>
          <p:nvPr userDrawn="1">
            <p:ph sz="quarter" idx="14" hasCustomPrompt="1"/>
          </p:nvPr>
        </p:nvSpPr>
        <p:spPr>
          <a:xfrm>
            <a:off x="1031593" y="4259044"/>
            <a:ext cx="3318413" cy="1450975"/>
          </a:xfrm>
        </p:spPr>
        <p:txBody>
          <a:bodyPr/>
          <a:lstStyle>
            <a:lvl1pPr>
              <a:spcBef>
                <a:spcPts val="600"/>
              </a:spcBef>
              <a:defRPr sz="1600" baseline="0"/>
            </a:lvl1pPr>
            <a:lvl2pPr>
              <a:spcBef>
                <a:spcPts val="600"/>
              </a:spcBef>
              <a:defRPr sz="1400" baseline="0"/>
            </a:lvl2pPr>
            <a:lvl3pPr>
              <a:spcBef>
                <a:spcPts val="600"/>
              </a:spcBef>
              <a:defRPr sz="1200"/>
            </a:lvl3pPr>
          </a:lstStyle>
          <a:p>
            <a:pPr lvl="0"/>
            <a:r>
              <a:rPr lang="en-US" dirty="0"/>
              <a:t>First bullet, Roboto Regular </a:t>
            </a:r>
          </a:p>
          <a:p>
            <a:pPr lvl="1"/>
            <a:r>
              <a:rPr lang="en-US" dirty="0"/>
              <a:t>Second bullet, Roboto Regular</a:t>
            </a:r>
          </a:p>
          <a:p>
            <a:pPr lvl="2"/>
            <a:r>
              <a:rPr lang="en-US" dirty="0"/>
              <a:t>Third bullet, Roboto Regular</a:t>
            </a:r>
          </a:p>
        </p:txBody>
      </p:sp>
      <p:sp>
        <p:nvSpPr>
          <p:cNvPr id="12" name="Text Placeholder 2">
            <a:extLst>
              <a:ext uri="{FF2B5EF4-FFF2-40B4-BE49-F238E27FC236}">
                <a16:creationId xmlns:a16="http://schemas.microsoft.com/office/drawing/2014/main" id="{055D64D1-7AD8-4D53-A0ED-118D84E22AE7}"/>
              </a:ext>
            </a:extLst>
          </p:cNvPr>
          <p:cNvSpPr>
            <a:spLocks noGrp="1"/>
          </p:cNvSpPr>
          <p:nvPr userDrawn="1">
            <p:ph type="body" idx="1" hasCustomPrompt="1"/>
          </p:nvPr>
        </p:nvSpPr>
        <p:spPr>
          <a:xfrm>
            <a:off x="1038839" y="3822481"/>
            <a:ext cx="3318413" cy="436563"/>
          </a:xfrm>
          <a:prstGeom prst="rect">
            <a:avLst/>
          </a:prstGeom>
        </p:spPr>
        <p:txBody>
          <a:bodyPr anchor="t"/>
          <a:lstStyle>
            <a:lvl1pPr marL="0" indent="0">
              <a:buNone/>
              <a:defRPr sz="1600" b="1" baseline="0">
                <a:solidFill>
                  <a:schemeClr val="accent5"/>
                </a:solidFill>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2" indent="0">
              <a:buNone/>
              <a:defRPr sz="1600" b="1"/>
            </a:lvl6pPr>
            <a:lvl7pPr marL="2742651" indent="0">
              <a:buNone/>
              <a:defRPr sz="1600" b="1"/>
            </a:lvl7pPr>
            <a:lvl8pPr marL="3199760" indent="0">
              <a:buNone/>
              <a:defRPr sz="1600" b="1"/>
            </a:lvl8pPr>
            <a:lvl9pPr marL="3656869" indent="0">
              <a:buNone/>
              <a:defRPr sz="1600" b="1"/>
            </a:lvl9pPr>
          </a:lstStyle>
          <a:p>
            <a:pPr lvl="0"/>
            <a:r>
              <a:rPr lang="en-US" dirty="0"/>
              <a:t>Headline goes here</a:t>
            </a:r>
          </a:p>
        </p:txBody>
      </p:sp>
      <p:sp>
        <p:nvSpPr>
          <p:cNvPr id="15" name="Content Placeholder 5">
            <a:extLst>
              <a:ext uri="{FF2B5EF4-FFF2-40B4-BE49-F238E27FC236}">
                <a16:creationId xmlns:a16="http://schemas.microsoft.com/office/drawing/2014/main" id="{26C68CC7-FCFB-4E97-8E67-90A77CBE7883}"/>
              </a:ext>
            </a:extLst>
          </p:cNvPr>
          <p:cNvSpPr>
            <a:spLocks noGrp="1"/>
          </p:cNvSpPr>
          <p:nvPr userDrawn="1">
            <p:ph sz="quarter" idx="15" hasCustomPrompt="1"/>
          </p:nvPr>
        </p:nvSpPr>
        <p:spPr>
          <a:xfrm>
            <a:off x="4694927" y="4259044"/>
            <a:ext cx="3318413" cy="1450975"/>
          </a:xfrm>
        </p:spPr>
        <p:txBody>
          <a:bodyPr/>
          <a:lstStyle>
            <a:lvl1pPr>
              <a:spcBef>
                <a:spcPts val="600"/>
              </a:spcBef>
              <a:defRPr sz="1600" baseline="0"/>
            </a:lvl1pPr>
            <a:lvl2pPr>
              <a:spcBef>
                <a:spcPts val="600"/>
              </a:spcBef>
              <a:defRPr sz="1400" baseline="0"/>
            </a:lvl2pPr>
            <a:lvl3pPr>
              <a:spcBef>
                <a:spcPts val="600"/>
              </a:spcBef>
              <a:defRPr sz="1200"/>
            </a:lvl3pPr>
          </a:lstStyle>
          <a:p>
            <a:pPr lvl="0"/>
            <a:r>
              <a:rPr lang="en-US" dirty="0"/>
              <a:t>First bullet, Roboto Regular </a:t>
            </a:r>
          </a:p>
          <a:p>
            <a:pPr lvl="1"/>
            <a:r>
              <a:rPr lang="en-US" dirty="0"/>
              <a:t>Second bullet, Roboto Regular</a:t>
            </a:r>
          </a:p>
          <a:p>
            <a:pPr lvl="2"/>
            <a:r>
              <a:rPr lang="en-US" dirty="0"/>
              <a:t>Third bullet, Roboto Regular</a:t>
            </a:r>
          </a:p>
        </p:txBody>
      </p:sp>
      <p:sp>
        <p:nvSpPr>
          <p:cNvPr id="19" name="Text Placeholder 2">
            <a:extLst>
              <a:ext uri="{FF2B5EF4-FFF2-40B4-BE49-F238E27FC236}">
                <a16:creationId xmlns:a16="http://schemas.microsoft.com/office/drawing/2014/main" id="{F89E3C59-0A83-46CB-AFF1-091BB74D0EA9}"/>
              </a:ext>
            </a:extLst>
          </p:cNvPr>
          <p:cNvSpPr>
            <a:spLocks noGrp="1"/>
          </p:cNvSpPr>
          <p:nvPr userDrawn="1">
            <p:ph type="body" idx="16" hasCustomPrompt="1"/>
          </p:nvPr>
        </p:nvSpPr>
        <p:spPr>
          <a:xfrm>
            <a:off x="4702173" y="3822481"/>
            <a:ext cx="3318413" cy="436563"/>
          </a:xfrm>
          <a:prstGeom prst="rect">
            <a:avLst/>
          </a:prstGeom>
        </p:spPr>
        <p:txBody>
          <a:bodyPr anchor="t"/>
          <a:lstStyle>
            <a:lvl1pPr marL="0" indent="0">
              <a:buNone/>
              <a:defRPr sz="1600" b="1" baseline="0">
                <a:solidFill>
                  <a:schemeClr val="accent5"/>
                </a:solidFill>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2" indent="0">
              <a:buNone/>
              <a:defRPr sz="1600" b="1"/>
            </a:lvl6pPr>
            <a:lvl7pPr marL="2742651" indent="0">
              <a:buNone/>
              <a:defRPr sz="1600" b="1"/>
            </a:lvl7pPr>
            <a:lvl8pPr marL="3199760" indent="0">
              <a:buNone/>
              <a:defRPr sz="1600" b="1"/>
            </a:lvl8pPr>
            <a:lvl9pPr marL="3656869" indent="0">
              <a:buNone/>
              <a:defRPr sz="1600" b="1"/>
            </a:lvl9pPr>
          </a:lstStyle>
          <a:p>
            <a:pPr lvl="0"/>
            <a:r>
              <a:rPr lang="en-US" dirty="0"/>
              <a:t>Headline goes here</a:t>
            </a:r>
          </a:p>
        </p:txBody>
      </p:sp>
      <p:sp>
        <p:nvSpPr>
          <p:cNvPr id="20" name="Content Placeholder 5">
            <a:extLst>
              <a:ext uri="{FF2B5EF4-FFF2-40B4-BE49-F238E27FC236}">
                <a16:creationId xmlns:a16="http://schemas.microsoft.com/office/drawing/2014/main" id="{962B4E02-4383-440D-AB49-C9B1E385046F}"/>
              </a:ext>
            </a:extLst>
          </p:cNvPr>
          <p:cNvSpPr>
            <a:spLocks noGrp="1"/>
          </p:cNvSpPr>
          <p:nvPr userDrawn="1">
            <p:ph sz="quarter" idx="17" hasCustomPrompt="1"/>
          </p:nvPr>
        </p:nvSpPr>
        <p:spPr>
          <a:xfrm>
            <a:off x="8359050" y="4259044"/>
            <a:ext cx="3318413" cy="1450975"/>
          </a:xfrm>
        </p:spPr>
        <p:txBody>
          <a:bodyPr/>
          <a:lstStyle>
            <a:lvl1pPr>
              <a:spcBef>
                <a:spcPts val="600"/>
              </a:spcBef>
              <a:defRPr sz="1600" baseline="0"/>
            </a:lvl1pPr>
            <a:lvl2pPr>
              <a:spcBef>
                <a:spcPts val="600"/>
              </a:spcBef>
              <a:defRPr sz="1400" baseline="0"/>
            </a:lvl2pPr>
            <a:lvl3pPr>
              <a:spcBef>
                <a:spcPts val="600"/>
              </a:spcBef>
              <a:defRPr sz="1200"/>
            </a:lvl3pPr>
          </a:lstStyle>
          <a:p>
            <a:pPr lvl="0"/>
            <a:r>
              <a:rPr lang="en-US" dirty="0"/>
              <a:t>First bullet, Roboto Regular </a:t>
            </a:r>
          </a:p>
          <a:p>
            <a:pPr lvl="1"/>
            <a:r>
              <a:rPr lang="en-US" dirty="0"/>
              <a:t>Second bullet, Roboto Regular</a:t>
            </a:r>
          </a:p>
          <a:p>
            <a:pPr lvl="2"/>
            <a:r>
              <a:rPr lang="en-US" dirty="0"/>
              <a:t>Third bullet, Roboto Regular</a:t>
            </a:r>
          </a:p>
        </p:txBody>
      </p:sp>
      <p:sp>
        <p:nvSpPr>
          <p:cNvPr id="21" name="Text Placeholder 2">
            <a:extLst>
              <a:ext uri="{FF2B5EF4-FFF2-40B4-BE49-F238E27FC236}">
                <a16:creationId xmlns:a16="http://schemas.microsoft.com/office/drawing/2014/main" id="{50F3AD2F-D27D-4DC6-8CE0-ACED6D2AD57D}"/>
              </a:ext>
            </a:extLst>
          </p:cNvPr>
          <p:cNvSpPr>
            <a:spLocks noGrp="1"/>
          </p:cNvSpPr>
          <p:nvPr userDrawn="1">
            <p:ph type="body" idx="18" hasCustomPrompt="1"/>
          </p:nvPr>
        </p:nvSpPr>
        <p:spPr>
          <a:xfrm>
            <a:off x="8366296" y="3822481"/>
            <a:ext cx="3318413" cy="436563"/>
          </a:xfrm>
          <a:prstGeom prst="rect">
            <a:avLst/>
          </a:prstGeom>
        </p:spPr>
        <p:txBody>
          <a:bodyPr anchor="t"/>
          <a:lstStyle>
            <a:lvl1pPr marL="0" indent="0">
              <a:buNone/>
              <a:defRPr sz="1600" b="1" baseline="0">
                <a:solidFill>
                  <a:schemeClr val="accent5"/>
                </a:solidFill>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2" indent="0">
              <a:buNone/>
              <a:defRPr sz="1600" b="1"/>
            </a:lvl6pPr>
            <a:lvl7pPr marL="2742651" indent="0">
              <a:buNone/>
              <a:defRPr sz="1600" b="1"/>
            </a:lvl7pPr>
            <a:lvl8pPr marL="3199760" indent="0">
              <a:buNone/>
              <a:defRPr sz="1600" b="1"/>
            </a:lvl8pPr>
            <a:lvl9pPr marL="3656869" indent="0">
              <a:buNone/>
              <a:defRPr sz="1600" b="1"/>
            </a:lvl9pPr>
          </a:lstStyle>
          <a:p>
            <a:pPr lvl="0"/>
            <a:r>
              <a:rPr lang="en-US" dirty="0"/>
              <a:t>Headline goes here</a:t>
            </a:r>
          </a:p>
        </p:txBody>
      </p:sp>
      <p:sp>
        <p:nvSpPr>
          <p:cNvPr id="25" name="Picture Placeholder 6">
            <a:extLst>
              <a:ext uri="{FF2B5EF4-FFF2-40B4-BE49-F238E27FC236}">
                <a16:creationId xmlns:a16="http://schemas.microsoft.com/office/drawing/2014/main" id="{B7EFA5D9-9640-46A8-B02E-1BABCFCA2A19}"/>
              </a:ext>
            </a:extLst>
          </p:cNvPr>
          <p:cNvSpPr>
            <a:spLocks noGrp="1"/>
          </p:cNvSpPr>
          <p:nvPr userDrawn="1">
            <p:ph type="pic" sz="quarter" idx="22" hasCustomPrompt="1"/>
          </p:nvPr>
        </p:nvSpPr>
        <p:spPr>
          <a:xfrm>
            <a:off x="1037004" y="1854200"/>
            <a:ext cx="3170725" cy="1574800"/>
          </a:xfrm>
          <a:solidFill>
            <a:schemeClr val="bg1">
              <a:lumMod val="95000"/>
            </a:schemeClr>
          </a:solidFill>
        </p:spPr>
        <p:txBody>
          <a:bodyPr anchor="ctr"/>
          <a:lstStyle>
            <a:lvl1pPr marL="0" indent="0" algn="ctr">
              <a:buNone/>
              <a:defRPr/>
            </a:lvl1pPr>
          </a:lstStyle>
          <a:p>
            <a:r>
              <a:rPr lang="en-US" dirty="0"/>
              <a:t>CLICK TO INSERT IMAGE</a:t>
            </a:r>
          </a:p>
        </p:txBody>
      </p:sp>
      <p:sp>
        <p:nvSpPr>
          <p:cNvPr id="26" name="Picture Placeholder 6">
            <a:extLst>
              <a:ext uri="{FF2B5EF4-FFF2-40B4-BE49-F238E27FC236}">
                <a16:creationId xmlns:a16="http://schemas.microsoft.com/office/drawing/2014/main" id="{5DED8B93-C657-4EC0-BDB2-5286BECAB876}"/>
              </a:ext>
            </a:extLst>
          </p:cNvPr>
          <p:cNvSpPr>
            <a:spLocks noGrp="1"/>
          </p:cNvSpPr>
          <p:nvPr userDrawn="1">
            <p:ph type="pic" sz="quarter" idx="23" hasCustomPrompt="1"/>
          </p:nvPr>
        </p:nvSpPr>
        <p:spPr>
          <a:xfrm>
            <a:off x="4700340" y="1854200"/>
            <a:ext cx="3170725" cy="1574800"/>
          </a:xfrm>
          <a:solidFill>
            <a:schemeClr val="bg1">
              <a:lumMod val="95000"/>
            </a:schemeClr>
          </a:solidFill>
        </p:spPr>
        <p:txBody>
          <a:bodyPr anchor="ctr"/>
          <a:lstStyle>
            <a:lvl1pPr marL="0" indent="0" algn="ctr">
              <a:buNone/>
              <a:defRPr/>
            </a:lvl1pPr>
          </a:lstStyle>
          <a:p>
            <a:r>
              <a:rPr lang="en-US" dirty="0"/>
              <a:t>CLICK TO INSERT IMAGE</a:t>
            </a:r>
          </a:p>
        </p:txBody>
      </p:sp>
      <p:sp>
        <p:nvSpPr>
          <p:cNvPr id="27" name="Picture Placeholder 6">
            <a:extLst>
              <a:ext uri="{FF2B5EF4-FFF2-40B4-BE49-F238E27FC236}">
                <a16:creationId xmlns:a16="http://schemas.microsoft.com/office/drawing/2014/main" id="{FAFF9333-B740-49C5-880B-1C40C90AE23C}"/>
              </a:ext>
            </a:extLst>
          </p:cNvPr>
          <p:cNvSpPr>
            <a:spLocks noGrp="1"/>
          </p:cNvSpPr>
          <p:nvPr userDrawn="1">
            <p:ph type="pic" sz="quarter" idx="24" hasCustomPrompt="1"/>
          </p:nvPr>
        </p:nvSpPr>
        <p:spPr>
          <a:xfrm>
            <a:off x="8359052" y="1854200"/>
            <a:ext cx="3207094" cy="1574800"/>
          </a:xfrm>
          <a:solidFill>
            <a:schemeClr val="bg1">
              <a:lumMod val="95000"/>
            </a:schemeClr>
          </a:solidFill>
        </p:spPr>
        <p:txBody>
          <a:bodyPr anchor="ctr"/>
          <a:lstStyle>
            <a:lvl1pPr marL="0" indent="0" algn="ctr">
              <a:buNone/>
              <a:defRPr/>
            </a:lvl1pPr>
          </a:lstStyle>
          <a:p>
            <a:r>
              <a:rPr lang="en-US" dirty="0"/>
              <a:t>CLICK TO INSERT IMAGE</a:t>
            </a:r>
          </a:p>
        </p:txBody>
      </p:sp>
      <p:sp>
        <p:nvSpPr>
          <p:cNvPr id="56" name="TextBox 55">
            <a:extLst>
              <a:ext uri="{FF2B5EF4-FFF2-40B4-BE49-F238E27FC236}">
                <a16:creationId xmlns:a16="http://schemas.microsoft.com/office/drawing/2014/main" id="{4902183A-4E75-45A1-B406-E334C3C27674}"/>
              </a:ext>
            </a:extLst>
          </p:cNvPr>
          <p:cNvSpPr txBox="1"/>
          <p:nvPr userDrawn="1"/>
        </p:nvSpPr>
        <p:spPr>
          <a:xfrm>
            <a:off x="176868" y="6365106"/>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900" b="0" i="0" kern="1200" smtClean="0">
                <a:solidFill>
                  <a:schemeClr val="bg1"/>
                </a:solidFill>
                <a:latin typeface="Roboto" charset="0"/>
                <a:ea typeface="Roboto" charset="0"/>
                <a:cs typeface="Roboto" charset="0"/>
              </a:rPr>
              <a:pPr marL="0" lvl="0" algn="ctr" defTabSz="457200" rtl="0" eaLnBrk="1" latinLnBrk="0" hangingPunct="1"/>
              <a:t>‹#›</a:t>
            </a:fld>
            <a:endParaRPr lang="en-US" sz="900" b="0" i="0" kern="1200" dirty="0">
              <a:solidFill>
                <a:schemeClr val="bg1"/>
              </a:solidFill>
              <a:latin typeface="Roboto" charset="0"/>
              <a:ea typeface="Roboto" charset="0"/>
              <a:cs typeface="Roboto" charset="0"/>
            </a:endParaRPr>
          </a:p>
        </p:txBody>
      </p:sp>
      <p:sp>
        <p:nvSpPr>
          <p:cNvPr id="2" name="TextBox 1">
            <a:extLst>
              <a:ext uri="{FF2B5EF4-FFF2-40B4-BE49-F238E27FC236}">
                <a16:creationId xmlns:a16="http://schemas.microsoft.com/office/drawing/2014/main" id="{ACEE0CA1-923A-4320-9299-A8325B90B5B8}"/>
              </a:ext>
            </a:extLst>
          </p:cNvPr>
          <p:cNvSpPr txBox="1"/>
          <p:nvPr userDrawn="1"/>
        </p:nvSpPr>
        <p:spPr>
          <a:xfrm>
            <a:off x="1023708"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dirty="0">
                <a:solidFill>
                  <a:schemeClr val="tx1"/>
                </a:solidFill>
                <a:latin typeface="Roboto" charset="0"/>
                <a:ea typeface="Roboto" charset="0"/>
                <a:cs typeface="Roboto" charset="0"/>
              </a:rPr>
              <a:t>© Informatica. Proprietary and Confidential.</a:t>
            </a:r>
          </a:p>
        </p:txBody>
      </p:sp>
      <p:pic>
        <p:nvPicPr>
          <p:cNvPr id="28" name="Picture 27">
            <a:extLst>
              <a:ext uri="{FF2B5EF4-FFF2-40B4-BE49-F238E27FC236}">
                <a16:creationId xmlns:a16="http://schemas.microsoft.com/office/drawing/2014/main" id="{85BF9435-B6AB-5342-BE00-4D65D69BDB86}"/>
              </a:ext>
            </a:extLst>
          </p:cNvPr>
          <p:cNvPicPr>
            <a:picLocks noChangeAspect="1"/>
          </p:cNvPicPr>
          <p:nvPr userDrawn="1"/>
        </p:nvPicPr>
        <p:blipFill>
          <a:blip r:embed="rId3"/>
          <a:stretch>
            <a:fillRect/>
          </a:stretch>
        </p:blipFill>
        <p:spPr>
          <a:xfrm>
            <a:off x="9743687" y="6098796"/>
            <a:ext cx="2040934" cy="699990"/>
          </a:xfrm>
          <a:prstGeom prst="rect">
            <a:avLst/>
          </a:prstGeom>
        </p:spPr>
      </p:pic>
      <p:sp>
        <p:nvSpPr>
          <p:cNvPr id="30" name="Title 1">
            <a:extLst>
              <a:ext uri="{FF2B5EF4-FFF2-40B4-BE49-F238E27FC236}">
                <a16:creationId xmlns:a16="http://schemas.microsoft.com/office/drawing/2014/main" id="{B4824517-7F67-E048-AC7F-D9E5B488CC4D}"/>
              </a:ext>
            </a:extLst>
          </p:cNvPr>
          <p:cNvSpPr>
            <a:spLocks noGrp="1"/>
          </p:cNvSpPr>
          <p:nvPr>
            <p:ph type="title" hasCustomPrompt="1"/>
          </p:nvPr>
        </p:nvSpPr>
        <p:spPr>
          <a:xfrm>
            <a:off x="488950" y="482602"/>
            <a:ext cx="11188700" cy="562427"/>
          </a:xfrm>
          <a:prstGeom prst="rect">
            <a:avLst/>
          </a:prstGeom>
        </p:spPr>
        <p:txBody>
          <a:bodyPr lIns="0"/>
          <a:lstStyle>
            <a:lvl1pPr>
              <a:defRPr baseline="0">
                <a:solidFill>
                  <a:schemeClr val="tx1"/>
                </a:solidFill>
              </a:defRPr>
            </a:lvl1pPr>
          </a:lstStyle>
          <a:p>
            <a:r>
              <a:rPr lang="en-US" dirty="0"/>
              <a:t>Headline Goes Here, Roboto Light, 36 Points, 1 Line</a:t>
            </a:r>
          </a:p>
        </p:txBody>
      </p:sp>
      <p:sp>
        <p:nvSpPr>
          <p:cNvPr id="33" name="Text Placeholder 4">
            <a:extLst>
              <a:ext uri="{FF2B5EF4-FFF2-40B4-BE49-F238E27FC236}">
                <a16:creationId xmlns:a16="http://schemas.microsoft.com/office/drawing/2014/main" id="{F217366B-2AE1-4146-BC55-B888CBB66A16}"/>
              </a:ext>
            </a:extLst>
          </p:cNvPr>
          <p:cNvSpPr>
            <a:spLocks noGrp="1"/>
          </p:cNvSpPr>
          <p:nvPr>
            <p:ph type="body" sz="quarter" idx="13" hasCustomPrompt="1"/>
          </p:nvPr>
        </p:nvSpPr>
        <p:spPr>
          <a:xfrm>
            <a:off x="488951" y="1043417"/>
            <a:ext cx="11193296" cy="331601"/>
          </a:xfrm>
        </p:spPr>
        <p:txBody>
          <a:bodyPr anchor="t"/>
          <a:lstStyle>
            <a:lvl1pPr marL="0" indent="0">
              <a:buNone/>
              <a:defRPr sz="2400" i="0">
                <a:solidFill>
                  <a:schemeClr val="bg1">
                    <a:lumMod val="50000"/>
                  </a:schemeClr>
                </a:solidFill>
              </a:defRPr>
            </a:lvl1pPr>
            <a:lvl2pPr marL="169863" indent="0">
              <a:buNone/>
              <a:defRPr/>
            </a:lvl2pPr>
            <a:lvl3pPr marL="344487" indent="0">
              <a:buNone/>
              <a:defRPr/>
            </a:lvl3pPr>
            <a:lvl4pPr marL="458788" indent="0">
              <a:buNone/>
              <a:defRPr/>
            </a:lvl4pPr>
            <a:lvl5pPr marL="630237" indent="0">
              <a:buNone/>
              <a:defRPr/>
            </a:lvl5pPr>
          </a:lstStyle>
          <a:p>
            <a:pPr lvl="0"/>
            <a:r>
              <a:rPr lang="en-US" dirty="0"/>
              <a:t>Subtitle goes here, </a:t>
            </a:r>
            <a:r>
              <a:rPr lang="en-US" dirty="0" err="1"/>
              <a:t>Roboto</a:t>
            </a:r>
            <a:r>
              <a:rPr lang="en-US" dirty="0"/>
              <a:t> Regular 24 point, no longer than one line</a:t>
            </a:r>
          </a:p>
        </p:txBody>
      </p:sp>
    </p:spTree>
    <p:extLst>
      <p:ext uri="{BB962C8B-B14F-4D97-AF65-F5344CB8AC3E}">
        <p14:creationId xmlns:p14="http://schemas.microsoft.com/office/powerpoint/2010/main" val="1648079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Freeform 10">
            <a:extLst>
              <a:ext uri="{FF2B5EF4-FFF2-40B4-BE49-F238E27FC236}">
                <a16:creationId xmlns:a16="http://schemas.microsoft.com/office/drawing/2014/main" id="{745915A3-D5B5-48C4-B6C4-9329F420CA9D}"/>
              </a:ext>
            </a:extLst>
          </p:cNvPr>
          <p:cNvSpPr/>
          <p:nvPr userDrawn="1"/>
        </p:nvSpPr>
        <p:spPr>
          <a:xfrm>
            <a:off x="1027113" y="1860533"/>
            <a:ext cx="3383106" cy="1333425"/>
          </a:xfrm>
          <a:custGeom>
            <a:avLst/>
            <a:gdLst>
              <a:gd name="connsiteX0" fmla="*/ 0 w 2946408"/>
              <a:gd name="connsiteY0" fmla="*/ 0 h 1767845"/>
              <a:gd name="connsiteX1" fmla="*/ 2946408 w 2946408"/>
              <a:gd name="connsiteY1" fmla="*/ 0 h 1767845"/>
              <a:gd name="connsiteX2" fmla="*/ 2946408 w 2946408"/>
              <a:gd name="connsiteY2" fmla="*/ 1767845 h 1767845"/>
              <a:gd name="connsiteX3" fmla="*/ 0 w 2946408"/>
              <a:gd name="connsiteY3" fmla="*/ 1767845 h 1767845"/>
              <a:gd name="connsiteX4" fmla="*/ 0 w 2946408"/>
              <a:gd name="connsiteY4" fmla="*/ 0 h 1767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6408" h="1767845">
                <a:moveTo>
                  <a:pt x="0" y="0"/>
                </a:moveTo>
                <a:lnTo>
                  <a:pt x="2946408" y="0"/>
                </a:lnTo>
                <a:lnTo>
                  <a:pt x="2946408" y="1767845"/>
                </a:lnTo>
                <a:lnTo>
                  <a:pt x="0" y="1767845"/>
                </a:lnTo>
                <a:lnTo>
                  <a:pt x="0" y="0"/>
                </a:lnTo>
                <a:close/>
              </a:path>
            </a:pathLst>
          </a:custGeom>
          <a:solidFill>
            <a:srgbClr val="EAEAEA"/>
          </a:solidFill>
          <a:effectLst/>
        </p:spPr>
        <p:style>
          <a:lnRef idx="0">
            <a:schemeClr val="lt1">
              <a:hueOff val="0"/>
              <a:satOff val="0"/>
              <a:lumOff val="0"/>
              <a:alphaOff val="0"/>
            </a:schemeClr>
          </a:lnRef>
          <a:fillRef idx="3">
            <a:schemeClr val="accent2">
              <a:shade val="50000"/>
              <a:hueOff val="0"/>
              <a:satOff val="0"/>
              <a:lumOff val="0"/>
              <a:alphaOff val="0"/>
            </a:schemeClr>
          </a:fillRef>
          <a:effectRef idx="2">
            <a:schemeClr val="accent2">
              <a:shade val="50000"/>
              <a:hueOff val="0"/>
              <a:satOff val="0"/>
              <a:lumOff val="0"/>
              <a:alphaOff val="0"/>
            </a:schemeClr>
          </a:effectRef>
          <a:fontRef idx="minor">
            <a:schemeClr val="lt1"/>
          </a:fontRef>
        </p:style>
        <p:txBody>
          <a:bodyPr spcFirstLastPara="0" vert="horz" wrap="square" lIns="822960" tIns="91440" rIns="133316" bIns="133316" numCol="1" spcCol="1270" anchor="t" anchorCtr="0">
            <a:noAutofit/>
          </a:bodyPr>
          <a:lstStyle/>
          <a:p>
            <a:pPr marL="0" marR="0" lvl="0" indent="0" defTabSz="1555362" rtl="0" eaLnBrk="1" fontAlgn="auto" latinLnBrk="0" hangingPunct="1">
              <a:lnSpc>
                <a:spcPct val="90000"/>
              </a:lnSpc>
              <a:spcBef>
                <a:spcPct val="0"/>
              </a:spcBef>
              <a:spcAft>
                <a:spcPct val="35000"/>
              </a:spcAft>
              <a:buClrTx/>
              <a:buSzTx/>
              <a:buFontTx/>
              <a:buNone/>
              <a:tabLst/>
              <a:defRPr/>
            </a:pPr>
            <a:endParaRPr kumimoji="0" lang="en-US" sz="2400" u="none" strike="noStrike" kern="1200" cap="none" spc="0" normalizeH="0" baseline="0" noProof="0" dirty="0">
              <a:ln>
                <a:noFill/>
              </a:ln>
              <a:solidFill>
                <a:srgbClr val="373737"/>
              </a:solidFill>
              <a:effectLst/>
              <a:uLnTx/>
              <a:uFillTx/>
              <a:latin typeface="Roboto Lt" pitchFamily="2" charset="0"/>
              <a:ea typeface="Roboto Lt" pitchFamily="2" charset="0"/>
            </a:endParaRPr>
          </a:p>
        </p:txBody>
      </p:sp>
      <p:sp>
        <p:nvSpPr>
          <p:cNvPr id="25" name="Flowchart: Data 17">
            <a:extLst>
              <a:ext uri="{FF2B5EF4-FFF2-40B4-BE49-F238E27FC236}">
                <a16:creationId xmlns:a16="http://schemas.microsoft.com/office/drawing/2014/main" id="{349B7BD3-DEBB-4DD7-838A-6E8B2A05986E}"/>
              </a:ext>
            </a:extLst>
          </p:cNvPr>
          <p:cNvSpPr/>
          <p:nvPr userDrawn="1"/>
        </p:nvSpPr>
        <p:spPr>
          <a:xfrm>
            <a:off x="1150617" y="1962826"/>
            <a:ext cx="531595" cy="521348"/>
          </a:xfrm>
          <a:prstGeom prst="rect">
            <a:avLst/>
          </a:prstGeom>
          <a:solidFill>
            <a:schemeClr val="accent5"/>
          </a:solidFill>
          <a:ln w="12700">
            <a:noFill/>
          </a:ln>
          <a:effectLst/>
        </p:spPr>
        <p:style>
          <a:lnRef idx="1">
            <a:schemeClr val="accent1"/>
          </a:lnRef>
          <a:fillRef idx="3">
            <a:schemeClr val="accent1"/>
          </a:fillRef>
          <a:effectRef idx="2">
            <a:schemeClr val="accent1"/>
          </a:effectRef>
          <a:fontRef idx="minor">
            <a:schemeClr val="lt1"/>
          </a:fontRef>
        </p:style>
        <p:txBody>
          <a:bodyPr tIns="91416" bIns="91416" rtlCol="0" anchor="ctr"/>
          <a:lstStyle/>
          <a:p>
            <a:pPr marL="0" marR="0" lvl="0" indent="0" algn="ctr" defTabSz="1218895" rtl="0" eaLnBrk="1" fontAlgn="auto" latinLnBrk="0" hangingPunct="1">
              <a:lnSpc>
                <a:spcPct val="100000"/>
              </a:lnSpc>
              <a:spcBef>
                <a:spcPts val="0"/>
              </a:spcBef>
              <a:spcAft>
                <a:spcPts val="0"/>
              </a:spcAft>
              <a:buClrTx/>
              <a:buSzTx/>
              <a:buFontTx/>
              <a:buNone/>
              <a:tabLst/>
              <a:defRPr/>
            </a:pPr>
            <a:r>
              <a:rPr kumimoji="0" lang="en-US" sz="2399" u="none" strike="noStrike" kern="1200" cap="none" spc="0" normalizeH="0" baseline="0" noProof="0" dirty="0">
                <a:ln>
                  <a:noFill/>
                </a:ln>
                <a:solidFill>
                  <a:srgbClr val="FFFFFF"/>
                </a:solidFill>
                <a:effectLst/>
                <a:uLnTx/>
                <a:uFillTx/>
                <a:latin typeface="Roboto Lt" pitchFamily="2" charset="0"/>
                <a:ea typeface="Roboto Lt" pitchFamily="2" charset="0"/>
              </a:rPr>
              <a:t>1</a:t>
            </a:r>
          </a:p>
        </p:txBody>
      </p:sp>
      <p:sp>
        <p:nvSpPr>
          <p:cNvPr id="30" name="Freeform 11">
            <a:extLst>
              <a:ext uri="{FF2B5EF4-FFF2-40B4-BE49-F238E27FC236}">
                <a16:creationId xmlns:a16="http://schemas.microsoft.com/office/drawing/2014/main" id="{2A064FF6-AF2D-4388-93FD-EA665ED5B8F5}"/>
              </a:ext>
            </a:extLst>
          </p:cNvPr>
          <p:cNvSpPr/>
          <p:nvPr userDrawn="1"/>
        </p:nvSpPr>
        <p:spPr>
          <a:xfrm>
            <a:off x="4660828" y="1860533"/>
            <a:ext cx="3383107" cy="1333424"/>
          </a:xfrm>
          <a:custGeom>
            <a:avLst/>
            <a:gdLst>
              <a:gd name="connsiteX0" fmla="*/ 0 w 2946408"/>
              <a:gd name="connsiteY0" fmla="*/ 0 h 1767845"/>
              <a:gd name="connsiteX1" fmla="*/ 2946408 w 2946408"/>
              <a:gd name="connsiteY1" fmla="*/ 0 h 1767845"/>
              <a:gd name="connsiteX2" fmla="*/ 2946408 w 2946408"/>
              <a:gd name="connsiteY2" fmla="*/ 1767845 h 1767845"/>
              <a:gd name="connsiteX3" fmla="*/ 0 w 2946408"/>
              <a:gd name="connsiteY3" fmla="*/ 1767845 h 1767845"/>
              <a:gd name="connsiteX4" fmla="*/ 0 w 2946408"/>
              <a:gd name="connsiteY4" fmla="*/ 0 h 1767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6408" h="1767845">
                <a:moveTo>
                  <a:pt x="0" y="0"/>
                </a:moveTo>
                <a:lnTo>
                  <a:pt x="2946408" y="0"/>
                </a:lnTo>
                <a:lnTo>
                  <a:pt x="2946408" y="1767845"/>
                </a:lnTo>
                <a:lnTo>
                  <a:pt x="0" y="1767845"/>
                </a:lnTo>
                <a:lnTo>
                  <a:pt x="0" y="0"/>
                </a:lnTo>
                <a:close/>
              </a:path>
            </a:pathLst>
          </a:custGeom>
          <a:solidFill>
            <a:srgbClr val="EAEAEA"/>
          </a:solidFill>
          <a:effectLst/>
        </p:spPr>
        <p:style>
          <a:lnRef idx="0">
            <a:schemeClr val="lt1">
              <a:hueOff val="0"/>
              <a:satOff val="0"/>
              <a:lumOff val="0"/>
              <a:alphaOff val="0"/>
            </a:schemeClr>
          </a:lnRef>
          <a:fillRef idx="3">
            <a:schemeClr val="accent2">
              <a:shade val="50000"/>
              <a:hueOff val="-352213"/>
              <a:satOff val="0"/>
              <a:lumOff val="20640"/>
              <a:alphaOff val="0"/>
            </a:schemeClr>
          </a:fillRef>
          <a:effectRef idx="2">
            <a:schemeClr val="accent2">
              <a:shade val="50000"/>
              <a:hueOff val="-352213"/>
              <a:satOff val="0"/>
              <a:lumOff val="20640"/>
              <a:alphaOff val="0"/>
            </a:schemeClr>
          </a:effectRef>
          <a:fontRef idx="minor">
            <a:schemeClr val="lt1"/>
          </a:fontRef>
        </p:style>
        <p:txBody>
          <a:bodyPr spcFirstLastPara="0" vert="horz" wrap="square" lIns="822960" tIns="91440" rIns="133316" bIns="133316" numCol="1" spcCol="1270" anchor="t" anchorCtr="0">
            <a:noAutofit/>
          </a:bodyPr>
          <a:lstStyle/>
          <a:p>
            <a:pPr marL="0" marR="0" lvl="0" indent="0" defTabSz="1555362" rtl="0" eaLnBrk="1" fontAlgn="auto" latinLnBrk="0" hangingPunct="1">
              <a:lnSpc>
                <a:spcPct val="90000"/>
              </a:lnSpc>
              <a:spcBef>
                <a:spcPct val="0"/>
              </a:spcBef>
              <a:spcAft>
                <a:spcPct val="35000"/>
              </a:spcAft>
              <a:buClrTx/>
              <a:buSzTx/>
              <a:buFontTx/>
              <a:buNone/>
              <a:tabLst/>
              <a:defRPr/>
            </a:pPr>
            <a:endParaRPr kumimoji="0" lang="en-US" sz="2400" u="none" strike="noStrike" kern="1200" cap="none" spc="0" normalizeH="0" baseline="0" noProof="0" dirty="0">
              <a:ln>
                <a:noFill/>
              </a:ln>
              <a:solidFill>
                <a:srgbClr val="373737"/>
              </a:solidFill>
              <a:effectLst/>
              <a:uLnTx/>
              <a:uFillTx/>
              <a:latin typeface="Roboto Lt" pitchFamily="2" charset="0"/>
              <a:ea typeface="Roboto Lt" pitchFamily="2" charset="0"/>
            </a:endParaRPr>
          </a:p>
        </p:txBody>
      </p:sp>
      <p:sp>
        <p:nvSpPr>
          <p:cNvPr id="43" name="Flowchart: Data 17">
            <a:extLst>
              <a:ext uri="{FF2B5EF4-FFF2-40B4-BE49-F238E27FC236}">
                <a16:creationId xmlns:a16="http://schemas.microsoft.com/office/drawing/2014/main" id="{418571D1-079C-4BAE-B2D5-2A5E1D7D222E}"/>
              </a:ext>
            </a:extLst>
          </p:cNvPr>
          <p:cNvSpPr/>
          <p:nvPr userDrawn="1"/>
        </p:nvSpPr>
        <p:spPr>
          <a:xfrm>
            <a:off x="4789269" y="1957506"/>
            <a:ext cx="531595" cy="521348"/>
          </a:xfrm>
          <a:prstGeom prst="rect">
            <a:avLst/>
          </a:prstGeom>
          <a:solidFill>
            <a:schemeClr val="accent2"/>
          </a:solidFill>
          <a:ln w="12700">
            <a:noFill/>
          </a:ln>
          <a:effectLst/>
        </p:spPr>
        <p:style>
          <a:lnRef idx="1">
            <a:schemeClr val="accent1"/>
          </a:lnRef>
          <a:fillRef idx="3">
            <a:schemeClr val="accent1"/>
          </a:fillRef>
          <a:effectRef idx="2">
            <a:schemeClr val="accent1"/>
          </a:effectRef>
          <a:fontRef idx="minor">
            <a:schemeClr val="lt1"/>
          </a:fontRef>
        </p:style>
        <p:txBody>
          <a:bodyPr tIns="91416" bIns="91416" rtlCol="0" anchor="ctr"/>
          <a:lstStyle/>
          <a:p>
            <a:pPr marL="0" marR="0" lvl="0" indent="0" algn="ctr" defTabSz="1218895" rtl="0" eaLnBrk="1" fontAlgn="auto" latinLnBrk="0" hangingPunct="1">
              <a:lnSpc>
                <a:spcPct val="100000"/>
              </a:lnSpc>
              <a:spcBef>
                <a:spcPts val="0"/>
              </a:spcBef>
              <a:spcAft>
                <a:spcPts val="0"/>
              </a:spcAft>
              <a:buClrTx/>
              <a:buSzTx/>
              <a:buFontTx/>
              <a:buNone/>
              <a:tabLst/>
              <a:defRPr/>
            </a:pPr>
            <a:r>
              <a:rPr kumimoji="0" lang="en-US" sz="2399" u="none" strike="noStrike" kern="1200" cap="none" spc="0" normalizeH="0" baseline="0" noProof="0" dirty="0">
                <a:ln>
                  <a:noFill/>
                </a:ln>
                <a:solidFill>
                  <a:srgbClr val="FFFFFF"/>
                </a:solidFill>
                <a:effectLst/>
                <a:uLnTx/>
                <a:uFillTx/>
                <a:latin typeface="Roboto Lt" pitchFamily="2" charset="0"/>
                <a:ea typeface="Roboto Lt" pitchFamily="2" charset="0"/>
              </a:rPr>
              <a:t>2</a:t>
            </a:r>
          </a:p>
        </p:txBody>
      </p:sp>
      <p:sp>
        <p:nvSpPr>
          <p:cNvPr id="45" name="Freeform 12">
            <a:extLst>
              <a:ext uri="{FF2B5EF4-FFF2-40B4-BE49-F238E27FC236}">
                <a16:creationId xmlns:a16="http://schemas.microsoft.com/office/drawing/2014/main" id="{11238401-CA18-45C5-B261-27601B93764E}"/>
              </a:ext>
            </a:extLst>
          </p:cNvPr>
          <p:cNvSpPr/>
          <p:nvPr userDrawn="1"/>
        </p:nvSpPr>
        <p:spPr>
          <a:xfrm>
            <a:off x="8294545" y="1860532"/>
            <a:ext cx="3383106" cy="1333425"/>
          </a:xfrm>
          <a:custGeom>
            <a:avLst/>
            <a:gdLst>
              <a:gd name="connsiteX0" fmla="*/ 0 w 2946408"/>
              <a:gd name="connsiteY0" fmla="*/ 0 h 1767845"/>
              <a:gd name="connsiteX1" fmla="*/ 2946408 w 2946408"/>
              <a:gd name="connsiteY1" fmla="*/ 0 h 1767845"/>
              <a:gd name="connsiteX2" fmla="*/ 2946408 w 2946408"/>
              <a:gd name="connsiteY2" fmla="*/ 1767845 h 1767845"/>
              <a:gd name="connsiteX3" fmla="*/ 0 w 2946408"/>
              <a:gd name="connsiteY3" fmla="*/ 1767845 h 1767845"/>
              <a:gd name="connsiteX4" fmla="*/ 0 w 2946408"/>
              <a:gd name="connsiteY4" fmla="*/ 0 h 1767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6408" h="1767845">
                <a:moveTo>
                  <a:pt x="0" y="0"/>
                </a:moveTo>
                <a:lnTo>
                  <a:pt x="2946408" y="0"/>
                </a:lnTo>
                <a:lnTo>
                  <a:pt x="2946408" y="1767845"/>
                </a:lnTo>
                <a:lnTo>
                  <a:pt x="0" y="1767845"/>
                </a:lnTo>
                <a:lnTo>
                  <a:pt x="0" y="0"/>
                </a:lnTo>
                <a:close/>
              </a:path>
            </a:pathLst>
          </a:custGeom>
          <a:solidFill>
            <a:srgbClr val="EAEAEA"/>
          </a:solidFill>
          <a:effectLst/>
        </p:spPr>
        <p:style>
          <a:lnRef idx="0">
            <a:schemeClr val="lt1">
              <a:hueOff val="0"/>
              <a:satOff val="0"/>
              <a:lumOff val="0"/>
              <a:alphaOff val="0"/>
            </a:schemeClr>
          </a:lnRef>
          <a:fillRef idx="3">
            <a:schemeClr val="accent2">
              <a:shade val="50000"/>
              <a:hueOff val="-704426"/>
              <a:satOff val="0"/>
              <a:lumOff val="41281"/>
              <a:alphaOff val="0"/>
            </a:schemeClr>
          </a:fillRef>
          <a:effectRef idx="2">
            <a:schemeClr val="accent2">
              <a:shade val="50000"/>
              <a:hueOff val="-704426"/>
              <a:satOff val="0"/>
              <a:lumOff val="41281"/>
              <a:alphaOff val="0"/>
            </a:schemeClr>
          </a:effectRef>
          <a:fontRef idx="minor">
            <a:schemeClr val="lt1"/>
          </a:fontRef>
        </p:style>
        <p:txBody>
          <a:bodyPr spcFirstLastPara="0" vert="horz" wrap="square" lIns="822960" tIns="91440" rIns="133316" bIns="133316" numCol="1" spcCol="1270" anchor="t" anchorCtr="0">
            <a:noAutofit/>
          </a:bodyPr>
          <a:lstStyle/>
          <a:p>
            <a:pPr marL="0" marR="0" lvl="0" indent="0" defTabSz="1555362" rtl="0" eaLnBrk="1" fontAlgn="auto" latinLnBrk="0" hangingPunct="1">
              <a:lnSpc>
                <a:spcPct val="90000"/>
              </a:lnSpc>
              <a:spcBef>
                <a:spcPct val="0"/>
              </a:spcBef>
              <a:spcAft>
                <a:spcPct val="35000"/>
              </a:spcAft>
              <a:buClrTx/>
              <a:buSzTx/>
              <a:buFontTx/>
              <a:buNone/>
              <a:tabLst/>
              <a:defRPr/>
            </a:pPr>
            <a:endParaRPr kumimoji="0" lang="en-US" sz="2400" u="none" strike="noStrike" kern="1200" cap="none" spc="0" normalizeH="0" baseline="0" noProof="0" dirty="0">
              <a:ln>
                <a:noFill/>
              </a:ln>
              <a:solidFill>
                <a:srgbClr val="373737"/>
              </a:solidFill>
              <a:effectLst/>
              <a:uLnTx/>
              <a:uFillTx/>
              <a:latin typeface="Roboto Lt" pitchFamily="2" charset="0"/>
              <a:ea typeface="Roboto Lt" pitchFamily="2" charset="0"/>
            </a:endParaRPr>
          </a:p>
        </p:txBody>
      </p:sp>
      <p:sp>
        <p:nvSpPr>
          <p:cNvPr id="47" name="Flowchart: Data 17">
            <a:extLst>
              <a:ext uri="{FF2B5EF4-FFF2-40B4-BE49-F238E27FC236}">
                <a16:creationId xmlns:a16="http://schemas.microsoft.com/office/drawing/2014/main" id="{705961DD-CF95-43C7-BEBC-A6D32D05FA6C}"/>
              </a:ext>
            </a:extLst>
          </p:cNvPr>
          <p:cNvSpPr/>
          <p:nvPr userDrawn="1"/>
        </p:nvSpPr>
        <p:spPr>
          <a:xfrm>
            <a:off x="8413061" y="1957504"/>
            <a:ext cx="531595" cy="521348"/>
          </a:xfrm>
          <a:prstGeom prst="rect">
            <a:avLst/>
          </a:prstGeom>
          <a:solidFill>
            <a:schemeClr val="accent4"/>
          </a:solidFill>
          <a:ln w="12700">
            <a:noFill/>
          </a:ln>
          <a:effectLst/>
        </p:spPr>
        <p:style>
          <a:lnRef idx="1">
            <a:schemeClr val="accent1"/>
          </a:lnRef>
          <a:fillRef idx="3">
            <a:schemeClr val="accent1"/>
          </a:fillRef>
          <a:effectRef idx="2">
            <a:schemeClr val="accent1"/>
          </a:effectRef>
          <a:fontRef idx="minor">
            <a:schemeClr val="lt1"/>
          </a:fontRef>
        </p:style>
        <p:txBody>
          <a:bodyPr tIns="91416" bIns="91416" rtlCol="0" anchor="ctr"/>
          <a:lstStyle/>
          <a:p>
            <a:pPr marL="0" marR="0" lvl="0" indent="0" algn="ctr" defTabSz="1218895" rtl="0" eaLnBrk="1" fontAlgn="auto" latinLnBrk="0" hangingPunct="1">
              <a:lnSpc>
                <a:spcPct val="100000"/>
              </a:lnSpc>
              <a:spcBef>
                <a:spcPts val="0"/>
              </a:spcBef>
              <a:spcAft>
                <a:spcPts val="0"/>
              </a:spcAft>
              <a:buClrTx/>
              <a:buSzTx/>
              <a:buFontTx/>
              <a:buNone/>
              <a:tabLst/>
              <a:defRPr/>
            </a:pPr>
            <a:r>
              <a:rPr kumimoji="0" lang="en-US" sz="2399" u="none" strike="noStrike" kern="1200" cap="none" spc="0" normalizeH="0" baseline="0" noProof="0" dirty="0">
                <a:ln>
                  <a:noFill/>
                </a:ln>
                <a:solidFill>
                  <a:srgbClr val="FFFFFF"/>
                </a:solidFill>
                <a:effectLst/>
                <a:uLnTx/>
                <a:uFillTx/>
                <a:latin typeface="Roboto Lt" pitchFamily="2" charset="0"/>
                <a:ea typeface="Roboto Lt" pitchFamily="2" charset="0"/>
              </a:rPr>
              <a:t>3</a:t>
            </a:r>
          </a:p>
        </p:txBody>
      </p:sp>
      <p:sp>
        <p:nvSpPr>
          <p:cNvPr id="58" name="Freeform 15">
            <a:extLst>
              <a:ext uri="{FF2B5EF4-FFF2-40B4-BE49-F238E27FC236}">
                <a16:creationId xmlns:a16="http://schemas.microsoft.com/office/drawing/2014/main" id="{B5F27876-E2DC-48A4-9A76-B4875B05A647}"/>
              </a:ext>
            </a:extLst>
          </p:cNvPr>
          <p:cNvSpPr/>
          <p:nvPr userDrawn="1"/>
        </p:nvSpPr>
        <p:spPr>
          <a:xfrm>
            <a:off x="1028279" y="3446480"/>
            <a:ext cx="3383106" cy="1333426"/>
          </a:xfrm>
          <a:custGeom>
            <a:avLst/>
            <a:gdLst>
              <a:gd name="connsiteX0" fmla="*/ 0 w 2946408"/>
              <a:gd name="connsiteY0" fmla="*/ 0 h 1767845"/>
              <a:gd name="connsiteX1" fmla="*/ 2946408 w 2946408"/>
              <a:gd name="connsiteY1" fmla="*/ 0 h 1767845"/>
              <a:gd name="connsiteX2" fmla="*/ 2946408 w 2946408"/>
              <a:gd name="connsiteY2" fmla="*/ 1767845 h 1767845"/>
              <a:gd name="connsiteX3" fmla="*/ 0 w 2946408"/>
              <a:gd name="connsiteY3" fmla="*/ 1767845 h 1767845"/>
              <a:gd name="connsiteX4" fmla="*/ 0 w 2946408"/>
              <a:gd name="connsiteY4" fmla="*/ 0 h 1767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6408" h="1767845">
                <a:moveTo>
                  <a:pt x="0" y="0"/>
                </a:moveTo>
                <a:lnTo>
                  <a:pt x="2946408" y="0"/>
                </a:lnTo>
                <a:lnTo>
                  <a:pt x="2946408" y="1767845"/>
                </a:lnTo>
                <a:lnTo>
                  <a:pt x="0" y="1767845"/>
                </a:lnTo>
                <a:lnTo>
                  <a:pt x="0" y="0"/>
                </a:lnTo>
                <a:close/>
              </a:path>
            </a:pathLst>
          </a:custGeom>
          <a:solidFill>
            <a:srgbClr val="EAEAEA"/>
          </a:solidFill>
          <a:effectLst/>
        </p:spPr>
        <p:style>
          <a:lnRef idx="0">
            <a:schemeClr val="lt1">
              <a:hueOff val="0"/>
              <a:satOff val="0"/>
              <a:lumOff val="0"/>
              <a:alphaOff val="0"/>
            </a:schemeClr>
          </a:lnRef>
          <a:fillRef idx="3">
            <a:schemeClr val="accent2">
              <a:shade val="50000"/>
              <a:hueOff val="-704426"/>
              <a:satOff val="0"/>
              <a:lumOff val="41281"/>
              <a:alphaOff val="0"/>
            </a:schemeClr>
          </a:fillRef>
          <a:effectRef idx="2">
            <a:schemeClr val="accent2">
              <a:shade val="50000"/>
              <a:hueOff val="-704426"/>
              <a:satOff val="0"/>
              <a:lumOff val="41281"/>
              <a:alphaOff val="0"/>
            </a:schemeClr>
          </a:effectRef>
          <a:fontRef idx="minor">
            <a:schemeClr val="lt1"/>
          </a:fontRef>
        </p:style>
        <p:txBody>
          <a:bodyPr spcFirstLastPara="0" vert="horz" wrap="square" lIns="822960" tIns="91440" rIns="133316" bIns="133316" numCol="1" spcCol="1270" anchor="t" anchorCtr="0">
            <a:noAutofit/>
          </a:bodyPr>
          <a:lstStyle/>
          <a:p>
            <a:pPr marL="0" marR="0" lvl="0" indent="0" defTabSz="1555362" rtl="0" eaLnBrk="1" fontAlgn="auto" latinLnBrk="0" hangingPunct="1">
              <a:lnSpc>
                <a:spcPct val="90000"/>
              </a:lnSpc>
              <a:spcBef>
                <a:spcPct val="0"/>
              </a:spcBef>
              <a:spcAft>
                <a:spcPct val="35000"/>
              </a:spcAft>
              <a:buClrTx/>
              <a:buSzTx/>
              <a:buFontTx/>
              <a:buNone/>
              <a:tabLst/>
              <a:defRPr/>
            </a:pPr>
            <a:endParaRPr kumimoji="0" lang="en-US" sz="2400" u="none" strike="noStrike" kern="1200" cap="none" spc="0" normalizeH="0" baseline="0" noProof="0" dirty="0">
              <a:ln>
                <a:noFill/>
              </a:ln>
              <a:solidFill>
                <a:srgbClr val="373737"/>
              </a:solidFill>
              <a:effectLst/>
              <a:uLnTx/>
              <a:uFillTx/>
              <a:latin typeface="Roboto Lt" pitchFamily="2" charset="0"/>
              <a:ea typeface="Roboto Lt" pitchFamily="2" charset="0"/>
            </a:endParaRPr>
          </a:p>
        </p:txBody>
      </p:sp>
      <p:sp>
        <p:nvSpPr>
          <p:cNvPr id="60" name="Flowchart: Data 17">
            <a:extLst>
              <a:ext uri="{FF2B5EF4-FFF2-40B4-BE49-F238E27FC236}">
                <a16:creationId xmlns:a16="http://schemas.microsoft.com/office/drawing/2014/main" id="{D0B64EC6-882A-46C2-8F16-44685DC5658E}"/>
              </a:ext>
            </a:extLst>
          </p:cNvPr>
          <p:cNvSpPr/>
          <p:nvPr userDrawn="1"/>
        </p:nvSpPr>
        <p:spPr>
          <a:xfrm>
            <a:off x="1150616" y="3551148"/>
            <a:ext cx="531595" cy="521348"/>
          </a:xfrm>
          <a:prstGeom prst="rect">
            <a:avLst/>
          </a:prstGeom>
          <a:solidFill>
            <a:schemeClr val="accent1"/>
          </a:solidFill>
          <a:ln w="12700">
            <a:noFill/>
          </a:ln>
          <a:effectLst/>
        </p:spPr>
        <p:style>
          <a:lnRef idx="1">
            <a:schemeClr val="accent1"/>
          </a:lnRef>
          <a:fillRef idx="3">
            <a:schemeClr val="accent1"/>
          </a:fillRef>
          <a:effectRef idx="2">
            <a:schemeClr val="accent1"/>
          </a:effectRef>
          <a:fontRef idx="minor">
            <a:schemeClr val="lt1"/>
          </a:fontRef>
        </p:style>
        <p:txBody>
          <a:bodyPr tIns="91416" bIns="91416" rtlCol="0" anchor="ctr"/>
          <a:lstStyle/>
          <a:p>
            <a:pPr marL="0" marR="0" lvl="0" indent="0" algn="ctr" defTabSz="1218895" rtl="0" eaLnBrk="1" fontAlgn="auto" latinLnBrk="0" hangingPunct="1">
              <a:lnSpc>
                <a:spcPct val="100000"/>
              </a:lnSpc>
              <a:spcBef>
                <a:spcPts val="0"/>
              </a:spcBef>
              <a:spcAft>
                <a:spcPts val="0"/>
              </a:spcAft>
              <a:buClrTx/>
              <a:buSzTx/>
              <a:buFontTx/>
              <a:buNone/>
              <a:tabLst/>
              <a:defRPr/>
            </a:pPr>
            <a:r>
              <a:rPr kumimoji="0" lang="en-US" sz="2399" u="none" strike="noStrike" kern="1200" cap="none" spc="0" normalizeH="0" baseline="0" noProof="0" dirty="0">
                <a:ln>
                  <a:noFill/>
                </a:ln>
                <a:solidFill>
                  <a:srgbClr val="FFFFFF"/>
                </a:solidFill>
                <a:effectLst/>
                <a:uLnTx/>
                <a:uFillTx/>
                <a:latin typeface="Roboto Lt" pitchFamily="2" charset="0"/>
                <a:ea typeface="Roboto Lt" pitchFamily="2" charset="0"/>
              </a:rPr>
              <a:t>4</a:t>
            </a:r>
          </a:p>
        </p:txBody>
      </p:sp>
      <p:sp>
        <p:nvSpPr>
          <p:cNvPr id="67" name="Freeform 14">
            <a:extLst>
              <a:ext uri="{FF2B5EF4-FFF2-40B4-BE49-F238E27FC236}">
                <a16:creationId xmlns:a16="http://schemas.microsoft.com/office/drawing/2014/main" id="{0BAEF006-829F-4D56-8544-C2E3B8B2F783}"/>
              </a:ext>
            </a:extLst>
          </p:cNvPr>
          <p:cNvSpPr/>
          <p:nvPr userDrawn="1"/>
        </p:nvSpPr>
        <p:spPr>
          <a:xfrm>
            <a:off x="8293378" y="3446480"/>
            <a:ext cx="3383104" cy="1333425"/>
          </a:xfrm>
          <a:custGeom>
            <a:avLst/>
            <a:gdLst>
              <a:gd name="connsiteX0" fmla="*/ 0 w 2946408"/>
              <a:gd name="connsiteY0" fmla="*/ 0 h 1767845"/>
              <a:gd name="connsiteX1" fmla="*/ 2946408 w 2946408"/>
              <a:gd name="connsiteY1" fmla="*/ 0 h 1767845"/>
              <a:gd name="connsiteX2" fmla="*/ 2946408 w 2946408"/>
              <a:gd name="connsiteY2" fmla="*/ 1767845 h 1767845"/>
              <a:gd name="connsiteX3" fmla="*/ 0 w 2946408"/>
              <a:gd name="connsiteY3" fmla="*/ 1767845 h 1767845"/>
              <a:gd name="connsiteX4" fmla="*/ 0 w 2946408"/>
              <a:gd name="connsiteY4" fmla="*/ 0 h 1767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6408" h="1767845">
                <a:moveTo>
                  <a:pt x="0" y="0"/>
                </a:moveTo>
                <a:lnTo>
                  <a:pt x="2946408" y="0"/>
                </a:lnTo>
                <a:lnTo>
                  <a:pt x="2946408" y="1767845"/>
                </a:lnTo>
                <a:lnTo>
                  <a:pt x="0" y="1767845"/>
                </a:lnTo>
                <a:lnTo>
                  <a:pt x="0" y="0"/>
                </a:lnTo>
                <a:close/>
              </a:path>
            </a:pathLst>
          </a:custGeom>
          <a:solidFill>
            <a:srgbClr val="EAEAEA"/>
          </a:solidFill>
          <a:effectLst/>
        </p:spPr>
        <p:style>
          <a:lnRef idx="0">
            <a:schemeClr val="lt1">
              <a:hueOff val="0"/>
              <a:satOff val="0"/>
              <a:lumOff val="0"/>
              <a:alphaOff val="0"/>
            </a:schemeClr>
          </a:lnRef>
          <a:fillRef idx="3">
            <a:schemeClr val="accent2">
              <a:shade val="50000"/>
              <a:hueOff val="-352213"/>
              <a:satOff val="0"/>
              <a:lumOff val="20640"/>
              <a:alphaOff val="0"/>
            </a:schemeClr>
          </a:fillRef>
          <a:effectRef idx="2">
            <a:schemeClr val="accent2">
              <a:shade val="50000"/>
              <a:hueOff val="-352213"/>
              <a:satOff val="0"/>
              <a:lumOff val="20640"/>
              <a:alphaOff val="0"/>
            </a:schemeClr>
          </a:effectRef>
          <a:fontRef idx="minor">
            <a:schemeClr val="lt1"/>
          </a:fontRef>
        </p:style>
        <p:txBody>
          <a:bodyPr spcFirstLastPara="0" vert="horz" wrap="square" lIns="822960" tIns="91440" rIns="137124" bIns="137124" numCol="1" spcCol="1270" anchor="t" anchorCtr="0">
            <a:noAutofit/>
          </a:bodyPr>
          <a:lstStyle/>
          <a:p>
            <a:pPr marL="0" marR="0" lvl="0" indent="0" defTabSz="1555362" rtl="0" eaLnBrk="1" fontAlgn="auto" latinLnBrk="0" hangingPunct="1">
              <a:lnSpc>
                <a:spcPct val="90000"/>
              </a:lnSpc>
              <a:spcBef>
                <a:spcPct val="0"/>
              </a:spcBef>
              <a:spcAft>
                <a:spcPct val="35000"/>
              </a:spcAft>
              <a:buClrTx/>
              <a:buSzTx/>
              <a:buFontTx/>
              <a:buNone/>
              <a:tabLst/>
              <a:defRPr/>
            </a:pPr>
            <a:endParaRPr kumimoji="0" lang="en-US" sz="2400" u="none" strike="noStrike" kern="1200" cap="none" spc="0" normalizeH="0" baseline="0" noProof="0" dirty="0">
              <a:ln>
                <a:noFill/>
              </a:ln>
              <a:solidFill>
                <a:srgbClr val="373737"/>
              </a:solidFill>
              <a:effectLst/>
              <a:uLnTx/>
              <a:uFillTx/>
              <a:latin typeface="Roboto Lt" pitchFamily="2" charset="0"/>
              <a:ea typeface="Roboto Lt" pitchFamily="2" charset="0"/>
            </a:endParaRPr>
          </a:p>
        </p:txBody>
      </p:sp>
      <p:sp>
        <p:nvSpPr>
          <p:cNvPr id="69" name="Flowchart: Data 17">
            <a:extLst>
              <a:ext uri="{FF2B5EF4-FFF2-40B4-BE49-F238E27FC236}">
                <a16:creationId xmlns:a16="http://schemas.microsoft.com/office/drawing/2014/main" id="{B3AAE442-2186-4523-878B-EAFC67D29E1D}"/>
              </a:ext>
            </a:extLst>
          </p:cNvPr>
          <p:cNvSpPr/>
          <p:nvPr userDrawn="1"/>
        </p:nvSpPr>
        <p:spPr>
          <a:xfrm>
            <a:off x="8413061" y="3545827"/>
            <a:ext cx="531595" cy="521348"/>
          </a:xfrm>
          <a:prstGeom prst="rect">
            <a:avLst/>
          </a:prstGeom>
          <a:solidFill>
            <a:schemeClr val="accent6"/>
          </a:solidFill>
          <a:ln w="12700">
            <a:noFill/>
          </a:ln>
          <a:effectLst/>
        </p:spPr>
        <p:style>
          <a:lnRef idx="1">
            <a:schemeClr val="accent1"/>
          </a:lnRef>
          <a:fillRef idx="3">
            <a:schemeClr val="accent1"/>
          </a:fillRef>
          <a:effectRef idx="2">
            <a:schemeClr val="accent1"/>
          </a:effectRef>
          <a:fontRef idx="minor">
            <a:schemeClr val="lt1"/>
          </a:fontRef>
        </p:style>
        <p:txBody>
          <a:bodyPr tIns="91416" bIns="91416" rtlCol="0" anchor="ctr"/>
          <a:lstStyle/>
          <a:p>
            <a:pPr marL="0" marR="0" lvl="0" indent="0" algn="ctr" defTabSz="1218895" rtl="0" eaLnBrk="1" fontAlgn="auto" latinLnBrk="0" hangingPunct="1">
              <a:lnSpc>
                <a:spcPct val="100000"/>
              </a:lnSpc>
              <a:spcBef>
                <a:spcPts val="0"/>
              </a:spcBef>
              <a:spcAft>
                <a:spcPts val="0"/>
              </a:spcAft>
              <a:buClrTx/>
              <a:buSzTx/>
              <a:buFontTx/>
              <a:buNone/>
              <a:tabLst/>
              <a:defRPr/>
            </a:pPr>
            <a:r>
              <a:rPr kumimoji="0" lang="en-US" sz="2399" u="none" strike="noStrike" kern="1200" cap="none" spc="0" normalizeH="0" baseline="0" noProof="0" dirty="0">
                <a:ln>
                  <a:noFill/>
                </a:ln>
                <a:solidFill>
                  <a:srgbClr val="FFFFFF"/>
                </a:solidFill>
                <a:effectLst/>
                <a:uLnTx/>
                <a:uFillTx/>
                <a:latin typeface="Roboto Lt" pitchFamily="2" charset="0"/>
                <a:ea typeface="Roboto Lt" pitchFamily="2" charset="0"/>
              </a:rPr>
              <a:t>6</a:t>
            </a:r>
          </a:p>
        </p:txBody>
      </p:sp>
      <p:sp>
        <p:nvSpPr>
          <p:cNvPr id="76" name="Freeform 13">
            <a:extLst>
              <a:ext uri="{FF2B5EF4-FFF2-40B4-BE49-F238E27FC236}">
                <a16:creationId xmlns:a16="http://schemas.microsoft.com/office/drawing/2014/main" id="{3690E069-7EFD-40F1-8A3F-D9BF2A5F4F33}"/>
              </a:ext>
            </a:extLst>
          </p:cNvPr>
          <p:cNvSpPr/>
          <p:nvPr userDrawn="1"/>
        </p:nvSpPr>
        <p:spPr>
          <a:xfrm>
            <a:off x="4660828" y="3446480"/>
            <a:ext cx="3383107" cy="1333425"/>
          </a:xfrm>
          <a:custGeom>
            <a:avLst/>
            <a:gdLst>
              <a:gd name="connsiteX0" fmla="*/ 0 w 2946408"/>
              <a:gd name="connsiteY0" fmla="*/ 0 h 1767845"/>
              <a:gd name="connsiteX1" fmla="*/ 2946408 w 2946408"/>
              <a:gd name="connsiteY1" fmla="*/ 0 h 1767845"/>
              <a:gd name="connsiteX2" fmla="*/ 2946408 w 2946408"/>
              <a:gd name="connsiteY2" fmla="*/ 1767845 h 1767845"/>
              <a:gd name="connsiteX3" fmla="*/ 0 w 2946408"/>
              <a:gd name="connsiteY3" fmla="*/ 1767845 h 1767845"/>
              <a:gd name="connsiteX4" fmla="*/ 0 w 2946408"/>
              <a:gd name="connsiteY4" fmla="*/ 0 h 1767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6408" h="1767845">
                <a:moveTo>
                  <a:pt x="0" y="0"/>
                </a:moveTo>
                <a:lnTo>
                  <a:pt x="2946408" y="0"/>
                </a:lnTo>
                <a:lnTo>
                  <a:pt x="2946408" y="1767845"/>
                </a:lnTo>
                <a:lnTo>
                  <a:pt x="0" y="1767845"/>
                </a:lnTo>
                <a:lnTo>
                  <a:pt x="0" y="0"/>
                </a:lnTo>
                <a:close/>
              </a:path>
            </a:pathLst>
          </a:custGeom>
          <a:solidFill>
            <a:srgbClr val="EAEAEA"/>
          </a:solidFill>
          <a:effectLst/>
        </p:spPr>
        <p:style>
          <a:lnRef idx="0">
            <a:schemeClr val="lt1">
              <a:hueOff val="0"/>
              <a:satOff val="0"/>
              <a:lumOff val="0"/>
              <a:alphaOff val="0"/>
            </a:schemeClr>
          </a:lnRef>
          <a:fillRef idx="3">
            <a:schemeClr val="accent2">
              <a:shade val="50000"/>
              <a:hueOff val="-704426"/>
              <a:satOff val="0"/>
              <a:lumOff val="41281"/>
              <a:alphaOff val="0"/>
            </a:schemeClr>
          </a:fillRef>
          <a:effectRef idx="2">
            <a:schemeClr val="accent2">
              <a:shade val="50000"/>
              <a:hueOff val="-704426"/>
              <a:satOff val="0"/>
              <a:lumOff val="41281"/>
              <a:alphaOff val="0"/>
            </a:schemeClr>
          </a:effectRef>
          <a:fontRef idx="minor">
            <a:schemeClr val="lt1"/>
          </a:fontRef>
        </p:style>
        <p:txBody>
          <a:bodyPr spcFirstLastPara="0" vert="horz" wrap="square" lIns="822960" tIns="91440" rIns="133316" bIns="133316" numCol="1" spcCol="1270" anchor="t" anchorCtr="0">
            <a:noAutofit/>
          </a:bodyPr>
          <a:lstStyle/>
          <a:p>
            <a:pPr marL="0" marR="0" lvl="0" indent="0" defTabSz="1555362" rtl="0" eaLnBrk="1" fontAlgn="auto" latinLnBrk="0" hangingPunct="1">
              <a:lnSpc>
                <a:spcPct val="90000"/>
              </a:lnSpc>
              <a:spcBef>
                <a:spcPct val="0"/>
              </a:spcBef>
              <a:spcAft>
                <a:spcPct val="35000"/>
              </a:spcAft>
              <a:buClrTx/>
              <a:buSzTx/>
              <a:buFontTx/>
              <a:buNone/>
              <a:tabLst/>
              <a:defRPr/>
            </a:pPr>
            <a:endParaRPr kumimoji="0" lang="en-US" sz="2400" u="none" strike="noStrike" kern="1200" cap="none" spc="0" normalizeH="0" baseline="0" noProof="0" dirty="0">
              <a:ln>
                <a:noFill/>
              </a:ln>
              <a:solidFill>
                <a:srgbClr val="373737"/>
              </a:solidFill>
              <a:effectLst/>
              <a:uLnTx/>
              <a:uFillTx/>
              <a:latin typeface="Roboto Lt" pitchFamily="2" charset="0"/>
              <a:ea typeface="Roboto Lt" pitchFamily="2" charset="0"/>
            </a:endParaRPr>
          </a:p>
        </p:txBody>
      </p:sp>
      <p:sp>
        <p:nvSpPr>
          <p:cNvPr id="78" name="Flowchart: Data 17">
            <a:extLst>
              <a:ext uri="{FF2B5EF4-FFF2-40B4-BE49-F238E27FC236}">
                <a16:creationId xmlns:a16="http://schemas.microsoft.com/office/drawing/2014/main" id="{01806F9E-B98C-49E2-AC16-4F45A9DE0884}"/>
              </a:ext>
            </a:extLst>
          </p:cNvPr>
          <p:cNvSpPr/>
          <p:nvPr userDrawn="1"/>
        </p:nvSpPr>
        <p:spPr>
          <a:xfrm>
            <a:off x="4789269" y="3545827"/>
            <a:ext cx="531595" cy="521348"/>
          </a:xfrm>
          <a:prstGeom prst="rect">
            <a:avLst/>
          </a:prstGeom>
          <a:solidFill>
            <a:srgbClr val="626262"/>
          </a:solidFill>
          <a:ln w="12700">
            <a:solidFill>
              <a:srgbClr val="444444"/>
            </a:solidFill>
          </a:ln>
          <a:effectLst/>
        </p:spPr>
        <p:style>
          <a:lnRef idx="1">
            <a:schemeClr val="accent1"/>
          </a:lnRef>
          <a:fillRef idx="3">
            <a:schemeClr val="accent1"/>
          </a:fillRef>
          <a:effectRef idx="2">
            <a:schemeClr val="accent1"/>
          </a:effectRef>
          <a:fontRef idx="minor">
            <a:schemeClr val="lt1"/>
          </a:fontRef>
        </p:style>
        <p:txBody>
          <a:bodyPr tIns="91416" bIns="91416" rtlCol="0" anchor="ctr"/>
          <a:lstStyle/>
          <a:p>
            <a:pPr marL="0" marR="0" lvl="0" indent="0" algn="ctr" defTabSz="1218895" rtl="0" eaLnBrk="1" fontAlgn="auto" latinLnBrk="0" hangingPunct="1">
              <a:lnSpc>
                <a:spcPct val="100000"/>
              </a:lnSpc>
              <a:spcBef>
                <a:spcPts val="0"/>
              </a:spcBef>
              <a:spcAft>
                <a:spcPts val="0"/>
              </a:spcAft>
              <a:buClrTx/>
              <a:buSzTx/>
              <a:buFontTx/>
              <a:buNone/>
              <a:tabLst/>
              <a:defRPr/>
            </a:pPr>
            <a:r>
              <a:rPr kumimoji="0" lang="en-US" sz="2399" u="none" strike="noStrike" kern="1200" cap="none" spc="0" normalizeH="0" baseline="0" noProof="0" dirty="0">
                <a:ln>
                  <a:noFill/>
                </a:ln>
                <a:solidFill>
                  <a:srgbClr val="FFFFFF"/>
                </a:solidFill>
                <a:effectLst/>
                <a:uLnTx/>
                <a:uFillTx/>
                <a:latin typeface="Roboto Lt" pitchFamily="2" charset="0"/>
                <a:ea typeface="Roboto Lt" pitchFamily="2" charset="0"/>
              </a:rPr>
              <a:t>5</a:t>
            </a:r>
          </a:p>
        </p:txBody>
      </p:sp>
      <p:sp>
        <p:nvSpPr>
          <p:cNvPr id="80" name="Title 1">
            <a:extLst>
              <a:ext uri="{FF2B5EF4-FFF2-40B4-BE49-F238E27FC236}">
                <a16:creationId xmlns:a16="http://schemas.microsoft.com/office/drawing/2014/main" id="{7D413BDC-3F48-4E28-B245-95D9CCD2B5E8}"/>
              </a:ext>
            </a:extLst>
          </p:cNvPr>
          <p:cNvSpPr>
            <a:spLocks noGrp="1"/>
          </p:cNvSpPr>
          <p:nvPr userDrawn="1">
            <p:ph type="title" hasCustomPrompt="1"/>
          </p:nvPr>
        </p:nvSpPr>
        <p:spPr>
          <a:xfrm>
            <a:off x="488951" y="482602"/>
            <a:ext cx="11188700" cy="994889"/>
          </a:xfrm>
          <a:prstGeom prst="rect">
            <a:avLst/>
          </a:prstGeom>
        </p:spPr>
        <p:txBody>
          <a:bodyPr lIns="0"/>
          <a:lstStyle>
            <a:lvl1pPr>
              <a:defRPr baseline="0"/>
            </a:lvl1pPr>
          </a:lstStyle>
          <a:p>
            <a:r>
              <a:rPr lang="en-US" dirty="0"/>
              <a:t>Headline Goes Here, Roboto Light, 36 Points, Can Span 2 Lines</a:t>
            </a:r>
          </a:p>
        </p:txBody>
      </p:sp>
      <p:sp>
        <p:nvSpPr>
          <p:cNvPr id="6" name="Text Placeholder 5">
            <a:extLst>
              <a:ext uri="{FF2B5EF4-FFF2-40B4-BE49-F238E27FC236}">
                <a16:creationId xmlns:a16="http://schemas.microsoft.com/office/drawing/2014/main" id="{C30FA114-2360-447D-A77F-8CEEE439EDFB}"/>
              </a:ext>
            </a:extLst>
          </p:cNvPr>
          <p:cNvSpPr>
            <a:spLocks noGrp="1"/>
          </p:cNvSpPr>
          <p:nvPr userDrawn="1">
            <p:ph type="body" sz="quarter" idx="10" hasCustomPrompt="1"/>
          </p:nvPr>
        </p:nvSpPr>
        <p:spPr>
          <a:xfrm>
            <a:off x="1682211" y="1959151"/>
            <a:ext cx="2728007" cy="944563"/>
          </a:xfrm>
        </p:spPr>
        <p:txBody>
          <a:bodyPr lIns="182880"/>
          <a:lstStyle>
            <a:lvl1pPr marL="0" indent="0">
              <a:lnSpc>
                <a:spcPct val="95000"/>
              </a:lnSpc>
              <a:spcBef>
                <a:spcPts val="0"/>
              </a:spcBef>
              <a:buNone/>
              <a:defRPr sz="2400"/>
            </a:lvl1pPr>
          </a:lstStyle>
          <a:p>
            <a:pPr lvl="0"/>
            <a:r>
              <a:rPr lang="en-US" dirty="0"/>
              <a:t>Agenda item</a:t>
            </a:r>
            <a:br>
              <a:rPr lang="en-US" dirty="0"/>
            </a:br>
            <a:r>
              <a:rPr lang="en-US" dirty="0"/>
              <a:t>goes here</a:t>
            </a:r>
          </a:p>
        </p:txBody>
      </p:sp>
      <p:sp>
        <p:nvSpPr>
          <p:cNvPr id="81" name="Text Placeholder 5">
            <a:extLst>
              <a:ext uri="{FF2B5EF4-FFF2-40B4-BE49-F238E27FC236}">
                <a16:creationId xmlns:a16="http://schemas.microsoft.com/office/drawing/2014/main" id="{3EFED770-B0D7-446E-AAFE-793919EC1673}"/>
              </a:ext>
            </a:extLst>
          </p:cNvPr>
          <p:cNvSpPr>
            <a:spLocks noGrp="1"/>
          </p:cNvSpPr>
          <p:nvPr userDrawn="1">
            <p:ph type="body" sz="quarter" idx="11" hasCustomPrompt="1"/>
          </p:nvPr>
        </p:nvSpPr>
        <p:spPr>
          <a:xfrm>
            <a:off x="5313675" y="1959151"/>
            <a:ext cx="2727864" cy="944563"/>
          </a:xfrm>
        </p:spPr>
        <p:txBody>
          <a:bodyPr lIns="182880"/>
          <a:lstStyle>
            <a:lvl1pPr marL="0" indent="0">
              <a:lnSpc>
                <a:spcPct val="95000"/>
              </a:lnSpc>
              <a:spcBef>
                <a:spcPts val="0"/>
              </a:spcBef>
              <a:buNone/>
              <a:defRPr sz="2400"/>
            </a:lvl1pPr>
          </a:lstStyle>
          <a:p>
            <a:pPr lvl="0"/>
            <a:r>
              <a:rPr lang="en-US" dirty="0"/>
              <a:t>Agenda item</a:t>
            </a:r>
            <a:br>
              <a:rPr lang="en-US" dirty="0"/>
            </a:br>
            <a:r>
              <a:rPr lang="en-US" dirty="0"/>
              <a:t>goes here</a:t>
            </a:r>
          </a:p>
        </p:txBody>
      </p:sp>
      <p:sp>
        <p:nvSpPr>
          <p:cNvPr id="82" name="Text Placeholder 5">
            <a:extLst>
              <a:ext uri="{FF2B5EF4-FFF2-40B4-BE49-F238E27FC236}">
                <a16:creationId xmlns:a16="http://schemas.microsoft.com/office/drawing/2014/main" id="{6DCE7664-17AC-4182-B8EC-63A3183DAE97}"/>
              </a:ext>
            </a:extLst>
          </p:cNvPr>
          <p:cNvSpPr>
            <a:spLocks noGrp="1"/>
          </p:cNvSpPr>
          <p:nvPr userDrawn="1">
            <p:ph type="body" sz="quarter" idx="12" hasCustomPrompt="1"/>
          </p:nvPr>
        </p:nvSpPr>
        <p:spPr>
          <a:xfrm>
            <a:off x="8944656" y="1959151"/>
            <a:ext cx="2727864" cy="944563"/>
          </a:xfrm>
        </p:spPr>
        <p:txBody>
          <a:bodyPr lIns="182880"/>
          <a:lstStyle>
            <a:lvl1pPr marL="0" indent="0">
              <a:lnSpc>
                <a:spcPct val="95000"/>
              </a:lnSpc>
              <a:spcBef>
                <a:spcPts val="0"/>
              </a:spcBef>
              <a:buNone/>
              <a:defRPr sz="2400"/>
            </a:lvl1pPr>
          </a:lstStyle>
          <a:p>
            <a:pPr lvl="0"/>
            <a:r>
              <a:rPr lang="en-US" dirty="0"/>
              <a:t>Agenda item</a:t>
            </a:r>
            <a:br>
              <a:rPr lang="en-US" dirty="0"/>
            </a:br>
            <a:r>
              <a:rPr lang="en-US" dirty="0"/>
              <a:t>goes here</a:t>
            </a:r>
          </a:p>
        </p:txBody>
      </p:sp>
      <p:sp>
        <p:nvSpPr>
          <p:cNvPr id="83" name="Text Placeholder 5">
            <a:extLst>
              <a:ext uri="{FF2B5EF4-FFF2-40B4-BE49-F238E27FC236}">
                <a16:creationId xmlns:a16="http://schemas.microsoft.com/office/drawing/2014/main" id="{C6C47051-F188-4AFA-8091-F6AB4A6C4D51}"/>
              </a:ext>
            </a:extLst>
          </p:cNvPr>
          <p:cNvSpPr>
            <a:spLocks noGrp="1"/>
          </p:cNvSpPr>
          <p:nvPr userDrawn="1">
            <p:ph type="body" sz="quarter" idx="13" hasCustomPrompt="1"/>
          </p:nvPr>
        </p:nvSpPr>
        <p:spPr>
          <a:xfrm>
            <a:off x="1682211" y="3550706"/>
            <a:ext cx="2728007" cy="944563"/>
          </a:xfrm>
        </p:spPr>
        <p:txBody>
          <a:bodyPr lIns="182880"/>
          <a:lstStyle>
            <a:lvl1pPr marL="0" indent="0">
              <a:lnSpc>
                <a:spcPct val="95000"/>
              </a:lnSpc>
              <a:spcBef>
                <a:spcPts val="0"/>
              </a:spcBef>
              <a:buNone/>
              <a:defRPr sz="2400"/>
            </a:lvl1pPr>
          </a:lstStyle>
          <a:p>
            <a:pPr lvl="0"/>
            <a:r>
              <a:rPr lang="en-US" dirty="0"/>
              <a:t>Agenda item</a:t>
            </a:r>
            <a:br>
              <a:rPr lang="en-US" dirty="0"/>
            </a:br>
            <a:r>
              <a:rPr lang="en-US" dirty="0"/>
              <a:t>goes here</a:t>
            </a:r>
          </a:p>
        </p:txBody>
      </p:sp>
      <p:sp>
        <p:nvSpPr>
          <p:cNvPr id="84" name="Text Placeholder 5">
            <a:extLst>
              <a:ext uri="{FF2B5EF4-FFF2-40B4-BE49-F238E27FC236}">
                <a16:creationId xmlns:a16="http://schemas.microsoft.com/office/drawing/2014/main" id="{07C1887D-8958-4DA8-AE74-D08F0B6BE64B}"/>
              </a:ext>
            </a:extLst>
          </p:cNvPr>
          <p:cNvSpPr>
            <a:spLocks noGrp="1"/>
          </p:cNvSpPr>
          <p:nvPr userDrawn="1">
            <p:ph type="body" sz="quarter" idx="14" hasCustomPrompt="1"/>
          </p:nvPr>
        </p:nvSpPr>
        <p:spPr>
          <a:xfrm>
            <a:off x="5313675" y="3550706"/>
            <a:ext cx="2727864" cy="944563"/>
          </a:xfrm>
        </p:spPr>
        <p:txBody>
          <a:bodyPr lIns="182880"/>
          <a:lstStyle>
            <a:lvl1pPr marL="0" indent="0">
              <a:lnSpc>
                <a:spcPct val="95000"/>
              </a:lnSpc>
              <a:spcBef>
                <a:spcPts val="0"/>
              </a:spcBef>
              <a:buNone/>
              <a:defRPr sz="2400"/>
            </a:lvl1pPr>
          </a:lstStyle>
          <a:p>
            <a:pPr lvl="0"/>
            <a:r>
              <a:rPr lang="en-US" dirty="0"/>
              <a:t>Agenda item</a:t>
            </a:r>
            <a:br>
              <a:rPr lang="en-US" dirty="0"/>
            </a:br>
            <a:r>
              <a:rPr lang="en-US" dirty="0"/>
              <a:t>goes here</a:t>
            </a:r>
          </a:p>
        </p:txBody>
      </p:sp>
      <p:sp>
        <p:nvSpPr>
          <p:cNvPr id="85" name="Text Placeholder 5">
            <a:extLst>
              <a:ext uri="{FF2B5EF4-FFF2-40B4-BE49-F238E27FC236}">
                <a16:creationId xmlns:a16="http://schemas.microsoft.com/office/drawing/2014/main" id="{910568AE-CD22-4C50-9EE0-D76A57CAB532}"/>
              </a:ext>
            </a:extLst>
          </p:cNvPr>
          <p:cNvSpPr>
            <a:spLocks noGrp="1"/>
          </p:cNvSpPr>
          <p:nvPr userDrawn="1">
            <p:ph type="body" sz="quarter" idx="15" hasCustomPrompt="1"/>
          </p:nvPr>
        </p:nvSpPr>
        <p:spPr>
          <a:xfrm>
            <a:off x="8944656" y="3550706"/>
            <a:ext cx="2727864" cy="944563"/>
          </a:xfrm>
        </p:spPr>
        <p:txBody>
          <a:bodyPr lIns="182880"/>
          <a:lstStyle>
            <a:lvl1pPr marL="0" indent="0">
              <a:lnSpc>
                <a:spcPct val="95000"/>
              </a:lnSpc>
              <a:spcBef>
                <a:spcPts val="0"/>
              </a:spcBef>
              <a:buNone/>
              <a:defRPr sz="2400"/>
            </a:lvl1pPr>
          </a:lstStyle>
          <a:p>
            <a:pPr lvl="0"/>
            <a:r>
              <a:rPr lang="en-US" dirty="0"/>
              <a:t>Agenda item</a:t>
            </a:r>
            <a:br>
              <a:rPr lang="en-US" dirty="0"/>
            </a:br>
            <a:r>
              <a:rPr lang="en-US" dirty="0"/>
              <a:t>goes here</a:t>
            </a:r>
          </a:p>
        </p:txBody>
      </p:sp>
      <p:sp>
        <p:nvSpPr>
          <p:cNvPr id="86" name="Freeform 10">
            <a:extLst>
              <a:ext uri="{FF2B5EF4-FFF2-40B4-BE49-F238E27FC236}">
                <a16:creationId xmlns:a16="http://schemas.microsoft.com/office/drawing/2014/main" id="{04F9AD65-A2DA-4F6E-8833-C1336C6E3F8B}"/>
              </a:ext>
            </a:extLst>
          </p:cNvPr>
          <p:cNvSpPr/>
          <p:nvPr userDrawn="1"/>
        </p:nvSpPr>
        <p:spPr>
          <a:xfrm>
            <a:off x="1027113" y="3193958"/>
            <a:ext cx="3383106" cy="45719"/>
          </a:xfrm>
          <a:custGeom>
            <a:avLst/>
            <a:gdLst>
              <a:gd name="connsiteX0" fmla="*/ 0 w 2946408"/>
              <a:gd name="connsiteY0" fmla="*/ 0 h 1767845"/>
              <a:gd name="connsiteX1" fmla="*/ 2946408 w 2946408"/>
              <a:gd name="connsiteY1" fmla="*/ 0 h 1767845"/>
              <a:gd name="connsiteX2" fmla="*/ 2946408 w 2946408"/>
              <a:gd name="connsiteY2" fmla="*/ 1767845 h 1767845"/>
              <a:gd name="connsiteX3" fmla="*/ 0 w 2946408"/>
              <a:gd name="connsiteY3" fmla="*/ 1767845 h 1767845"/>
              <a:gd name="connsiteX4" fmla="*/ 0 w 2946408"/>
              <a:gd name="connsiteY4" fmla="*/ 0 h 1767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6408" h="1767845">
                <a:moveTo>
                  <a:pt x="0" y="0"/>
                </a:moveTo>
                <a:lnTo>
                  <a:pt x="2946408" y="0"/>
                </a:lnTo>
                <a:lnTo>
                  <a:pt x="2946408" y="1767845"/>
                </a:lnTo>
                <a:lnTo>
                  <a:pt x="0" y="1767845"/>
                </a:lnTo>
                <a:lnTo>
                  <a:pt x="0" y="0"/>
                </a:lnTo>
                <a:close/>
              </a:path>
            </a:pathLst>
          </a:custGeom>
          <a:solidFill>
            <a:schemeClr val="accent5"/>
          </a:solidFill>
          <a:effectLst/>
        </p:spPr>
        <p:style>
          <a:lnRef idx="0">
            <a:schemeClr val="lt1">
              <a:hueOff val="0"/>
              <a:satOff val="0"/>
              <a:lumOff val="0"/>
              <a:alphaOff val="0"/>
            </a:schemeClr>
          </a:lnRef>
          <a:fillRef idx="3">
            <a:schemeClr val="accent2">
              <a:shade val="50000"/>
              <a:hueOff val="0"/>
              <a:satOff val="0"/>
              <a:lumOff val="0"/>
              <a:alphaOff val="0"/>
            </a:schemeClr>
          </a:fillRef>
          <a:effectRef idx="2">
            <a:schemeClr val="accent2">
              <a:shade val="50000"/>
              <a:hueOff val="0"/>
              <a:satOff val="0"/>
              <a:lumOff val="0"/>
              <a:alphaOff val="0"/>
            </a:schemeClr>
          </a:effectRef>
          <a:fontRef idx="minor">
            <a:schemeClr val="lt1"/>
          </a:fontRef>
        </p:style>
        <p:txBody>
          <a:bodyPr spcFirstLastPara="0" vert="horz" wrap="square" lIns="822960" tIns="91440" rIns="133316" bIns="133316" numCol="1" spcCol="1270" anchor="t" anchorCtr="0">
            <a:noAutofit/>
          </a:bodyPr>
          <a:lstStyle/>
          <a:p>
            <a:pPr marL="0" marR="0" lvl="0" indent="0" defTabSz="1555362" rtl="0" eaLnBrk="1" fontAlgn="auto" latinLnBrk="0" hangingPunct="1">
              <a:lnSpc>
                <a:spcPct val="90000"/>
              </a:lnSpc>
              <a:spcBef>
                <a:spcPct val="0"/>
              </a:spcBef>
              <a:spcAft>
                <a:spcPct val="35000"/>
              </a:spcAft>
              <a:buClrTx/>
              <a:buSzTx/>
              <a:buFontTx/>
              <a:buNone/>
              <a:tabLst/>
              <a:defRPr/>
            </a:pPr>
            <a:endParaRPr kumimoji="0" lang="en-US" sz="2400" u="none" strike="noStrike" kern="1200" cap="none" spc="0" normalizeH="0" baseline="0" noProof="0" dirty="0">
              <a:ln>
                <a:noFill/>
              </a:ln>
              <a:solidFill>
                <a:srgbClr val="373737"/>
              </a:solidFill>
              <a:effectLst/>
              <a:uLnTx/>
              <a:uFillTx/>
              <a:latin typeface="Roboto Lt" pitchFamily="2" charset="0"/>
              <a:ea typeface="Roboto Lt" pitchFamily="2" charset="0"/>
            </a:endParaRPr>
          </a:p>
        </p:txBody>
      </p:sp>
      <p:sp>
        <p:nvSpPr>
          <p:cNvPr id="87" name="Freeform 11">
            <a:extLst>
              <a:ext uri="{FF2B5EF4-FFF2-40B4-BE49-F238E27FC236}">
                <a16:creationId xmlns:a16="http://schemas.microsoft.com/office/drawing/2014/main" id="{4A3DFBF4-6AB7-4F8B-89EF-C83C28D2968E}"/>
              </a:ext>
            </a:extLst>
          </p:cNvPr>
          <p:cNvSpPr/>
          <p:nvPr userDrawn="1"/>
        </p:nvSpPr>
        <p:spPr>
          <a:xfrm>
            <a:off x="4660828" y="3193956"/>
            <a:ext cx="3383107" cy="45719"/>
          </a:xfrm>
          <a:custGeom>
            <a:avLst/>
            <a:gdLst>
              <a:gd name="connsiteX0" fmla="*/ 0 w 2946408"/>
              <a:gd name="connsiteY0" fmla="*/ 0 h 1767845"/>
              <a:gd name="connsiteX1" fmla="*/ 2946408 w 2946408"/>
              <a:gd name="connsiteY1" fmla="*/ 0 h 1767845"/>
              <a:gd name="connsiteX2" fmla="*/ 2946408 w 2946408"/>
              <a:gd name="connsiteY2" fmla="*/ 1767845 h 1767845"/>
              <a:gd name="connsiteX3" fmla="*/ 0 w 2946408"/>
              <a:gd name="connsiteY3" fmla="*/ 1767845 h 1767845"/>
              <a:gd name="connsiteX4" fmla="*/ 0 w 2946408"/>
              <a:gd name="connsiteY4" fmla="*/ 0 h 1767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6408" h="1767845">
                <a:moveTo>
                  <a:pt x="0" y="0"/>
                </a:moveTo>
                <a:lnTo>
                  <a:pt x="2946408" y="0"/>
                </a:lnTo>
                <a:lnTo>
                  <a:pt x="2946408" y="1767845"/>
                </a:lnTo>
                <a:lnTo>
                  <a:pt x="0" y="1767845"/>
                </a:lnTo>
                <a:lnTo>
                  <a:pt x="0" y="0"/>
                </a:lnTo>
                <a:close/>
              </a:path>
            </a:pathLst>
          </a:custGeom>
          <a:solidFill>
            <a:schemeClr val="accent2"/>
          </a:solidFill>
          <a:effectLst/>
        </p:spPr>
        <p:style>
          <a:lnRef idx="0">
            <a:schemeClr val="lt1">
              <a:hueOff val="0"/>
              <a:satOff val="0"/>
              <a:lumOff val="0"/>
              <a:alphaOff val="0"/>
            </a:schemeClr>
          </a:lnRef>
          <a:fillRef idx="3">
            <a:schemeClr val="accent2">
              <a:shade val="50000"/>
              <a:hueOff val="-352213"/>
              <a:satOff val="0"/>
              <a:lumOff val="20640"/>
              <a:alphaOff val="0"/>
            </a:schemeClr>
          </a:fillRef>
          <a:effectRef idx="2">
            <a:schemeClr val="accent2">
              <a:shade val="50000"/>
              <a:hueOff val="-352213"/>
              <a:satOff val="0"/>
              <a:lumOff val="20640"/>
              <a:alphaOff val="0"/>
            </a:schemeClr>
          </a:effectRef>
          <a:fontRef idx="minor">
            <a:schemeClr val="lt1"/>
          </a:fontRef>
        </p:style>
        <p:txBody>
          <a:bodyPr spcFirstLastPara="0" vert="horz" wrap="square" lIns="822960" tIns="91440" rIns="133316" bIns="133316" numCol="1" spcCol="1270" anchor="t" anchorCtr="0">
            <a:noAutofit/>
          </a:bodyPr>
          <a:lstStyle/>
          <a:p>
            <a:pPr marL="0" marR="0" lvl="0" indent="0" defTabSz="1555362" rtl="0" eaLnBrk="1" fontAlgn="auto" latinLnBrk="0" hangingPunct="1">
              <a:lnSpc>
                <a:spcPct val="90000"/>
              </a:lnSpc>
              <a:spcBef>
                <a:spcPct val="0"/>
              </a:spcBef>
              <a:spcAft>
                <a:spcPct val="35000"/>
              </a:spcAft>
              <a:buClrTx/>
              <a:buSzTx/>
              <a:buFontTx/>
              <a:buNone/>
              <a:tabLst/>
              <a:defRPr/>
            </a:pPr>
            <a:endParaRPr kumimoji="0" lang="en-US" sz="2400" u="none" strike="noStrike" kern="1200" cap="none" spc="0" normalizeH="0" baseline="0" noProof="0" dirty="0">
              <a:ln>
                <a:noFill/>
              </a:ln>
              <a:solidFill>
                <a:srgbClr val="373737"/>
              </a:solidFill>
              <a:effectLst/>
              <a:uLnTx/>
              <a:uFillTx/>
              <a:latin typeface="Roboto Lt" pitchFamily="2" charset="0"/>
              <a:ea typeface="Roboto Lt" pitchFamily="2" charset="0"/>
            </a:endParaRPr>
          </a:p>
        </p:txBody>
      </p:sp>
      <p:sp>
        <p:nvSpPr>
          <p:cNvPr id="88" name="Freeform 12">
            <a:extLst>
              <a:ext uri="{FF2B5EF4-FFF2-40B4-BE49-F238E27FC236}">
                <a16:creationId xmlns:a16="http://schemas.microsoft.com/office/drawing/2014/main" id="{B97FB2CD-657A-4AC5-82C4-EA700B431257}"/>
              </a:ext>
            </a:extLst>
          </p:cNvPr>
          <p:cNvSpPr/>
          <p:nvPr userDrawn="1"/>
        </p:nvSpPr>
        <p:spPr>
          <a:xfrm>
            <a:off x="8294545" y="3193957"/>
            <a:ext cx="3383106" cy="45719"/>
          </a:xfrm>
          <a:custGeom>
            <a:avLst/>
            <a:gdLst>
              <a:gd name="connsiteX0" fmla="*/ 0 w 2946408"/>
              <a:gd name="connsiteY0" fmla="*/ 0 h 1767845"/>
              <a:gd name="connsiteX1" fmla="*/ 2946408 w 2946408"/>
              <a:gd name="connsiteY1" fmla="*/ 0 h 1767845"/>
              <a:gd name="connsiteX2" fmla="*/ 2946408 w 2946408"/>
              <a:gd name="connsiteY2" fmla="*/ 1767845 h 1767845"/>
              <a:gd name="connsiteX3" fmla="*/ 0 w 2946408"/>
              <a:gd name="connsiteY3" fmla="*/ 1767845 h 1767845"/>
              <a:gd name="connsiteX4" fmla="*/ 0 w 2946408"/>
              <a:gd name="connsiteY4" fmla="*/ 0 h 1767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6408" h="1767845">
                <a:moveTo>
                  <a:pt x="0" y="0"/>
                </a:moveTo>
                <a:lnTo>
                  <a:pt x="2946408" y="0"/>
                </a:lnTo>
                <a:lnTo>
                  <a:pt x="2946408" y="1767845"/>
                </a:lnTo>
                <a:lnTo>
                  <a:pt x="0" y="1767845"/>
                </a:lnTo>
                <a:lnTo>
                  <a:pt x="0" y="0"/>
                </a:lnTo>
                <a:close/>
              </a:path>
            </a:pathLst>
          </a:custGeom>
          <a:solidFill>
            <a:schemeClr val="accent4"/>
          </a:solidFill>
          <a:effectLst/>
        </p:spPr>
        <p:style>
          <a:lnRef idx="0">
            <a:schemeClr val="lt1">
              <a:hueOff val="0"/>
              <a:satOff val="0"/>
              <a:lumOff val="0"/>
              <a:alphaOff val="0"/>
            </a:schemeClr>
          </a:lnRef>
          <a:fillRef idx="3">
            <a:schemeClr val="accent2">
              <a:shade val="50000"/>
              <a:hueOff val="-704426"/>
              <a:satOff val="0"/>
              <a:lumOff val="41281"/>
              <a:alphaOff val="0"/>
            </a:schemeClr>
          </a:fillRef>
          <a:effectRef idx="2">
            <a:schemeClr val="accent2">
              <a:shade val="50000"/>
              <a:hueOff val="-704426"/>
              <a:satOff val="0"/>
              <a:lumOff val="41281"/>
              <a:alphaOff val="0"/>
            </a:schemeClr>
          </a:effectRef>
          <a:fontRef idx="minor">
            <a:schemeClr val="lt1"/>
          </a:fontRef>
        </p:style>
        <p:txBody>
          <a:bodyPr spcFirstLastPara="0" vert="horz" wrap="square" lIns="822960" tIns="91440" rIns="133316" bIns="133316" numCol="1" spcCol="1270" anchor="t" anchorCtr="0">
            <a:noAutofit/>
          </a:bodyPr>
          <a:lstStyle/>
          <a:p>
            <a:pPr marL="0" marR="0" lvl="0" indent="0" defTabSz="1555362" rtl="0" eaLnBrk="1" fontAlgn="auto" latinLnBrk="0" hangingPunct="1">
              <a:lnSpc>
                <a:spcPct val="90000"/>
              </a:lnSpc>
              <a:spcBef>
                <a:spcPct val="0"/>
              </a:spcBef>
              <a:spcAft>
                <a:spcPct val="35000"/>
              </a:spcAft>
              <a:buClrTx/>
              <a:buSzTx/>
              <a:buFontTx/>
              <a:buNone/>
              <a:tabLst/>
              <a:defRPr/>
            </a:pPr>
            <a:endParaRPr kumimoji="0" lang="en-US" sz="2400" u="none" strike="noStrike" kern="1200" cap="none" spc="0" normalizeH="0" baseline="0" noProof="0" dirty="0">
              <a:ln>
                <a:noFill/>
              </a:ln>
              <a:solidFill>
                <a:srgbClr val="373737"/>
              </a:solidFill>
              <a:effectLst/>
              <a:uLnTx/>
              <a:uFillTx/>
              <a:latin typeface="Roboto Lt" pitchFamily="2" charset="0"/>
              <a:ea typeface="Roboto Lt" pitchFamily="2" charset="0"/>
            </a:endParaRPr>
          </a:p>
        </p:txBody>
      </p:sp>
      <p:sp>
        <p:nvSpPr>
          <p:cNvPr id="89" name="Freeform 10">
            <a:extLst>
              <a:ext uri="{FF2B5EF4-FFF2-40B4-BE49-F238E27FC236}">
                <a16:creationId xmlns:a16="http://schemas.microsoft.com/office/drawing/2014/main" id="{D6D992AD-F208-4A19-B228-9D3A39B9EAA2}"/>
              </a:ext>
            </a:extLst>
          </p:cNvPr>
          <p:cNvSpPr/>
          <p:nvPr userDrawn="1"/>
        </p:nvSpPr>
        <p:spPr>
          <a:xfrm>
            <a:off x="1027113" y="4771961"/>
            <a:ext cx="3383106" cy="45719"/>
          </a:xfrm>
          <a:custGeom>
            <a:avLst/>
            <a:gdLst>
              <a:gd name="connsiteX0" fmla="*/ 0 w 2946408"/>
              <a:gd name="connsiteY0" fmla="*/ 0 h 1767845"/>
              <a:gd name="connsiteX1" fmla="*/ 2946408 w 2946408"/>
              <a:gd name="connsiteY1" fmla="*/ 0 h 1767845"/>
              <a:gd name="connsiteX2" fmla="*/ 2946408 w 2946408"/>
              <a:gd name="connsiteY2" fmla="*/ 1767845 h 1767845"/>
              <a:gd name="connsiteX3" fmla="*/ 0 w 2946408"/>
              <a:gd name="connsiteY3" fmla="*/ 1767845 h 1767845"/>
              <a:gd name="connsiteX4" fmla="*/ 0 w 2946408"/>
              <a:gd name="connsiteY4" fmla="*/ 0 h 1767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6408" h="1767845">
                <a:moveTo>
                  <a:pt x="0" y="0"/>
                </a:moveTo>
                <a:lnTo>
                  <a:pt x="2946408" y="0"/>
                </a:lnTo>
                <a:lnTo>
                  <a:pt x="2946408" y="1767845"/>
                </a:lnTo>
                <a:lnTo>
                  <a:pt x="0" y="1767845"/>
                </a:lnTo>
                <a:lnTo>
                  <a:pt x="0" y="0"/>
                </a:lnTo>
                <a:close/>
              </a:path>
            </a:pathLst>
          </a:custGeom>
          <a:solidFill>
            <a:schemeClr val="accent1"/>
          </a:solidFill>
          <a:effectLst/>
        </p:spPr>
        <p:style>
          <a:lnRef idx="0">
            <a:schemeClr val="lt1">
              <a:hueOff val="0"/>
              <a:satOff val="0"/>
              <a:lumOff val="0"/>
              <a:alphaOff val="0"/>
            </a:schemeClr>
          </a:lnRef>
          <a:fillRef idx="3">
            <a:schemeClr val="accent2">
              <a:shade val="50000"/>
              <a:hueOff val="0"/>
              <a:satOff val="0"/>
              <a:lumOff val="0"/>
              <a:alphaOff val="0"/>
            </a:schemeClr>
          </a:fillRef>
          <a:effectRef idx="2">
            <a:schemeClr val="accent2">
              <a:shade val="50000"/>
              <a:hueOff val="0"/>
              <a:satOff val="0"/>
              <a:lumOff val="0"/>
              <a:alphaOff val="0"/>
            </a:schemeClr>
          </a:effectRef>
          <a:fontRef idx="minor">
            <a:schemeClr val="lt1"/>
          </a:fontRef>
        </p:style>
        <p:txBody>
          <a:bodyPr spcFirstLastPara="0" vert="horz" wrap="square" lIns="822960" tIns="91440" rIns="133316" bIns="133316" numCol="1" spcCol="1270" anchor="t" anchorCtr="0">
            <a:noAutofit/>
          </a:bodyPr>
          <a:lstStyle/>
          <a:p>
            <a:pPr marL="0" marR="0" lvl="0" indent="0" defTabSz="1555362" rtl="0" eaLnBrk="1" fontAlgn="auto" latinLnBrk="0" hangingPunct="1">
              <a:lnSpc>
                <a:spcPct val="90000"/>
              </a:lnSpc>
              <a:spcBef>
                <a:spcPct val="0"/>
              </a:spcBef>
              <a:spcAft>
                <a:spcPct val="35000"/>
              </a:spcAft>
              <a:buClrTx/>
              <a:buSzTx/>
              <a:buFontTx/>
              <a:buNone/>
              <a:tabLst/>
              <a:defRPr/>
            </a:pPr>
            <a:endParaRPr kumimoji="0" lang="en-US" sz="2400" u="none" strike="noStrike" kern="1200" cap="none" spc="0" normalizeH="0" baseline="0" noProof="0" dirty="0">
              <a:ln>
                <a:noFill/>
              </a:ln>
              <a:solidFill>
                <a:srgbClr val="373737"/>
              </a:solidFill>
              <a:effectLst/>
              <a:uLnTx/>
              <a:uFillTx/>
              <a:latin typeface="Roboto Lt" pitchFamily="2" charset="0"/>
              <a:ea typeface="Roboto Lt" pitchFamily="2" charset="0"/>
            </a:endParaRPr>
          </a:p>
        </p:txBody>
      </p:sp>
      <p:sp>
        <p:nvSpPr>
          <p:cNvPr id="90" name="Freeform 11">
            <a:extLst>
              <a:ext uri="{FF2B5EF4-FFF2-40B4-BE49-F238E27FC236}">
                <a16:creationId xmlns:a16="http://schemas.microsoft.com/office/drawing/2014/main" id="{6C2E48A7-4BD9-4738-BFAC-BA6CE8743072}"/>
              </a:ext>
            </a:extLst>
          </p:cNvPr>
          <p:cNvSpPr/>
          <p:nvPr userDrawn="1"/>
        </p:nvSpPr>
        <p:spPr>
          <a:xfrm>
            <a:off x="4660828" y="4771959"/>
            <a:ext cx="3383107" cy="45719"/>
          </a:xfrm>
          <a:custGeom>
            <a:avLst/>
            <a:gdLst>
              <a:gd name="connsiteX0" fmla="*/ 0 w 2946408"/>
              <a:gd name="connsiteY0" fmla="*/ 0 h 1767845"/>
              <a:gd name="connsiteX1" fmla="*/ 2946408 w 2946408"/>
              <a:gd name="connsiteY1" fmla="*/ 0 h 1767845"/>
              <a:gd name="connsiteX2" fmla="*/ 2946408 w 2946408"/>
              <a:gd name="connsiteY2" fmla="*/ 1767845 h 1767845"/>
              <a:gd name="connsiteX3" fmla="*/ 0 w 2946408"/>
              <a:gd name="connsiteY3" fmla="*/ 1767845 h 1767845"/>
              <a:gd name="connsiteX4" fmla="*/ 0 w 2946408"/>
              <a:gd name="connsiteY4" fmla="*/ 0 h 1767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6408" h="1767845">
                <a:moveTo>
                  <a:pt x="0" y="0"/>
                </a:moveTo>
                <a:lnTo>
                  <a:pt x="2946408" y="0"/>
                </a:lnTo>
                <a:lnTo>
                  <a:pt x="2946408" y="1767845"/>
                </a:lnTo>
                <a:lnTo>
                  <a:pt x="0" y="1767845"/>
                </a:lnTo>
                <a:lnTo>
                  <a:pt x="0" y="0"/>
                </a:lnTo>
                <a:close/>
              </a:path>
            </a:pathLst>
          </a:custGeom>
          <a:solidFill>
            <a:srgbClr val="626262"/>
          </a:solidFill>
          <a:effectLst/>
        </p:spPr>
        <p:style>
          <a:lnRef idx="0">
            <a:schemeClr val="lt1">
              <a:hueOff val="0"/>
              <a:satOff val="0"/>
              <a:lumOff val="0"/>
              <a:alphaOff val="0"/>
            </a:schemeClr>
          </a:lnRef>
          <a:fillRef idx="3">
            <a:schemeClr val="accent2">
              <a:shade val="50000"/>
              <a:hueOff val="-352213"/>
              <a:satOff val="0"/>
              <a:lumOff val="20640"/>
              <a:alphaOff val="0"/>
            </a:schemeClr>
          </a:fillRef>
          <a:effectRef idx="2">
            <a:schemeClr val="accent2">
              <a:shade val="50000"/>
              <a:hueOff val="-352213"/>
              <a:satOff val="0"/>
              <a:lumOff val="20640"/>
              <a:alphaOff val="0"/>
            </a:schemeClr>
          </a:effectRef>
          <a:fontRef idx="minor">
            <a:schemeClr val="lt1"/>
          </a:fontRef>
        </p:style>
        <p:txBody>
          <a:bodyPr spcFirstLastPara="0" vert="horz" wrap="square" lIns="822960" tIns="91440" rIns="133316" bIns="133316" numCol="1" spcCol="1270" anchor="t" anchorCtr="0">
            <a:noAutofit/>
          </a:bodyPr>
          <a:lstStyle/>
          <a:p>
            <a:pPr marL="0" marR="0" lvl="0" indent="0" defTabSz="1555362" rtl="0" eaLnBrk="1" fontAlgn="auto" latinLnBrk="0" hangingPunct="1">
              <a:lnSpc>
                <a:spcPct val="90000"/>
              </a:lnSpc>
              <a:spcBef>
                <a:spcPct val="0"/>
              </a:spcBef>
              <a:spcAft>
                <a:spcPct val="35000"/>
              </a:spcAft>
              <a:buClrTx/>
              <a:buSzTx/>
              <a:buFontTx/>
              <a:buNone/>
              <a:tabLst/>
              <a:defRPr/>
            </a:pPr>
            <a:endParaRPr kumimoji="0" lang="en-US" sz="2400" u="none" strike="noStrike" kern="1200" cap="none" spc="0" normalizeH="0" baseline="0" noProof="0" dirty="0">
              <a:ln>
                <a:noFill/>
              </a:ln>
              <a:solidFill>
                <a:srgbClr val="373737"/>
              </a:solidFill>
              <a:effectLst/>
              <a:uLnTx/>
              <a:uFillTx/>
              <a:latin typeface="Roboto Lt" pitchFamily="2" charset="0"/>
              <a:ea typeface="Roboto Lt" pitchFamily="2" charset="0"/>
            </a:endParaRPr>
          </a:p>
        </p:txBody>
      </p:sp>
      <p:sp>
        <p:nvSpPr>
          <p:cNvPr id="91" name="Freeform 12">
            <a:extLst>
              <a:ext uri="{FF2B5EF4-FFF2-40B4-BE49-F238E27FC236}">
                <a16:creationId xmlns:a16="http://schemas.microsoft.com/office/drawing/2014/main" id="{2B2AED57-952D-47AC-AD1F-90D4E57F0121}"/>
              </a:ext>
            </a:extLst>
          </p:cNvPr>
          <p:cNvSpPr/>
          <p:nvPr userDrawn="1"/>
        </p:nvSpPr>
        <p:spPr>
          <a:xfrm>
            <a:off x="8294545" y="4771960"/>
            <a:ext cx="3383106" cy="45719"/>
          </a:xfrm>
          <a:custGeom>
            <a:avLst/>
            <a:gdLst>
              <a:gd name="connsiteX0" fmla="*/ 0 w 2946408"/>
              <a:gd name="connsiteY0" fmla="*/ 0 h 1767845"/>
              <a:gd name="connsiteX1" fmla="*/ 2946408 w 2946408"/>
              <a:gd name="connsiteY1" fmla="*/ 0 h 1767845"/>
              <a:gd name="connsiteX2" fmla="*/ 2946408 w 2946408"/>
              <a:gd name="connsiteY2" fmla="*/ 1767845 h 1767845"/>
              <a:gd name="connsiteX3" fmla="*/ 0 w 2946408"/>
              <a:gd name="connsiteY3" fmla="*/ 1767845 h 1767845"/>
              <a:gd name="connsiteX4" fmla="*/ 0 w 2946408"/>
              <a:gd name="connsiteY4" fmla="*/ 0 h 1767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6408" h="1767845">
                <a:moveTo>
                  <a:pt x="0" y="0"/>
                </a:moveTo>
                <a:lnTo>
                  <a:pt x="2946408" y="0"/>
                </a:lnTo>
                <a:lnTo>
                  <a:pt x="2946408" y="1767845"/>
                </a:lnTo>
                <a:lnTo>
                  <a:pt x="0" y="1767845"/>
                </a:lnTo>
                <a:lnTo>
                  <a:pt x="0" y="0"/>
                </a:lnTo>
                <a:close/>
              </a:path>
            </a:pathLst>
          </a:custGeom>
          <a:solidFill>
            <a:schemeClr val="accent6"/>
          </a:solidFill>
          <a:effectLst/>
        </p:spPr>
        <p:style>
          <a:lnRef idx="0">
            <a:schemeClr val="lt1">
              <a:hueOff val="0"/>
              <a:satOff val="0"/>
              <a:lumOff val="0"/>
              <a:alphaOff val="0"/>
            </a:schemeClr>
          </a:lnRef>
          <a:fillRef idx="3">
            <a:schemeClr val="accent2">
              <a:shade val="50000"/>
              <a:hueOff val="-704426"/>
              <a:satOff val="0"/>
              <a:lumOff val="41281"/>
              <a:alphaOff val="0"/>
            </a:schemeClr>
          </a:fillRef>
          <a:effectRef idx="2">
            <a:schemeClr val="accent2">
              <a:shade val="50000"/>
              <a:hueOff val="-704426"/>
              <a:satOff val="0"/>
              <a:lumOff val="41281"/>
              <a:alphaOff val="0"/>
            </a:schemeClr>
          </a:effectRef>
          <a:fontRef idx="minor">
            <a:schemeClr val="lt1"/>
          </a:fontRef>
        </p:style>
        <p:txBody>
          <a:bodyPr spcFirstLastPara="0" vert="horz" wrap="square" lIns="822960" tIns="91440" rIns="133316" bIns="133316" numCol="1" spcCol="1270" anchor="t" anchorCtr="0">
            <a:noAutofit/>
          </a:bodyPr>
          <a:lstStyle/>
          <a:p>
            <a:pPr marL="0" marR="0" lvl="0" indent="0" defTabSz="1555362" rtl="0" eaLnBrk="1" fontAlgn="auto" latinLnBrk="0" hangingPunct="1">
              <a:lnSpc>
                <a:spcPct val="90000"/>
              </a:lnSpc>
              <a:spcBef>
                <a:spcPct val="0"/>
              </a:spcBef>
              <a:spcAft>
                <a:spcPct val="35000"/>
              </a:spcAft>
              <a:buClrTx/>
              <a:buSzTx/>
              <a:buFontTx/>
              <a:buNone/>
              <a:tabLst/>
              <a:defRPr/>
            </a:pPr>
            <a:endParaRPr kumimoji="0" lang="en-US" sz="2400" u="none" strike="noStrike" kern="1200" cap="none" spc="0" normalizeH="0" baseline="0" noProof="0" dirty="0">
              <a:ln>
                <a:noFill/>
              </a:ln>
              <a:solidFill>
                <a:srgbClr val="373737"/>
              </a:solidFill>
              <a:effectLst/>
              <a:uLnTx/>
              <a:uFillTx/>
              <a:latin typeface="Roboto Lt" pitchFamily="2" charset="0"/>
              <a:ea typeface="Roboto Lt" pitchFamily="2" charset="0"/>
            </a:endParaRPr>
          </a:p>
        </p:txBody>
      </p:sp>
      <p:sp>
        <p:nvSpPr>
          <p:cNvPr id="73" name="TextBox 72">
            <a:extLst>
              <a:ext uri="{FF2B5EF4-FFF2-40B4-BE49-F238E27FC236}">
                <a16:creationId xmlns:a16="http://schemas.microsoft.com/office/drawing/2014/main" id="{D06D4311-CC27-4703-8C2C-07DEA5C95A87}"/>
              </a:ext>
            </a:extLst>
          </p:cNvPr>
          <p:cNvSpPr txBox="1"/>
          <p:nvPr userDrawn="1"/>
        </p:nvSpPr>
        <p:spPr>
          <a:xfrm>
            <a:off x="176868" y="6365106"/>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900" b="0" i="0" kern="1200" smtClean="0">
                <a:solidFill>
                  <a:schemeClr val="bg1"/>
                </a:solidFill>
                <a:latin typeface="Roboto" charset="0"/>
                <a:ea typeface="Roboto" charset="0"/>
                <a:cs typeface="Roboto" charset="0"/>
              </a:rPr>
              <a:pPr marL="0" lvl="0" algn="ctr" defTabSz="457200" rtl="0" eaLnBrk="1" latinLnBrk="0" hangingPunct="1"/>
              <a:t>‹#›</a:t>
            </a:fld>
            <a:endParaRPr lang="en-US" sz="900" b="0" i="0" kern="1200" dirty="0">
              <a:solidFill>
                <a:schemeClr val="bg1"/>
              </a:solidFill>
              <a:latin typeface="Roboto" charset="0"/>
              <a:ea typeface="Roboto" charset="0"/>
              <a:cs typeface="Roboto" charset="0"/>
            </a:endParaRPr>
          </a:p>
        </p:txBody>
      </p:sp>
      <p:sp>
        <p:nvSpPr>
          <p:cNvPr id="3" name="TextBox 2">
            <a:extLst>
              <a:ext uri="{FF2B5EF4-FFF2-40B4-BE49-F238E27FC236}">
                <a16:creationId xmlns:a16="http://schemas.microsoft.com/office/drawing/2014/main" id="{441A09E4-BC75-4DF9-9A9D-720A119A8D6E}"/>
              </a:ext>
            </a:extLst>
          </p:cNvPr>
          <p:cNvSpPr txBox="1"/>
          <p:nvPr userDrawn="1"/>
        </p:nvSpPr>
        <p:spPr>
          <a:xfrm>
            <a:off x="1023708"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dirty="0">
                <a:solidFill>
                  <a:schemeClr val="tx1"/>
                </a:solidFill>
                <a:latin typeface="Roboto" charset="0"/>
                <a:ea typeface="Roboto" charset="0"/>
                <a:cs typeface="Roboto" charset="0"/>
              </a:rPr>
              <a:t>© Informatica. Proprietary and Confidential.</a:t>
            </a:r>
          </a:p>
        </p:txBody>
      </p:sp>
      <p:pic>
        <p:nvPicPr>
          <p:cNvPr id="35" name="Picture 34">
            <a:extLst>
              <a:ext uri="{FF2B5EF4-FFF2-40B4-BE49-F238E27FC236}">
                <a16:creationId xmlns:a16="http://schemas.microsoft.com/office/drawing/2014/main" id="{B82C524C-CCED-7C4C-AB37-DC08F2783612}"/>
              </a:ext>
            </a:extLst>
          </p:cNvPr>
          <p:cNvPicPr>
            <a:picLocks noChangeAspect="1"/>
          </p:cNvPicPr>
          <p:nvPr userDrawn="1"/>
        </p:nvPicPr>
        <p:blipFill>
          <a:blip r:embed="rId3"/>
          <a:stretch>
            <a:fillRect/>
          </a:stretch>
        </p:blipFill>
        <p:spPr>
          <a:xfrm>
            <a:off x="9743687" y="6098796"/>
            <a:ext cx="2040934" cy="699990"/>
          </a:xfrm>
          <a:prstGeom prst="rect">
            <a:avLst/>
          </a:prstGeom>
        </p:spPr>
      </p:pic>
    </p:spTree>
    <p:extLst>
      <p:ext uri="{BB962C8B-B14F-4D97-AF65-F5344CB8AC3E}">
        <p14:creationId xmlns:p14="http://schemas.microsoft.com/office/powerpoint/2010/main" val="1906563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26" name="Picture Placeholder 6">
            <a:extLst>
              <a:ext uri="{FF2B5EF4-FFF2-40B4-BE49-F238E27FC236}">
                <a16:creationId xmlns:a16="http://schemas.microsoft.com/office/drawing/2014/main" id="{19139BE2-3955-4437-8BFB-427D8F682D2F}"/>
              </a:ext>
            </a:extLst>
          </p:cNvPr>
          <p:cNvSpPr>
            <a:spLocks noGrp="1"/>
          </p:cNvSpPr>
          <p:nvPr userDrawn="1">
            <p:ph type="pic" sz="quarter" idx="15" hasCustomPrompt="1"/>
          </p:nvPr>
        </p:nvSpPr>
        <p:spPr>
          <a:xfrm>
            <a:off x="4713354" y="-1"/>
            <a:ext cx="7475471" cy="6858000"/>
          </a:xfrm>
          <a:solidFill>
            <a:schemeClr val="bg1">
              <a:lumMod val="95000"/>
            </a:schemeClr>
          </a:solidFill>
        </p:spPr>
        <p:txBody>
          <a:bodyPr anchor="ctr"/>
          <a:lstStyle>
            <a:lvl1pPr marL="0" indent="0" algn="ctr">
              <a:buNone/>
              <a:defRPr/>
            </a:lvl1pPr>
          </a:lstStyle>
          <a:p>
            <a:r>
              <a:rPr lang="en-US" dirty="0"/>
              <a:t>CLICK TO INSERT IMAGE</a:t>
            </a:r>
          </a:p>
        </p:txBody>
      </p:sp>
      <p:sp>
        <p:nvSpPr>
          <p:cNvPr id="9" name="Right Triangle 8">
            <a:extLst>
              <a:ext uri="{FF2B5EF4-FFF2-40B4-BE49-F238E27FC236}">
                <a16:creationId xmlns:a16="http://schemas.microsoft.com/office/drawing/2014/main" id="{F9EFCD8C-ACB4-4F6D-8261-2493D33628A7}"/>
              </a:ext>
            </a:extLst>
          </p:cNvPr>
          <p:cNvSpPr/>
          <p:nvPr userDrawn="1"/>
        </p:nvSpPr>
        <p:spPr>
          <a:xfrm rot="16200000" flipH="1" flipV="1">
            <a:off x="2071941" y="2641415"/>
            <a:ext cx="6858001" cy="1575171"/>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
            <a:extLst>
              <a:ext uri="{FF2B5EF4-FFF2-40B4-BE49-F238E27FC236}">
                <a16:creationId xmlns:a16="http://schemas.microsoft.com/office/drawing/2014/main" id="{B96418C4-B832-4880-8986-EEAA2D4D84BA}"/>
              </a:ext>
            </a:extLst>
          </p:cNvPr>
          <p:cNvSpPr>
            <a:spLocks noGrp="1"/>
          </p:cNvSpPr>
          <p:nvPr userDrawn="1">
            <p:ph type="title" hasCustomPrompt="1"/>
          </p:nvPr>
        </p:nvSpPr>
        <p:spPr>
          <a:xfrm>
            <a:off x="493713" y="966651"/>
            <a:ext cx="4470173" cy="2035627"/>
          </a:xfrm>
          <a:prstGeom prst="rect">
            <a:avLst/>
          </a:prstGeom>
        </p:spPr>
        <p:txBody>
          <a:bodyPr lIns="0" anchor="b" anchorCtr="0"/>
          <a:lstStyle>
            <a:lvl1pPr>
              <a:defRPr sz="4400" baseline="0"/>
            </a:lvl1pPr>
          </a:lstStyle>
          <a:p>
            <a:r>
              <a:rPr lang="en-US" dirty="0"/>
              <a:t>Headline Goes Here, Roboto Light, 44 Points</a:t>
            </a:r>
          </a:p>
        </p:txBody>
      </p:sp>
      <p:sp>
        <p:nvSpPr>
          <p:cNvPr id="50" name="TextBox 49">
            <a:extLst>
              <a:ext uri="{FF2B5EF4-FFF2-40B4-BE49-F238E27FC236}">
                <a16:creationId xmlns:a16="http://schemas.microsoft.com/office/drawing/2014/main" id="{AF3D519E-FE9B-47BE-83A1-D01F8C7B4C47}"/>
              </a:ext>
            </a:extLst>
          </p:cNvPr>
          <p:cNvSpPr txBox="1"/>
          <p:nvPr userDrawn="1"/>
        </p:nvSpPr>
        <p:spPr>
          <a:xfrm>
            <a:off x="176868" y="6365106"/>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900" b="0" i="0" kern="1200" smtClean="0">
                <a:solidFill>
                  <a:schemeClr val="tx1"/>
                </a:solidFill>
                <a:latin typeface="Roboto" charset="0"/>
                <a:ea typeface="Roboto" charset="0"/>
                <a:cs typeface="Roboto" charset="0"/>
              </a:rPr>
              <a:pPr marL="0" lvl="0" algn="ctr" defTabSz="457200" rtl="0" eaLnBrk="1" latinLnBrk="0" hangingPunct="1"/>
              <a:t>‹#›</a:t>
            </a:fld>
            <a:endParaRPr lang="en-US" sz="900" b="0" i="0" kern="1200" dirty="0">
              <a:solidFill>
                <a:schemeClr val="tx1"/>
              </a:solidFill>
              <a:latin typeface="Roboto" charset="0"/>
              <a:ea typeface="Roboto" charset="0"/>
              <a:cs typeface="Roboto" charset="0"/>
            </a:endParaRPr>
          </a:p>
        </p:txBody>
      </p:sp>
      <p:sp>
        <p:nvSpPr>
          <p:cNvPr id="3" name="TextBox 2">
            <a:extLst>
              <a:ext uri="{FF2B5EF4-FFF2-40B4-BE49-F238E27FC236}">
                <a16:creationId xmlns:a16="http://schemas.microsoft.com/office/drawing/2014/main" id="{6B82BA0B-DA91-4B59-A1E3-F69FAF12F0B9}"/>
              </a:ext>
            </a:extLst>
          </p:cNvPr>
          <p:cNvSpPr txBox="1"/>
          <p:nvPr userDrawn="1"/>
        </p:nvSpPr>
        <p:spPr>
          <a:xfrm>
            <a:off x="1023708"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dirty="0">
                <a:solidFill>
                  <a:schemeClr val="tx1"/>
                </a:solidFill>
                <a:latin typeface="Roboto" charset="0"/>
                <a:ea typeface="Roboto" charset="0"/>
                <a:cs typeface="Roboto" charset="0"/>
              </a:rPr>
              <a:t>© Informatica. Proprietary and Confidential.</a:t>
            </a:r>
          </a:p>
        </p:txBody>
      </p:sp>
      <p:sp>
        <p:nvSpPr>
          <p:cNvPr id="6" name="Text Placeholder 5">
            <a:extLst>
              <a:ext uri="{FF2B5EF4-FFF2-40B4-BE49-F238E27FC236}">
                <a16:creationId xmlns:a16="http://schemas.microsoft.com/office/drawing/2014/main" id="{52CDB1D5-2903-4E27-BB41-9901A4E8A856}"/>
              </a:ext>
            </a:extLst>
          </p:cNvPr>
          <p:cNvSpPr>
            <a:spLocks noGrp="1"/>
          </p:cNvSpPr>
          <p:nvPr>
            <p:ph type="body" sz="quarter" idx="16" hasCustomPrompt="1"/>
          </p:nvPr>
        </p:nvSpPr>
        <p:spPr>
          <a:xfrm>
            <a:off x="493713" y="3437711"/>
            <a:ext cx="4310516" cy="1001713"/>
          </a:xfrm>
        </p:spPr>
        <p:txBody>
          <a:bodyPr/>
          <a:lstStyle>
            <a:lvl1pPr marL="0" indent="0">
              <a:buNone/>
              <a:defRPr sz="2400">
                <a:solidFill>
                  <a:schemeClr val="accent2"/>
                </a:solidFill>
                <a:latin typeface="+mj-lt"/>
              </a:defRPr>
            </a:lvl1pPr>
          </a:lstStyle>
          <a:p>
            <a:pPr lvl="0"/>
            <a:r>
              <a:rPr lang="en-US" dirty="0"/>
              <a:t>Secondary text here Roboto Light 24 points</a:t>
            </a:r>
          </a:p>
        </p:txBody>
      </p:sp>
      <p:sp>
        <p:nvSpPr>
          <p:cNvPr id="5" name="Freeform: Shape 4">
            <a:extLst>
              <a:ext uri="{FF2B5EF4-FFF2-40B4-BE49-F238E27FC236}">
                <a16:creationId xmlns:a16="http://schemas.microsoft.com/office/drawing/2014/main" id="{C1F13432-9382-4268-B077-FBF5145672BD}"/>
              </a:ext>
            </a:extLst>
          </p:cNvPr>
          <p:cNvSpPr/>
          <p:nvPr userDrawn="1"/>
        </p:nvSpPr>
        <p:spPr>
          <a:xfrm flipH="1">
            <a:off x="4530699" y="-5483"/>
            <a:ext cx="1775107" cy="6863483"/>
          </a:xfrm>
          <a:custGeom>
            <a:avLst/>
            <a:gdLst>
              <a:gd name="connsiteX0" fmla="*/ 256903 w 2595154"/>
              <a:gd name="connsiteY0" fmla="*/ 34834 h 6866708"/>
              <a:gd name="connsiteX1" fmla="*/ 2595154 w 2595154"/>
              <a:gd name="connsiteY1" fmla="*/ 6866708 h 6866708"/>
              <a:gd name="connsiteX2" fmla="*/ 0 w 2595154"/>
              <a:gd name="connsiteY2" fmla="*/ 0 h 6866708"/>
              <a:gd name="connsiteX3" fmla="*/ 256903 w 2595154"/>
              <a:gd name="connsiteY3" fmla="*/ 34834 h 6866708"/>
              <a:gd name="connsiteX0" fmla="*/ 256903 w 2817223"/>
              <a:gd name="connsiteY0" fmla="*/ 34834 h 6914606"/>
              <a:gd name="connsiteX1" fmla="*/ 2817223 w 2817223"/>
              <a:gd name="connsiteY1" fmla="*/ 6914606 h 6914606"/>
              <a:gd name="connsiteX2" fmla="*/ 0 w 2817223"/>
              <a:gd name="connsiteY2" fmla="*/ 0 h 6914606"/>
              <a:gd name="connsiteX3" fmla="*/ 256903 w 2817223"/>
              <a:gd name="connsiteY3" fmla="*/ 34834 h 6914606"/>
              <a:gd name="connsiteX0" fmla="*/ 0 w 2821577"/>
              <a:gd name="connsiteY0" fmla="*/ 0 h 6914606"/>
              <a:gd name="connsiteX1" fmla="*/ 2821577 w 2821577"/>
              <a:gd name="connsiteY1" fmla="*/ 6914606 h 6914606"/>
              <a:gd name="connsiteX2" fmla="*/ 4354 w 2821577"/>
              <a:gd name="connsiteY2" fmla="*/ 0 h 6914606"/>
              <a:gd name="connsiteX3" fmla="*/ 0 w 2821577"/>
              <a:gd name="connsiteY3" fmla="*/ 0 h 6914606"/>
              <a:gd name="connsiteX0" fmla="*/ 104503 w 2817223"/>
              <a:gd name="connsiteY0" fmla="*/ 0 h 6936377"/>
              <a:gd name="connsiteX1" fmla="*/ 2817223 w 2817223"/>
              <a:gd name="connsiteY1" fmla="*/ 6936377 h 6936377"/>
              <a:gd name="connsiteX2" fmla="*/ 0 w 2817223"/>
              <a:gd name="connsiteY2" fmla="*/ 21771 h 6936377"/>
              <a:gd name="connsiteX3" fmla="*/ 104503 w 2817223"/>
              <a:gd name="connsiteY3" fmla="*/ 0 h 6936377"/>
              <a:gd name="connsiteX0" fmla="*/ 104503 w 2817223"/>
              <a:gd name="connsiteY0" fmla="*/ 0 h 6936377"/>
              <a:gd name="connsiteX1" fmla="*/ 2817223 w 2817223"/>
              <a:gd name="connsiteY1" fmla="*/ 6936377 h 6936377"/>
              <a:gd name="connsiteX2" fmla="*/ 2394857 w 2817223"/>
              <a:gd name="connsiteY2" fmla="*/ 5900058 h 6936377"/>
              <a:gd name="connsiteX3" fmla="*/ 0 w 2817223"/>
              <a:gd name="connsiteY3" fmla="*/ 21771 h 6936377"/>
              <a:gd name="connsiteX4" fmla="*/ 104503 w 2817223"/>
              <a:gd name="connsiteY4" fmla="*/ 0 h 6936377"/>
              <a:gd name="connsiteX0" fmla="*/ 104503 w 2817223"/>
              <a:gd name="connsiteY0" fmla="*/ 0 h 6936378"/>
              <a:gd name="connsiteX1" fmla="*/ 2817223 w 2817223"/>
              <a:gd name="connsiteY1" fmla="*/ 6936377 h 6936378"/>
              <a:gd name="connsiteX2" fmla="*/ 2612571 w 2817223"/>
              <a:gd name="connsiteY2" fmla="*/ 6936378 h 6936378"/>
              <a:gd name="connsiteX3" fmla="*/ 0 w 2817223"/>
              <a:gd name="connsiteY3" fmla="*/ 21771 h 6936378"/>
              <a:gd name="connsiteX4" fmla="*/ 104503 w 2817223"/>
              <a:gd name="connsiteY4" fmla="*/ 0 h 6936378"/>
              <a:gd name="connsiteX0" fmla="*/ 8708 w 2817223"/>
              <a:gd name="connsiteY0" fmla="*/ 21772 h 6914607"/>
              <a:gd name="connsiteX1" fmla="*/ 2817223 w 2817223"/>
              <a:gd name="connsiteY1" fmla="*/ 6914606 h 6914607"/>
              <a:gd name="connsiteX2" fmla="*/ 2612571 w 2817223"/>
              <a:gd name="connsiteY2" fmla="*/ 6914607 h 6914607"/>
              <a:gd name="connsiteX3" fmla="*/ 0 w 2817223"/>
              <a:gd name="connsiteY3" fmla="*/ 0 h 6914607"/>
              <a:gd name="connsiteX4" fmla="*/ 8708 w 2817223"/>
              <a:gd name="connsiteY4" fmla="*/ 21772 h 6914607"/>
              <a:gd name="connsiteX0" fmla="*/ 8708 w 2751909"/>
              <a:gd name="connsiteY0" fmla="*/ 21772 h 6914607"/>
              <a:gd name="connsiteX1" fmla="*/ 2751909 w 2751909"/>
              <a:gd name="connsiteY1" fmla="*/ 6871063 h 6914607"/>
              <a:gd name="connsiteX2" fmla="*/ 2612571 w 2751909"/>
              <a:gd name="connsiteY2" fmla="*/ 6914607 h 6914607"/>
              <a:gd name="connsiteX3" fmla="*/ 0 w 2751909"/>
              <a:gd name="connsiteY3" fmla="*/ 0 h 6914607"/>
              <a:gd name="connsiteX4" fmla="*/ 8708 w 2751909"/>
              <a:gd name="connsiteY4" fmla="*/ 21772 h 6914607"/>
              <a:gd name="connsiteX0" fmla="*/ 8708 w 2751909"/>
              <a:gd name="connsiteY0" fmla="*/ 21772 h 6884127"/>
              <a:gd name="connsiteX1" fmla="*/ 2751909 w 2751909"/>
              <a:gd name="connsiteY1" fmla="*/ 6871063 h 6884127"/>
              <a:gd name="connsiteX2" fmla="*/ 2573382 w 2751909"/>
              <a:gd name="connsiteY2" fmla="*/ 6884127 h 6884127"/>
              <a:gd name="connsiteX3" fmla="*/ 0 w 2751909"/>
              <a:gd name="connsiteY3" fmla="*/ 0 h 6884127"/>
              <a:gd name="connsiteX4" fmla="*/ 8708 w 2751909"/>
              <a:gd name="connsiteY4" fmla="*/ 21772 h 6884127"/>
              <a:gd name="connsiteX0" fmla="*/ 8708 w 2786743"/>
              <a:gd name="connsiteY0" fmla="*/ 21772 h 6897189"/>
              <a:gd name="connsiteX1" fmla="*/ 2786743 w 2786743"/>
              <a:gd name="connsiteY1" fmla="*/ 6897189 h 6897189"/>
              <a:gd name="connsiteX2" fmla="*/ 2573382 w 2786743"/>
              <a:gd name="connsiteY2" fmla="*/ 6884127 h 6897189"/>
              <a:gd name="connsiteX3" fmla="*/ 0 w 2786743"/>
              <a:gd name="connsiteY3" fmla="*/ 0 h 6897189"/>
              <a:gd name="connsiteX4" fmla="*/ 8708 w 2786743"/>
              <a:gd name="connsiteY4" fmla="*/ 21772 h 6897189"/>
              <a:gd name="connsiteX0" fmla="*/ 8708 w 2791097"/>
              <a:gd name="connsiteY0" fmla="*/ 21772 h 6884127"/>
              <a:gd name="connsiteX1" fmla="*/ 2791097 w 2791097"/>
              <a:gd name="connsiteY1" fmla="*/ 6879772 h 6884127"/>
              <a:gd name="connsiteX2" fmla="*/ 2573382 w 2791097"/>
              <a:gd name="connsiteY2" fmla="*/ 6884127 h 6884127"/>
              <a:gd name="connsiteX3" fmla="*/ 0 w 2791097"/>
              <a:gd name="connsiteY3" fmla="*/ 0 h 6884127"/>
              <a:gd name="connsiteX4" fmla="*/ 8708 w 2791097"/>
              <a:gd name="connsiteY4" fmla="*/ 21772 h 6884127"/>
              <a:gd name="connsiteX0" fmla="*/ 8708 w 2764971"/>
              <a:gd name="connsiteY0" fmla="*/ 21772 h 6884127"/>
              <a:gd name="connsiteX1" fmla="*/ 2764971 w 2764971"/>
              <a:gd name="connsiteY1" fmla="*/ 6875418 h 6884127"/>
              <a:gd name="connsiteX2" fmla="*/ 2573382 w 2764971"/>
              <a:gd name="connsiteY2" fmla="*/ 6884127 h 6884127"/>
              <a:gd name="connsiteX3" fmla="*/ 0 w 2764971"/>
              <a:gd name="connsiteY3" fmla="*/ 0 h 6884127"/>
              <a:gd name="connsiteX4" fmla="*/ 8708 w 2764971"/>
              <a:gd name="connsiteY4" fmla="*/ 21772 h 6884127"/>
              <a:gd name="connsiteX0" fmla="*/ 8708 w 2764971"/>
              <a:gd name="connsiteY0" fmla="*/ 21772 h 6884127"/>
              <a:gd name="connsiteX1" fmla="*/ 2764971 w 2764971"/>
              <a:gd name="connsiteY1" fmla="*/ 6883558 h 6884127"/>
              <a:gd name="connsiteX2" fmla="*/ 2573382 w 2764971"/>
              <a:gd name="connsiteY2" fmla="*/ 6884127 h 6884127"/>
              <a:gd name="connsiteX3" fmla="*/ 0 w 2764971"/>
              <a:gd name="connsiteY3" fmla="*/ 0 h 6884127"/>
              <a:gd name="connsiteX4" fmla="*/ 8708 w 2764971"/>
              <a:gd name="connsiteY4" fmla="*/ 21772 h 6884127"/>
              <a:gd name="connsiteX0" fmla="*/ 8708 w 2764971"/>
              <a:gd name="connsiteY0" fmla="*/ 21772 h 6883558"/>
              <a:gd name="connsiteX1" fmla="*/ 2764971 w 2764971"/>
              <a:gd name="connsiteY1" fmla="*/ 6883558 h 6883558"/>
              <a:gd name="connsiteX2" fmla="*/ 2573382 w 2764971"/>
              <a:gd name="connsiteY2" fmla="*/ 6881413 h 6883558"/>
              <a:gd name="connsiteX3" fmla="*/ 0 w 2764971"/>
              <a:gd name="connsiteY3" fmla="*/ 0 h 6883558"/>
              <a:gd name="connsiteX4" fmla="*/ 8708 w 2764971"/>
              <a:gd name="connsiteY4" fmla="*/ 21772 h 6883558"/>
              <a:gd name="connsiteX0" fmla="*/ 229425 w 2764971"/>
              <a:gd name="connsiteY0" fmla="*/ 21772 h 6883558"/>
              <a:gd name="connsiteX1" fmla="*/ 2764971 w 2764971"/>
              <a:gd name="connsiteY1" fmla="*/ 6883558 h 6883558"/>
              <a:gd name="connsiteX2" fmla="*/ 2573382 w 2764971"/>
              <a:gd name="connsiteY2" fmla="*/ 6881413 h 6883558"/>
              <a:gd name="connsiteX3" fmla="*/ 0 w 2764971"/>
              <a:gd name="connsiteY3" fmla="*/ 0 h 6883558"/>
              <a:gd name="connsiteX4" fmla="*/ 229425 w 2764971"/>
              <a:gd name="connsiteY4" fmla="*/ 21772 h 6883558"/>
              <a:gd name="connsiteX0" fmla="*/ 229425 w 2764971"/>
              <a:gd name="connsiteY0" fmla="*/ 21772 h 6883558"/>
              <a:gd name="connsiteX1" fmla="*/ 2764971 w 2764971"/>
              <a:gd name="connsiteY1" fmla="*/ 6883558 h 6883558"/>
              <a:gd name="connsiteX2" fmla="*/ 2573382 w 2764971"/>
              <a:gd name="connsiteY2" fmla="*/ 6881413 h 6883558"/>
              <a:gd name="connsiteX3" fmla="*/ 0 w 2764971"/>
              <a:gd name="connsiteY3" fmla="*/ 0 h 6883558"/>
              <a:gd name="connsiteX4" fmla="*/ 229425 w 2764971"/>
              <a:gd name="connsiteY4" fmla="*/ 21772 h 6883558"/>
              <a:gd name="connsiteX0" fmla="*/ 990674 w 2764971"/>
              <a:gd name="connsiteY0" fmla="*/ 35285 h 6883558"/>
              <a:gd name="connsiteX1" fmla="*/ 2764971 w 2764971"/>
              <a:gd name="connsiteY1" fmla="*/ 6883558 h 6883558"/>
              <a:gd name="connsiteX2" fmla="*/ 2573382 w 2764971"/>
              <a:gd name="connsiteY2" fmla="*/ 6881413 h 6883558"/>
              <a:gd name="connsiteX3" fmla="*/ 0 w 2764971"/>
              <a:gd name="connsiteY3" fmla="*/ 0 h 6883558"/>
              <a:gd name="connsiteX4" fmla="*/ 990674 w 2764971"/>
              <a:gd name="connsiteY4" fmla="*/ 35285 h 6883558"/>
              <a:gd name="connsiteX0" fmla="*/ 990674 w 2764971"/>
              <a:gd name="connsiteY0" fmla="*/ 21771 h 6883558"/>
              <a:gd name="connsiteX1" fmla="*/ 2764971 w 2764971"/>
              <a:gd name="connsiteY1" fmla="*/ 6883558 h 6883558"/>
              <a:gd name="connsiteX2" fmla="*/ 2573382 w 2764971"/>
              <a:gd name="connsiteY2" fmla="*/ 6881413 h 6883558"/>
              <a:gd name="connsiteX3" fmla="*/ 0 w 2764971"/>
              <a:gd name="connsiteY3" fmla="*/ 0 h 6883558"/>
              <a:gd name="connsiteX4" fmla="*/ 990674 w 2764971"/>
              <a:gd name="connsiteY4" fmla="*/ 21771 h 6883558"/>
              <a:gd name="connsiteX0" fmla="*/ 4203 w 1778500"/>
              <a:gd name="connsiteY0" fmla="*/ 0 h 6861787"/>
              <a:gd name="connsiteX1" fmla="*/ 1778500 w 1778500"/>
              <a:gd name="connsiteY1" fmla="*/ 6861787 h 6861787"/>
              <a:gd name="connsiteX2" fmla="*/ 1586911 w 1778500"/>
              <a:gd name="connsiteY2" fmla="*/ 6859642 h 6861787"/>
              <a:gd name="connsiteX3" fmla="*/ 0 w 1778500"/>
              <a:gd name="connsiteY3" fmla="*/ 751 h 6861787"/>
              <a:gd name="connsiteX4" fmla="*/ 4203 w 1778500"/>
              <a:gd name="connsiteY4" fmla="*/ 0 h 6861787"/>
              <a:gd name="connsiteX0" fmla="*/ 9293 w 1778500"/>
              <a:gd name="connsiteY0" fmla="*/ 0 h 6863483"/>
              <a:gd name="connsiteX1" fmla="*/ 1778500 w 1778500"/>
              <a:gd name="connsiteY1" fmla="*/ 6863483 h 6863483"/>
              <a:gd name="connsiteX2" fmla="*/ 1586911 w 1778500"/>
              <a:gd name="connsiteY2" fmla="*/ 6861338 h 6863483"/>
              <a:gd name="connsiteX3" fmla="*/ 0 w 1778500"/>
              <a:gd name="connsiteY3" fmla="*/ 2447 h 6863483"/>
              <a:gd name="connsiteX4" fmla="*/ 9293 w 1778500"/>
              <a:gd name="connsiteY4" fmla="*/ 0 h 6863483"/>
              <a:gd name="connsiteX0" fmla="*/ 5900 w 1775107"/>
              <a:gd name="connsiteY0" fmla="*/ 0 h 6863483"/>
              <a:gd name="connsiteX1" fmla="*/ 1775107 w 1775107"/>
              <a:gd name="connsiteY1" fmla="*/ 6863483 h 6863483"/>
              <a:gd name="connsiteX2" fmla="*/ 1583518 w 1775107"/>
              <a:gd name="connsiteY2" fmla="*/ 6861338 h 6863483"/>
              <a:gd name="connsiteX3" fmla="*/ 0 w 1775107"/>
              <a:gd name="connsiteY3" fmla="*/ 4143 h 6863483"/>
              <a:gd name="connsiteX4" fmla="*/ 5900 w 1775107"/>
              <a:gd name="connsiteY4" fmla="*/ 0 h 6863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5107" h="6863483">
                <a:moveTo>
                  <a:pt x="5900" y="0"/>
                </a:moveTo>
                <a:lnTo>
                  <a:pt x="1775107" y="6863483"/>
                </a:lnTo>
                <a:lnTo>
                  <a:pt x="1583518" y="6861338"/>
                </a:lnTo>
                <a:lnTo>
                  <a:pt x="0" y="4143"/>
                </a:lnTo>
                <a:lnTo>
                  <a:pt x="590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algn="ctr"/>
            <a:endParaRPr lang="en-US">
              <a:latin typeface="Roboto" charset="0"/>
              <a:ea typeface="Roboto" charset="0"/>
              <a:cs typeface="Roboto" charset="0"/>
            </a:endParaRPr>
          </a:p>
        </p:txBody>
      </p:sp>
      <p:pic>
        <p:nvPicPr>
          <p:cNvPr id="11" name="Picture 10">
            <a:extLst>
              <a:ext uri="{FF2B5EF4-FFF2-40B4-BE49-F238E27FC236}">
                <a16:creationId xmlns:a16="http://schemas.microsoft.com/office/drawing/2014/main" id="{58FCA978-FA7D-F541-ABD6-1D00357DA744}"/>
              </a:ext>
            </a:extLst>
          </p:cNvPr>
          <p:cNvPicPr>
            <a:picLocks noChangeAspect="1"/>
          </p:cNvPicPr>
          <p:nvPr userDrawn="1"/>
        </p:nvPicPr>
        <p:blipFill>
          <a:blip r:embed="rId2"/>
          <a:stretch>
            <a:fillRect/>
          </a:stretch>
        </p:blipFill>
        <p:spPr>
          <a:xfrm>
            <a:off x="9743687" y="6098796"/>
            <a:ext cx="2040934" cy="699990"/>
          </a:xfrm>
          <a:prstGeom prst="rect">
            <a:avLst/>
          </a:prstGeom>
        </p:spPr>
      </p:pic>
    </p:spTree>
    <p:extLst>
      <p:ext uri="{BB962C8B-B14F-4D97-AF65-F5344CB8AC3E}">
        <p14:creationId xmlns:p14="http://schemas.microsoft.com/office/powerpoint/2010/main" val="1193641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7" presetClass="entr" presetSubtype="8"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p:cTn id="7" dur="500" fill="hold"/>
                                        <p:tgtEl>
                                          <p:spTgt spid="9"/>
                                        </p:tgtEl>
                                        <p:attrNameLst>
                                          <p:attrName>ppt_x</p:attrName>
                                        </p:attrNameLst>
                                      </p:cBhvr>
                                      <p:tavLst>
                                        <p:tav tm="0">
                                          <p:val>
                                            <p:strVal val="#ppt_x-#ppt_w/2"/>
                                          </p:val>
                                        </p:tav>
                                        <p:tav tm="100000">
                                          <p:val>
                                            <p:strVal val="#ppt_x"/>
                                          </p:val>
                                        </p:tav>
                                      </p:tavLst>
                                    </p:anim>
                                    <p:anim calcmode="lin" valueType="num">
                                      <p:cBhvr>
                                        <p:cTn id="8" dur="500" fill="hold"/>
                                        <p:tgtEl>
                                          <p:spTgt spid="9"/>
                                        </p:tgtEl>
                                        <p:attrNameLst>
                                          <p:attrName>ppt_y</p:attrName>
                                        </p:attrNameLst>
                                      </p:cBhvr>
                                      <p:tavLst>
                                        <p:tav tm="0">
                                          <p:val>
                                            <p:strVal val="#ppt_y"/>
                                          </p:val>
                                        </p:tav>
                                        <p:tav tm="100000">
                                          <p:val>
                                            <p:strVal val="#ppt_y"/>
                                          </p:val>
                                        </p:tav>
                                      </p:tavLst>
                                    </p:anim>
                                    <p:anim calcmode="lin" valueType="num">
                                      <p:cBhvr>
                                        <p:cTn id="9" dur="500" fill="hold"/>
                                        <p:tgtEl>
                                          <p:spTgt spid="9"/>
                                        </p:tgtEl>
                                        <p:attrNameLst>
                                          <p:attrName>ppt_w</p:attrName>
                                        </p:attrNameLst>
                                      </p:cBhvr>
                                      <p:tavLst>
                                        <p:tav tm="0">
                                          <p:val>
                                            <p:fltVal val="0"/>
                                          </p:val>
                                        </p:tav>
                                        <p:tav tm="100000">
                                          <p:val>
                                            <p:strVal val="#ppt_w"/>
                                          </p:val>
                                        </p:tav>
                                      </p:tavLst>
                                    </p:anim>
                                    <p:anim calcmode="lin" valueType="num">
                                      <p:cBhvr>
                                        <p:cTn id="10" dur="500" fill="hold"/>
                                        <p:tgtEl>
                                          <p:spTgt spid="9"/>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ull Bleed Image">
    <p:spTree>
      <p:nvGrpSpPr>
        <p:cNvPr id="1" name=""/>
        <p:cNvGrpSpPr/>
        <p:nvPr/>
      </p:nvGrpSpPr>
      <p:grpSpPr>
        <a:xfrm>
          <a:off x="0" y="0"/>
          <a:ext cx="0" cy="0"/>
          <a:chOff x="0" y="0"/>
          <a:chExt cx="0" cy="0"/>
        </a:xfrm>
      </p:grpSpPr>
      <p:sp>
        <p:nvSpPr>
          <p:cNvPr id="26" name="Picture Placeholder 6">
            <a:extLst>
              <a:ext uri="{FF2B5EF4-FFF2-40B4-BE49-F238E27FC236}">
                <a16:creationId xmlns:a16="http://schemas.microsoft.com/office/drawing/2014/main" id="{19139BE2-3955-4437-8BFB-427D8F682D2F}"/>
              </a:ext>
            </a:extLst>
          </p:cNvPr>
          <p:cNvSpPr>
            <a:spLocks noGrp="1"/>
          </p:cNvSpPr>
          <p:nvPr userDrawn="1">
            <p:ph type="pic" sz="quarter" idx="15" hasCustomPrompt="1"/>
          </p:nvPr>
        </p:nvSpPr>
        <p:spPr>
          <a:xfrm>
            <a:off x="0" y="-1"/>
            <a:ext cx="12188825" cy="6857999"/>
          </a:xfrm>
          <a:solidFill>
            <a:schemeClr val="bg1">
              <a:lumMod val="95000"/>
            </a:schemeClr>
          </a:solidFill>
        </p:spPr>
        <p:txBody>
          <a:bodyPr anchor="ctr"/>
          <a:lstStyle>
            <a:lvl1pPr marL="0" indent="0" algn="ctr">
              <a:buNone/>
              <a:defRPr/>
            </a:lvl1pPr>
          </a:lstStyle>
          <a:p>
            <a:r>
              <a:rPr lang="en-US" dirty="0"/>
              <a:t>CLICK TO INSERT IMAGE</a:t>
            </a:r>
          </a:p>
        </p:txBody>
      </p:sp>
    </p:spTree>
    <p:extLst>
      <p:ext uri="{BB962C8B-B14F-4D97-AF65-F5344CB8AC3E}">
        <p14:creationId xmlns:p14="http://schemas.microsoft.com/office/powerpoint/2010/main" val="3637175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Half Page Image/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F57E5D5-8925-412E-BADA-CA7ADA45FA91}"/>
              </a:ext>
            </a:extLst>
          </p:cNvPr>
          <p:cNvSpPr/>
          <p:nvPr userDrawn="1"/>
        </p:nvSpPr>
        <p:spPr>
          <a:xfrm>
            <a:off x="0" y="0"/>
            <a:ext cx="12188825" cy="247578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18" name="Title 1">
            <a:extLst>
              <a:ext uri="{FF2B5EF4-FFF2-40B4-BE49-F238E27FC236}">
                <a16:creationId xmlns:a16="http://schemas.microsoft.com/office/drawing/2014/main" id="{CBDDFDF1-D1E1-4776-83EE-4B5EDBC1937F}"/>
              </a:ext>
            </a:extLst>
          </p:cNvPr>
          <p:cNvSpPr>
            <a:spLocks noGrp="1"/>
          </p:cNvSpPr>
          <p:nvPr>
            <p:ph type="title" hasCustomPrompt="1"/>
          </p:nvPr>
        </p:nvSpPr>
        <p:spPr>
          <a:xfrm>
            <a:off x="488950" y="482602"/>
            <a:ext cx="11188701" cy="562427"/>
          </a:xfrm>
        </p:spPr>
        <p:txBody>
          <a:bodyPr/>
          <a:lstStyle>
            <a:lvl1pPr>
              <a:defRPr baseline="0">
                <a:solidFill>
                  <a:schemeClr val="bg1"/>
                </a:solidFill>
              </a:defRPr>
            </a:lvl1pPr>
          </a:lstStyle>
          <a:p>
            <a:r>
              <a:rPr lang="en-US" dirty="0"/>
              <a:t>Section presenter slide</a:t>
            </a:r>
          </a:p>
        </p:txBody>
      </p:sp>
      <p:sp>
        <p:nvSpPr>
          <p:cNvPr id="6" name="TextBox 5">
            <a:extLst>
              <a:ext uri="{FF2B5EF4-FFF2-40B4-BE49-F238E27FC236}">
                <a16:creationId xmlns:a16="http://schemas.microsoft.com/office/drawing/2014/main" id="{6686145C-2D46-4146-8BFF-996F3AF2528B}"/>
              </a:ext>
            </a:extLst>
          </p:cNvPr>
          <p:cNvSpPr txBox="1"/>
          <p:nvPr userDrawn="1"/>
        </p:nvSpPr>
        <p:spPr>
          <a:xfrm>
            <a:off x="176868" y="6365106"/>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900" b="0" i="0" kern="1200" smtClean="0">
                <a:solidFill>
                  <a:schemeClr val="tx1"/>
                </a:solidFill>
                <a:latin typeface="Roboto" charset="0"/>
                <a:ea typeface="Roboto" charset="0"/>
                <a:cs typeface="Roboto" charset="0"/>
              </a:rPr>
              <a:pPr marL="0" lvl="0" algn="ctr" defTabSz="457200" rtl="0" eaLnBrk="1" latinLnBrk="0" hangingPunct="1"/>
              <a:t>‹#›</a:t>
            </a:fld>
            <a:endParaRPr lang="en-US" sz="900" b="0" i="0" kern="1200" dirty="0">
              <a:solidFill>
                <a:schemeClr val="tx1"/>
              </a:solidFill>
              <a:latin typeface="Roboto" charset="0"/>
              <a:ea typeface="Roboto" charset="0"/>
              <a:cs typeface="Roboto" charset="0"/>
            </a:endParaRPr>
          </a:p>
        </p:txBody>
      </p:sp>
      <p:sp>
        <p:nvSpPr>
          <p:cNvPr id="7" name="TextBox 6">
            <a:extLst>
              <a:ext uri="{FF2B5EF4-FFF2-40B4-BE49-F238E27FC236}">
                <a16:creationId xmlns:a16="http://schemas.microsoft.com/office/drawing/2014/main" id="{3904C655-C917-4747-8508-09DE401517AD}"/>
              </a:ext>
            </a:extLst>
          </p:cNvPr>
          <p:cNvSpPr txBox="1"/>
          <p:nvPr userDrawn="1"/>
        </p:nvSpPr>
        <p:spPr>
          <a:xfrm>
            <a:off x="1023708"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dirty="0">
                <a:solidFill>
                  <a:schemeClr val="tx1"/>
                </a:solidFill>
                <a:latin typeface="Roboto" charset="0"/>
                <a:ea typeface="Roboto" charset="0"/>
                <a:cs typeface="Roboto" charset="0"/>
              </a:rPr>
              <a:t>© Informatica. Proprietary and Confidential.</a:t>
            </a:r>
          </a:p>
        </p:txBody>
      </p:sp>
      <p:sp>
        <p:nvSpPr>
          <p:cNvPr id="33" name="Diamond 32">
            <a:extLst>
              <a:ext uri="{FF2B5EF4-FFF2-40B4-BE49-F238E27FC236}">
                <a16:creationId xmlns:a16="http://schemas.microsoft.com/office/drawing/2014/main" id="{5E9E6714-E8DC-40C0-842D-3EF8C72C9E99}"/>
              </a:ext>
            </a:extLst>
          </p:cNvPr>
          <p:cNvSpPr/>
          <p:nvPr userDrawn="1"/>
        </p:nvSpPr>
        <p:spPr>
          <a:xfrm>
            <a:off x="1798380" y="1730618"/>
            <a:ext cx="2476500" cy="2476500"/>
          </a:xfrm>
          <a:prstGeom prst="diamond">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algn="ctr"/>
            <a:endParaRPr lang="en-US">
              <a:latin typeface="Roboto" charset="0"/>
              <a:ea typeface="Roboto" charset="0"/>
              <a:cs typeface="Roboto" charset="0"/>
            </a:endParaRPr>
          </a:p>
        </p:txBody>
      </p:sp>
      <p:sp>
        <p:nvSpPr>
          <p:cNvPr id="34" name="Diamond 33">
            <a:extLst>
              <a:ext uri="{FF2B5EF4-FFF2-40B4-BE49-F238E27FC236}">
                <a16:creationId xmlns:a16="http://schemas.microsoft.com/office/drawing/2014/main" id="{8D4CDCBD-52C8-4712-9E25-56C66D1684C7}"/>
              </a:ext>
            </a:extLst>
          </p:cNvPr>
          <p:cNvSpPr/>
          <p:nvPr userDrawn="1"/>
        </p:nvSpPr>
        <p:spPr>
          <a:xfrm>
            <a:off x="4868943" y="1730618"/>
            <a:ext cx="2476500" cy="2476500"/>
          </a:xfrm>
          <a:prstGeom prst="diamond">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algn="ctr"/>
            <a:endParaRPr lang="en-US">
              <a:latin typeface="Roboto" charset="0"/>
              <a:ea typeface="Roboto" charset="0"/>
              <a:cs typeface="Roboto" charset="0"/>
            </a:endParaRPr>
          </a:p>
        </p:txBody>
      </p:sp>
      <p:sp>
        <p:nvSpPr>
          <p:cNvPr id="35" name="Diamond 34">
            <a:extLst>
              <a:ext uri="{FF2B5EF4-FFF2-40B4-BE49-F238E27FC236}">
                <a16:creationId xmlns:a16="http://schemas.microsoft.com/office/drawing/2014/main" id="{47026073-FF05-439D-B9B7-58577BF91B8B}"/>
              </a:ext>
            </a:extLst>
          </p:cNvPr>
          <p:cNvSpPr/>
          <p:nvPr userDrawn="1"/>
        </p:nvSpPr>
        <p:spPr>
          <a:xfrm>
            <a:off x="7939506" y="1730618"/>
            <a:ext cx="2476500" cy="2476500"/>
          </a:xfrm>
          <a:prstGeom prst="diamond">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algn="ctr"/>
            <a:endParaRPr lang="en-US">
              <a:latin typeface="Roboto" charset="0"/>
              <a:ea typeface="Roboto" charset="0"/>
              <a:cs typeface="Roboto" charset="0"/>
            </a:endParaRPr>
          </a:p>
        </p:txBody>
      </p:sp>
      <p:sp>
        <p:nvSpPr>
          <p:cNvPr id="36" name="Picture Placeholder 6">
            <a:extLst>
              <a:ext uri="{FF2B5EF4-FFF2-40B4-BE49-F238E27FC236}">
                <a16:creationId xmlns:a16="http://schemas.microsoft.com/office/drawing/2014/main" id="{B65B4E1F-437F-474D-BD64-8F66F692BA3B}"/>
              </a:ext>
            </a:extLst>
          </p:cNvPr>
          <p:cNvSpPr>
            <a:spLocks noGrp="1"/>
          </p:cNvSpPr>
          <p:nvPr>
            <p:ph type="pic" sz="quarter" idx="15" hasCustomPrompt="1"/>
          </p:nvPr>
        </p:nvSpPr>
        <p:spPr>
          <a:xfrm>
            <a:off x="1807073" y="1575170"/>
            <a:ext cx="2459114" cy="2457450"/>
          </a:xfrm>
          <a:prstGeom prst="diamond">
            <a:avLst/>
          </a:prstGeom>
          <a:solidFill>
            <a:schemeClr val="bg1">
              <a:lumMod val="95000"/>
            </a:schemeClr>
          </a:solidFill>
          <a:ln w="38100">
            <a:solidFill>
              <a:schemeClr val="bg1"/>
            </a:solidFill>
          </a:ln>
        </p:spPr>
        <p:txBody>
          <a:bodyPr vert="horz" lIns="0" tIns="0" rIns="0" bIns="0" rtlCol="0" anchor="ctr">
            <a:noAutofit/>
          </a:bodyPr>
          <a:lstStyle>
            <a:lvl1pPr>
              <a:defRPr lang="en-US" dirty="0"/>
            </a:lvl1pPr>
          </a:lstStyle>
          <a:p>
            <a:pPr marL="0" lvl="0" indent="0" algn="ctr">
              <a:buNone/>
            </a:pPr>
            <a:r>
              <a:rPr lang="en-US" dirty="0"/>
              <a:t>CLICK TO INSERT IMAGE</a:t>
            </a:r>
          </a:p>
        </p:txBody>
      </p:sp>
      <p:sp>
        <p:nvSpPr>
          <p:cNvPr id="37" name="Picture Placeholder 6">
            <a:extLst>
              <a:ext uri="{FF2B5EF4-FFF2-40B4-BE49-F238E27FC236}">
                <a16:creationId xmlns:a16="http://schemas.microsoft.com/office/drawing/2014/main" id="{0CFF9858-D953-4461-9C79-93293119EE48}"/>
              </a:ext>
            </a:extLst>
          </p:cNvPr>
          <p:cNvSpPr>
            <a:spLocks noGrp="1"/>
          </p:cNvSpPr>
          <p:nvPr>
            <p:ph type="pic" sz="quarter" idx="16" hasCustomPrompt="1"/>
          </p:nvPr>
        </p:nvSpPr>
        <p:spPr>
          <a:xfrm>
            <a:off x="4877636" y="1575170"/>
            <a:ext cx="2459114" cy="2457450"/>
          </a:xfrm>
          <a:prstGeom prst="diamond">
            <a:avLst/>
          </a:prstGeom>
          <a:solidFill>
            <a:schemeClr val="bg1">
              <a:lumMod val="95000"/>
            </a:schemeClr>
          </a:solidFill>
          <a:ln w="38100">
            <a:solidFill>
              <a:schemeClr val="bg1"/>
            </a:solidFill>
          </a:ln>
        </p:spPr>
        <p:txBody>
          <a:bodyPr vert="horz" lIns="0" tIns="0" rIns="0" bIns="0" rtlCol="0" anchor="ctr">
            <a:noAutofit/>
          </a:bodyPr>
          <a:lstStyle>
            <a:lvl1pPr>
              <a:defRPr lang="en-US" dirty="0"/>
            </a:lvl1pPr>
          </a:lstStyle>
          <a:p>
            <a:pPr marL="0" lvl="0" indent="0" algn="ctr">
              <a:buNone/>
            </a:pPr>
            <a:r>
              <a:rPr lang="en-US" dirty="0"/>
              <a:t>CLICK TO INSERT IMAGE</a:t>
            </a:r>
          </a:p>
        </p:txBody>
      </p:sp>
      <p:sp>
        <p:nvSpPr>
          <p:cNvPr id="38" name="Picture Placeholder 6">
            <a:extLst>
              <a:ext uri="{FF2B5EF4-FFF2-40B4-BE49-F238E27FC236}">
                <a16:creationId xmlns:a16="http://schemas.microsoft.com/office/drawing/2014/main" id="{94BAA492-5BE4-4188-ACE1-45173504FB0B}"/>
              </a:ext>
            </a:extLst>
          </p:cNvPr>
          <p:cNvSpPr>
            <a:spLocks noGrp="1"/>
          </p:cNvSpPr>
          <p:nvPr>
            <p:ph type="pic" sz="quarter" idx="17" hasCustomPrompt="1"/>
          </p:nvPr>
        </p:nvSpPr>
        <p:spPr>
          <a:xfrm>
            <a:off x="7948199" y="1575170"/>
            <a:ext cx="2459114" cy="2457450"/>
          </a:xfrm>
          <a:prstGeom prst="diamond">
            <a:avLst/>
          </a:prstGeom>
          <a:solidFill>
            <a:schemeClr val="bg1">
              <a:lumMod val="95000"/>
            </a:schemeClr>
          </a:solidFill>
          <a:ln w="38100">
            <a:solidFill>
              <a:schemeClr val="bg1"/>
            </a:solidFill>
          </a:ln>
        </p:spPr>
        <p:txBody>
          <a:bodyPr vert="horz" lIns="0" tIns="0" rIns="0" bIns="0" rtlCol="0" anchor="ctr">
            <a:noAutofit/>
          </a:bodyPr>
          <a:lstStyle>
            <a:lvl1pPr>
              <a:defRPr lang="en-US" dirty="0"/>
            </a:lvl1pPr>
          </a:lstStyle>
          <a:p>
            <a:pPr marL="0" lvl="0" indent="0" algn="ctr">
              <a:buNone/>
            </a:pPr>
            <a:r>
              <a:rPr lang="en-US" dirty="0"/>
              <a:t>CLICK TO INSERT IMAGE</a:t>
            </a:r>
          </a:p>
        </p:txBody>
      </p:sp>
      <p:pic>
        <p:nvPicPr>
          <p:cNvPr id="19" name="Picture 18">
            <a:extLst>
              <a:ext uri="{FF2B5EF4-FFF2-40B4-BE49-F238E27FC236}">
                <a16:creationId xmlns:a16="http://schemas.microsoft.com/office/drawing/2014/main" id="{3725120E-2243-C34A-8501-AA02F4E0209B}"/>
              </a:ext>
            </a:extLst>
          </p:cNvPr>
          <p:cNvPicPr>
            <a:picLocks noChangeAspect="1"/>
          </p:cNvPicPr>
          <p:nvPr userDrawn="1"/>
        </p:nvPicPr>
        <p:blipFill>
          <a:blip r:embed="rId2"/>
          <a:stretch>
            <a:fillRect/>
          </a:stretch>
        </p:blipFill>
        <p:spPr>
          <a:xfrm>
            <a:off x="9743687" y="6098796"/>
            <a:ext cx="2040934" cy="699990"/>
          </a:xfrm>
          <a:prstGeom prst="rect">
            <a:avLst/>
          </a:prstGeom>
        </p:spPr>
      </p:pic>
      <p:sp>
        <p:nvSpPr>
          <p:cNvPr id="20" name="Text Placeholder 2">
            <a:extLst>
              <a:ext uri="{FF2B5EF4-FFF2-40B4-BE49-F238E27FC236}">
                <a16:creationId xmlns:a16="http://schemas.microsoft.com/office/drawing/2014/main" id="{23E5620E-EFBA-184B-A57C-A2AAEE888761}"/>
              </a:ext>
            </a:extLst>
          </p:cNvPr>
          <p:cNvSpPr>
            <a:spLocks noGrp="1"/>
          </p:cNvSpPr>
          <p:nvPr>
            <p:ph type="body" idx="1" hasCustomPrompt="1"/>
          </p:nvPr>
        </p:nvSpPr>
        <p:spPr>
          <a:xfrm>
            <a:off x="1700406" y="4375550"/>
            <a:ext cx="2689223" cy="436563"/>
          </a:xfrm>
          <a:prstGeom prst="rect">
            <a:avLst/>
          </a:prstGeom>
        </p:spPr>
        <p:txBody>
          <a:bodyPr anchor="t"/>
          <a:lstStyle>
            <a:lvl1pPr marL="0" indent="0" algn="ctr">
              <a:buNone/>
              <a:defRPr sz="1800" b="1" baseline="0">
                <a:solidFill>
                  <a:schemeClr val="accent5"/>
                </a:solidFill>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2" indent="0">
              <a:buNone/>
              <a:defRPr sz="1600" b="1"/>
            </a:lvl6pPr>
            <a:lvl7pPr marL="2742651" indent="0">
              <a:buNone/>
              <a:defRPr sz="1600" b="1"/>
            </a:lvl7pPr>
            <a:lvl8pPr marL="3199760" indent="0">
              <a:buNone/>
              <a:defRPr sz="1600" b="1"/>
            </a:lvl8pPr>
            <a:lvl9pPr marL="3656869" indent="0">
              <a:buNone/>
              <a:defRPr sz="1600" b="1"/>
            </a:lvl9pPr>
          </a:lstStyle>
          <a:p>
            <a:pPr lvl="0"/>
            <a:r>
              <a:rPr lang="en-US" dirty="0"/>
              <a:t>Speaker Name</a:t>
            </a:r>
          </a:p>
        </p:txBody>
      </p:sp>
      <p:sp>
        <p:nvSpPr>
          <p:cNvPr id="21" name="Text Placeholder 2">
            <a:extLst>
              <a:ext uri="{FF2B5EF4-FFF2-40B4-BE49-F238E27FC236}">
                <a16:creationId xmlns:a16="http://schemas.microsoft.com/office/drawing/2014/main" id="{30DFCD38-9ED2-C241-965A-052610C4E056}"/>
              </a:ext>
            </a:extLst>
          </p:cNvPr>
          <p:cNvSpPr>
            <a:spLocks noGrp="1"/>
          </p:cNvSpPr>
          <p:nvPr>
            <p:ph type="body" idx="27" hasCustomPrompt="1"/>
          </p:nvPr>
        </p:nvSpPr>
        <p:spPr>
          <a:xfrm>
            <a:off x="4776451" y="4375550"/>
            <a:ext cx="2689223" cy="436563"/>
          </a:xfrm>
          <a:prstGeom prst="rect">
            <a:avLst/>
          </a:prstGeom>
        </p:spPr>
        <p:txBody>
          <a:bodyPr anchor="t"/>
          <a:lstStyle>
            <a:lvl1pPr marL="0" indent="0" algn="ctr">
              <a:buNone/>
              <a:defRPr sz="1800" b="1" baseline="0">
                <a:solidFill>
                  <a:schemeClr val="accent5"/>
                </a:solidFill>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2" indent="0">
              <a:buNone/>
              <a:defRPr sz="1600" b="1"/>
            </a:lvl6pPr>
            <a:lvl7pPr marL="2742651" indent="0">
              <a:buNone/>
              <a:defRPr sz="1600" b="1"/>
            </a:lvl7pPr>
            <a:lvl8pPr marL="3199760" indent="0">
              <a:buNone/>
              <a:defRPr sz="1600" b="1"/>
            </a:lvl8pPr>
            <a:lvl9pPr marL="3656869" indent="0">
              <a:buNone/>
              <a:defRPr sz="1600" b="1"/>
            </a:lvl9pPr>
          </a:lstStyle>
          <a:p>
            <a:pPr lvl="0"/>
            <a:r>
              <a:rPr lang="en-US" dirty="0"/>
              <a:t>Speaker Name</a:t>
            </a:r>
          </a:p>
        </p:txBody>
      </p:sp>
      <p:sp>
        <p:nvSpPr>
          <p:cNvPr id="22" name="Text Placeholder 2">
            <a:extLst>
              <a:ext uri="{FF2B5EF4-FFF2-40B4-BE49-F238E27FC236}">
                <a16:creationId xmlns:a16="http://schemas.microsoft.com/office/drawing/2014/main" id="{DCECBE85-CFF9-984B-9784-2529016C91D3}"/>
              </a:ext>
            </a:extLst>
          </p:cNvPr>
          <p:cNvSpPr>
            <a:spLocks noGrp="1"/>
          </p:cNvSpPr>
          <p:nvPr>
            <p:ph type="body" idx="29" hasCustomPrompt="1"/>
          </p:nvPr>
        </p:nvSpPr>
        <p:spPr>
          <a:xfrm>
            <a:off x="7840316" y="4375550"/>
            <a:ext cx="2689223" cy="436563"/>
          </a:xfrm>
          <a:prstGeom prst="rect">
            <a:avLst/>
          </a:prstGeom>
        </p:spPr>
        <p:txBody>
          <a:bodyPr anchor="t"/>
          <a:lstStyle>
            <a:lvl1pPr marL="0" indent="0" algn="ctr">
              <a:buNone/>
              <a:defRPr sz="1800" b="1" baseline="0">
                <a:solidFill>
                  <a:schemeClr val="accent5"/>
                </a:solidFill>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2" indent="0">
              <a:buNone/>
              <a:defRPr sz="1600" b="1"/>
            </a:lvl6pPr>
            <a:lvl7pPr marL="2742651" indent="0">
              <a:buNone/>
              <a:defRPr sz="1600" b="1"/>
            </a:lvl7pPr>
            <a:lvl8pPr marL="3199760" indent="0">
              <a:buNone/>
              <a:defRPr sz="1600" b="1"/>
            </a:lvl8pPr>
            <a:lvl9pPr marL="3656869" indent="0">
              <a:buNone/>
              <a:defRPr sz="1600" b="1"/>
            </a:lvl9pPr>
          </a:lstStyle>
          <a:p>
            <a:pPr lvl="0"/>
            <a:r>
              <a:rPr lang="en-US" dirty="0"/>
              <a:t>Speaker Name</a:t>
            </a:r>
          </a:p>
        </p:txBody>
      </p:sp>
      <p:sp>
        <p:nvSpPr>
          <p:cNvPr id="23" name="Text Placeholder 3">
            <a:extLst>
              <a:ext uri="{FF2B5EF4-FFF2-40B4-BE49-F238E27FC236}">
                <a16:creationId xmlns:a16="http://schemas.microsoft.com/office/drawing/2014/main" id="{B08651FF-E5F1-B04D-A808-DB1A24CCB419}"/>
              </a:ext>
            </a:extLst>
          </p:cNvPr>
          <p:cNvSpPr>
            <a:spLocks noGrp="1"/>
          </p:cNvSpPr>
          <p:nvPr>
            <p:ph type="body" sz="quarter" idx="32"/>
          </p:nvPr>
        </p:nvSpPr>
        <p:spPr>
          <a:xfrm>
            <a:off x="1782161" y="4813475"/>
            <a:ext cx="2525712" cy="455613"/>
          </a:xfrm>
        </p:spPr>
        <p:txBody>
          <a:bodyPr/>
          <a:lstStyle>
            <a:lvl1pPr marL="0" indent="0" algn="ctr">
              <a:buNone/>
              <a:defRPr sz="1400"/>
            </a:lvl1pPr>
          </a:lstStyle>
          <a:p>
            <a:pPr lvl="0"/>
            <a:r>
              <a:rPr lang="en-US" dirty="0"/>
              <a:t>Click to edit Master text styles</a:t>
            </a:r>
          </a:p>
        </p:txBody>
      </p:sp>
      <p:sp>
        <p:nvSpPr>
          <p:cNvPr id="30" name="Text Placeholder 3">
            <a:extLst>
              <a:ext uri="{FF2B5EF4-FFF2-40B4-BE49-F238E27FC236}">
                <a16:creationId xmlns:a16="http://schemas.microsoft.com/office/drawing/2014/main" id="{9CE036A7-41B0-EA41-87A4-C1501D05E3ED}"/>
              </a:ext>
            </a:extLst>
          </p:cNvPr>
          <p:cNvSpPr>
            <a:spLocks noGrp="1"/>
          </p:cNvSpPr>
          <p:nvPr>
            <p:ph type="body" sz="quarter" idx="33"/>
          </p:nvPr>
        </p:nvSpPr>
        <p:spPr>
          <a:xfrm>
            <a:off x="4858206" y="4813475"/>
            <a:ext cx="2525712" cy="455613"/>
          </a:xfrm>
        </p:spPr>
        <p:txBody>
          <a:bodyPr/>
          <a:lstStyle>
            <a:lvl1pPr marL="0" indent="0" algn="ctr">
              <a:buNone/>
              <a:defRPr sz="1400"/>
            </a:lvl1pPr>
          </a:lstStyle>
          <a:p>
            <a:pPr lvl="0"/>
            <a:r>
              <a:rPr lang="en-US" dirty="0"/>
              <a:t>Click to edit Master text styles</a:t>
            </a:r>
          </a:p>
        </p:txBody>
      </p:sp>
      <p:sp>
        <p:nvSpPr>
          <p:cNvPr id="31" name="Text Placeholder 3">
            <a:extLst>
              <a:ext uri="{FF2B5EF4-FFF2-40B4-BE49-F238E27FC236}">
                <a16:creationId xmlns:a16="http://schemas.microsoft.com/office/drawing/2014/main" id="{A963ED0B-1946-A949-B4F9-D70B8AB996FF}"/>
              </a:ext>
            </a:extLst>
          </p:cNvPr>
          <p:cNvSpPr>
            <a:spLocks noGrp="1"/>
          </p:cNvSpPr>
          <p:nvPr>
            <p:ph type="body" sz="quarter" idx="34"/>
          </p:nvPr>
        </p:nvSpPr>
        <p:spPr>
          <a:xfrm>
            <a:off x="7922071" y="4813475"/>
            <a:ext cx="2525712" cy="455613"/>
          </a:xfrm>
        </p:spPr>
        <p:txBody>
          <a:bodyPr/>
          <a:lstStyle>
            <a:lvl1pPr marL="0" indent="0" algn="ctr">
              <a:buNone/>
              <a:defRPr sz="1400"/>
            </a:lvl1pPr>
          </a:lstStyle>
          <a:p>
            <a:pPr lvl="0"/>
            <a:r>
              <a:rPr lang="en-US" dirty="0"/>
              <a:t>Click to edit Master text styles</a:t>
            </a:r>
          </a:p>
        </p:txBody>
      </p:sp>
    </p:spTree>
    <p:extLst>
      <p:ext uri="{BB962C8B-B14F-4D97-AF65-F5344CB8AC3E}">
        <p14:creationId xmlns:p14="http://schemas.microsoft.com/office/powerpoint/2010/main" val="3366048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_Half Page Image/Conten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ACFF8FDF-427B-43D7-93E9-5555EEB60CE4}"/>
              </a:ext>
            </a:extLst>
          </p:cNvPr>
          <p:cNvSpPr/>
          <p:nvPr userDrawn="1"/>
        </p:nvSpPr>
        <p:spPr>
          <a:xfrm>
            <a:off x="0" y="0"/>
            <a:ext cx="12188825" cy="247578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18" name="Title 1">
            <a:extLst>
              <a:ext uri="{FF2B5EF4-FFF2-40B4-BE49-F238E27FC236}">
                <a16:creationId xmlns:a16="http://schemas.microsoft.com/office/drawing/2014/main" id="{CBDDFDF1-D1E1-4776-83EE-4B5EDBC1937F}"/>
              </a:ext>
            </a:extLst>
          </p:cNvPr>
          <p:cNvSpPr>
            <a:spLocks noGrp="1"/>
          </p:cNvSpPr>
          <p:nvPr>
            <p:ph type="title" hasCustomPrompt="1"/>
          </p:nvPr>
        </p:nvSpPr>
        <p:spPr>
          <a:xfrm>
            <a:off x="482474" y="482602"/>
            <a:ext cx="11195177" cy="562427"/>
          </a:xfrm>
        </p:spPr>
        <p:txBody>
          <a:bodyPr/>
          <a:lstStyle>
            <a:lvl1pPr>
              <a:defRPr baseline="0">
                <a:solidFill>
                  <a:schemeClr val="bg1"/>
                </a:solidFill>
              </a:defRPr>
            </a:lvl1pPr>
          </a:lstStyle>
          <a:p>
            <a:r>
              <a:rPr lang="en-US" dirty="0"/>
              <a:t>Headline goes here, Roboto Light, 36 points, 1 Line</a:t>
            </a:r>
          </a:p>
        </p:txBody>
      </p:sp>
      <p:sp>
        <p:nvSpPr>
          <p:cNvPr id="30" name="Text Placeholder 2">
            <a:extLst>
              <a:ext uri="{FF2B5EF4-FFF2-40B4-BE49-F238E27FC236}">
                <a16:creationId xmlns:a16="http://schemas.microsoft.com/office/drawing/2014/main" id="{3E1385BD-4611-4DDF-83EB-8080DA2EF844}"/>
              </a:ext>
            </a:extLst>
          </p:cNvPr>
          <p:cNvSpPr>
            <a:spLocks noGrp="1"/>
          </p:cNvSpPr>
          <p:nvPr>
            <p:ph type="body" idx="1" hasCustomPrompt="1"/>
          </p:nvPr>
        </p:nvSpPr>
        <p:spPr>
          <a:xfrm>
            <a:off x="511176" y="4375550"/>
            <a:ext cx="2689223" cy="436563"/>
          </a:xfrm>
          <a:prstGeom prst="rect">
            <a:avLst/>
          </a:prstGeom>
        </p:spPr>
        <p:txBody>
          <a:bodyPr anchor="t"/>
          <a:lstStyle>
            <a:lvl1pPr marL="0" indent="0" algn="ctr">
              <a:buNone/>
              <a:defRPr sz="1800" b="1" baseline="0">
                <a:solidFill>
                  <a:schemeClr val="accent5"/>
                </a:solidFill>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2" indent="0">
              <a:buNone/>
              <a:defRPr sz="1600" b="1"/>
            </a:lvl6pPr>
            <a:lvl7pPr marL="2742651" indent="0">
              <a:buNone/>
              <a:defRPr sz="1600" b="1"/>
            </a:lvl7pPr>
            <a:lvl8pPr marL="3199760" indent="0">
              <a:buNone/>
              <a:defRPr sz="1600" b="1"/>
            </a:lvl8pPr>
            <a:lvl9pPr marL="3656869" indent="0">
              <a:buNone/>
              <a:defRPr sz="1600" b="1"/>
            </a:lvl9pPr>
          </a:lstStyle>
          <a:p>
            <a:pPr lvl="0"/>
            <a:r>
              <a:rPr lang="en-US" dirty="0"/>
              <a:t>Speaker Name</a:t>
            </a:r>
          </a:p>
        </p:txBody>
      </p:sp>
      <p:sp>
        <p:nvSpPr>
          <p:cNvPr id="32" name="Text Placeholder 2">
            <a:extLst>
              <a:ext uri="{FF2B5EF4-FFF2-40B4-BE49-F238E27FC236}">
                <a16:creationId xmlns:a16="http://schemas.microsoft.com/office/drawing/2014/main" id="{03D036BC-CEE4-495F-AE6C-C29B6F739424}"/>
              </a:ext>
            </a:extLst>
          </p:cNvPr>
          <p:cNvSpPr>
            <a:spLocks noGrp="1"/>
          </p:cNvSpPr>
          <p:nvPr>
            <p:ph type="body" idx="27" hasCustomPrompt="1"/>
          </p:nvPr>
        </p:nvSpPr>
        <p:spPr>
          <a:xfrm>
            <a:off x="3358621" y="4375550"/>
            <a:ext cx="2689223" cy="436563"/>
          </a:xfrm>
          <a:prstGeom prst="rect">
            <a:avLst/>
          </a:prstGeom>
        </p:spPr>
        <p:txBody>
          <a:bodyPr anchor="t"/>
          <a:lstStyle>
            <a:lvl1pPr marL="0" indent="0" algn="ctr">
              <a:buNone/>
              <a:defRPr sz="1800" b="1" baseline="0">
                <a:solidFill>
                  <a:schemeClr val="accent5"/>
                </a:solidFill>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2" indent="0">
              <a:buNone/>
              <a:defRPr sz="1600" b="1"/>
            </a:lvl6pPr>
            <a:lvl7pPr marL="2742651" indent="0">
              <a:buNone/>
              <a:defRPr sz="1600" b="1"/>
            </a:lvl7pPr>
            <a:lvl8pPr marL="3199760" indent="0">
              <a:buNone/>
              <a:defRPr sz="1600" b="1"/>
            </a:lvl8pPr>
            <a:lvl9pPr marL="3656869" indent="0">
              <a:buNone/>
              <a:defRPr sz="1600" b="1"/>
            </a:lvl9pPr>
          </a:lstStyle>
          <a:p>
            <a:pPr lvl="0"/>
            <a:r>
              <a:rPr lang="en-US" dirty="0"/>
              <a:t>Speaker Name</a:t>
            </a:r>
          </a:p>
        </p:txBody>
      </p:sp>
      <p:sp>
        <p:nvSpPr>
          <p:cNvPr id="34" name="Text Placeholder 2">
            <a:extLst>
              <a:ext uri="{FF2B5EF4-FFF2-40B4-BE49-F238E27FC236}">
                <a16:creationId xmlns:a16="http://schemas.microsoft.com/office/drawing/2014/main" id="{757CB0E2-FCEE-450F-B0DA-30CC0796EAD5}"/>
              </a:ext>
            </a:extLst>
          </p:cNvPr>
          <p:cNvSpPr>
            <a:spLocks noGrp="1"/>
          </p:cNvSpPr>
          <p:nvPr>
            <p:ph type="body" idx="29" hasCustomPrompt="1"/>
          </p:nvPr>
        </p:nvSpPr>
        <p:spPr>
          <a:xfrm>
            <a:off x="6171142" y="4375550"/>
            <a:ext cx="2689223" cy="436563"/>
          </a:xfrm>
          <a:prstGeom prst="rect">
            <a:avLst/>
          </a:prstGeom>
        </p:spPr>
        <p:txBody>
          <a:bodyPr anchor="t"/>
          <a:lstStyle>
            <a:lvl1pPr marL="0" indent="0" algn="ctr">
              <a:buNone/>
              <a:defRPr sz="1800" b="1" baseline="0">
                <a:solidFill>
                  <a:schemeClr val="accent5"/>
                </a:solidFill>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2" indent="0">
              <a:buNone/>
              <a:defRPr sz="1600" b="1"/>
            </a:lvl6pPr>
            <a:lvl7pPr marL="2742651" indent="0">
              <a:buNone/>
              <a:defRPr sz="1600" b="1"/>
            </a:lvl7pPr>
            <a:lvl8pPr marL="3199760" indent="0">
              <a:buNone/>
              <a:defRPr sz="1600" b="1"/>
            </a:lvl8pPr>
            <a:lvl9pPr marL="3656869" indent="0">
              <a:buNone/>
              <a:defRPr sz="1600" b="1"/>
            </a:lvl9pPr>
          </a:lstStyle>
          <a:p>
            <a:pPr lvl="0"/>
            <a:r>
              <a:rPr lang="en-US" dirty="0"/>
              <a:t>Speaker Name</a:t>
            </a:r>
          </a:p>
        </p:txBody>
      </p:sp>
      <p:sp>
        <p:nvSpPr>
          <p:cNvPr id="36" name="Text Placeholder 2">
            <a:extLst>
              <a:ext uri="{FF2B5EF4-FFF2-40B4-BE49-F238E27FC236}">
                <a16:creationId xmlns:a16="http://schemas.microsoft.com/office/drawing/2014/main" id="{830DD2DF-C1D0-4FBC-ADD8-537E1C9565EC}"/>
              </a:ext>
            </a:extLst>
          </p:cNvPr>
          <p:cNvSpPr>
            <a:spLocks noGrp="1"/>
          </p:cNvSpPr>
          <p:nvPr>
            <p:ph type="body" idx="31" hasCustomPrompt="1"/>
          </p:nvPr>
        </p:nvSpPr>
        <p:spPr>
          <a:xfrm>
            <a:off x="9018588" y="4375550"/>
            <a:ext cx="2689223" cy="436563"/>
          </a:xfrm>
          <a:prstGeom prst="rect">
            <a:avLst/>
          </a:prstGeom>
        </p:spPr>
        <p:txBody>
          <a:bodyPr anchor="t"/>
          <a:lstStyle>
            <a:lvl1pPr marL="0" indent="0" algn="ctr">
              <a:buNone/>
              <a:defRPr sz="1800" b="1" baseline="0">
                <a:solidFill>
                  <a:schemeClr val="accent5"/>
                </a:solidFill>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2" indent="0">
              <a:buNone/>
              <a:defRPr sz="1600" b="1"/>
            </a:lvl6pPr>
            <a:lvl7pPr marL="2742651" indent="0">
              <a:buNone/>
              <a:defRPr sz="1600" b="1"/>
            </a:lvl7pPr>
            <a:lvl8pPr marL="3199760" indent="0">
              <a:buNone/>
              <a:defRPr sz="1600" b="1"/>
            </a:lvl8pPr>
            <a:lvl9pPr marL="3656869" indent="0">
              <a:buNone/>
              <a:defRPr sz="1600" b="1"/>
            </a:lvl9pPr>
          </a:lstStyle>
          <a:p>
            <a:pPr lvl="0"/>
            <a:r>
              <a:rPr lang="en-US" dirty="0"/>
              <a:t>Speaker Name</a:t>
            </a:r>
          </a:p>
        </p:txBody>
      </p:sp>
      <p:sp>
        <p:nvSpPr>
          <p:cNvPr id="3" name="TextBox 2">
            <a:extLst>
              <a:ext uri="{FF2B5EF4-FFF2-40B4-BE49-F238E27FC236}">
                <a16:creationId xmlns:a16="http://schemas.microsoft.com/office/drawing/2014/main" id="{7B11AFCC-3DEC-44DA-BBA3-63E62C5A8378}"/>
              </a:ext>
            </a:extLst>
          </p:cNvPr>
          <p:cNvSpPr txBox="1"/>
          <p:nvPr userDrawn="1"/>
        </p:nvSpPr>
        <p:spPr>
          <a:xfrm>
            <a:off x="176868" y="6365106"/>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900" b="0" i="0" kern="1200" smtClean="0">
                <a:solidFill>
                  <a:schemeClr val="tx1"/>
                </a:solidFill>
                <a:latin typeface="Roboto" charset="0"/>
                <a:ea typeface="Roboto" charset="0"/>
                <a:cs typeface="Roboto" charset="0"/>
              </a:rPr>
              <a:pPr marL="0" lvl="0" algn="ctr" defTabSz="457200" rtl="0" eaLnBrk="1" latinLnBrk="0" hangingPunct="1"/>
              <a:t>‹#›</a:t>
            </a:fld>
            <a:endParaRPr lang="en-US" sz="900" b="0" i="0" kern="1200" dirty="0">
              <a:solidFill>
                <a:schemeClr val="tx1"/>
              </a:solidFill>
              <a:latin typeface="Roboto" charset="0"/>
              <a:ea typeface="Roboto" charset="0"/>
              <a:cs typeface="Roboto" charset="0"/>
            </a:endParaRPr>
          </a:p>
        </p:txBody>
      </p:sp>
      <p:sp>
        <p:nvSpPr>
          <p:cNvPr id="5" name="TextBox 4">
            <a:extLst>
              <a:ext uri="{FF2B5EF4-FFF2-40B4-BE49-F238E27FC236}">
                <a16:creationId xmlns:a16="http://schemas.microsoft.com/office/drawing/2014/main" id="{5B4BA14F-29EE-44C8-96C4-EA5364A92878}"/>
              </a:ext>
            </a:extLst>
          </p:cNvPr>
          <p:cNvSpPr txBox="1"/>
          <p:nvPr userDrawn="1"/>
        </p:nvSpPr>
        <p:spPr>
          <a:xfrm>
            <a:off x="1023708"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dirty="0">
                <a:solidFill>
                  <a:schemeClr val="tx1"/>
                </a:solidFill>
                <a:latin typeface="Roboto" charset="0"/>
                <a:ea typeface="Roboto" charset="0"/>
                <a:cs typeface="Roboto" charset="0"/>
              </a:rPr>
              <a:t>© Informatica. Proprietary and Confidential.</a:t>
            </a:r>
          </a:p>
        </p:txBody>
      </p:sp>
      <p:sp>
        <p:nvSpPr>
          <p:cNvPr id="41" name="Diamond 40">
            <a:extLst>
              <a:ext uri="{FF2B5EF4-FFF2-40B4-BE49-F238E27FC236}">
                <a16:creationId xmlns:a16="http://schemas.microsoft.com/office/drawing/2014/main" id="{9BB43389-2664-45C1-AF47-F7DFD02A1FE7}"/>
              </a:ext>
            </a:extLst>
          </p:cNvPr>
          <p:cNvSpPr/>
          <p:nvPr userDrawn="1"/>
        </p:nvSpPr>
        <p:spPr>
          <a:xfrm>
            <a:off x="569655" y="1730618"/>
            <a:ext cx="2476500" cy="2476500"/>
          </a:xfrm>
          <a:prstGeom prst="diamond">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algn="ctr"/>
            <a:endParaRPr lang="en-US">
              <a:latin typeface="Roboto" charset="0"/>
              <a:ea typeface="Roboto" charset="0"/>
              <a:cs typeface="Roboto" charset="0"/>
            </a:endParaRPr>
          </a:p>
        </p:txBody>
      </p:sp>
      <p:sp>
        <p:nvSpPr>
          <p:cNvPr id="42" name="Diamond 41">
            <a:extLst>
              <a:ext uri="{FF2B5EF4-FFF2-40B4-BE49-F238E27FC236}">
                <a16:creationId xmlns:a16="http://schemas.microsoft.com/office/drawing/2014/main" id="{F71DF751-DB19-49BF-82B9-9D3811E70499}"/>
              </a:ext>
            </a:extLst>
          </p:cNvPr>
          <p:cNvSpPr/>
          <p:nvPr userDrawn="1"/>
        </p:nvSpPr>
        <p:spPr>
          <a:xfrm>
            <a:off x="3449718" y="1730618"/>
            <a:ext cx="2476500" cy="2476500"/>
          </a:xfrm>
          <a:prstGeom prst="diamond">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algn="ctr"/>
            <a:endParaRPr lang="en-US">
              <a:latin typeface="Roboto" charset="0"/>
              <a:ea typeface="Roboto" charset="0"/>
              <a:cs typeface="Roboto" charset="0"/>
            </a:endParaRPr>
          </a:p>
        </p:txBody>
      </p:sp>
      <p:sp>
        <p:nvSpPr>
          <p:cNvPr id="43" name="Diamond 42">
            <a:extLst>
              <a:ext uri="{FF2B5EF4-FFF2-40B4-BE49-F238E27FC236}">
                <a16:creationId xmlns:a16="http://schemas.microsoft.com/office/drawing/2014/main" id="{9100234D-7429-468F-B8D0-C7A799F01751}"/>
              </a:ext>
            </a:extLst>
          </p:cNvPr>
          <p:cNvSpPr/>
          <p:nvPr userDrawn="1"/>
        </p:nvSpPr>
        <p:spPr>
          <a:xfrm>
            <a:off x="6329781" y="1730618"/>
            <a:ext cx="2476500" cy="2476500"/>
          </a:xfrm>
          <a:prstGeom prst="diamond">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algn="ctr"/>
            <a:endParaRPr lang="en-US">
              <a:latin typeface="Roboto" charset="0"/>
              <a:ea typeface="Roboto" charset="0"/>
              <a:cs typeface="Roboto" charset="0"/>
            </a:endParaRPr>
          </a:p>
        </p:txBody>
      </p:sp>
      <p:sp>
        <p:nvSpPr>
          <p:cNvPr id="44" name="Diamond 43">
            <a:extLst>
              <a:ext uri="{FF2B5EF4-FFF2-40B4-BE49-F238E27FC236}">
                <a16:creationId xmlns:a16="http://schemas.microsoft.com/office/drawing/2014/main" id="{EAC1E49B-5970-449F-8CA8-BFA779615D17}"/>
              </a:ext>
            </a:extLst>
          </p:cNvPr>
          <p:cNvSpPr/>
          <p:nvPr userDrawn="1"/>
        </p:nvSpPr>
        <p:spPr>
          <a:xfrm>
            <a:off x="9209843" y="1730618"/>
            <a:ext cx="2476500" cy="2476500"/>
          </a:xfrm>
          <a:prstGeom prst="diamond">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algn="ctr"/>
            <a:endParaRPr lang="en-US">
              <a:latin typeface="Roboto" charset="0"/>
              <a:ea typeface="Roboto" charset="0"/>
              <a:cs typeface="Roboto" charset="0"/>
            </a:endParaRPr>
          </a:p>
        </p:txBody>
      </p:sp>
      <p:sp>
        <p:nvSpPr>
          <p:cNvPr id="45" name="Picture Placeholder 6">
            <a:extLst>
              <a:ext uri="{FF2B5EF4-FFF2-40B4-BE49-F238E27FC236}">
                <a16:creationId xmlns:a16="http://schemas.microsoft.com/office/drawing/2014/main" id="{EFB235B9-ED06-4FC0-A067-8CAD672904E0}"/>
              </a:ext>
            </a:extLst>
          </p:cNvPr>
          <p:cNvSpPr>
            <a:spLocks noGrp="1"/>
          </p:cNvSpPr>
          <p:nvPr>
            <p:ph type="pic" sz="quarter" idx="15" hasCustomPrompt="1"/>
          </p:nvPr>
        </p:nvSpPr>
        <p:spPr>
          <a:xfrm>
            <a:off x="578348" y="1575170"/>
            <a:ext cx="2459114" cy="2457450"/>
          </a:xfrm>
          <a:prstGeom prst="diamond">
            <a:avLst/>
          </a:prstGeom>
          <a:solidFill>
            <a:schemeClr val="bg1">
              <a:lumMod val="95000"/>
            </a:schemeClr>
          </a:solidFill>
          <a:ln w="38100">
            <a:solidFill>
              <a:schemeClr val="bg1"/>
            </a:solidFill>
          </a:ln>
        </p:spPr>
        <p:txBody>
          <a:bodyPr vert="horz" lIns="0" tIns="0" rIns="0" bIns="0" rtlCol="0" anchor="ctr">
            <a:noAutofit/>
          </a:bodyPr>
          <a:lstStyle>
            <a:lvl1pPr>
              <a:defRPr lang="en-US" dirty="0"/>
            </a:lvl1pPr>
          </a:lstStyle>
          <a:p>
            <a:pPr marL="0" lvl="0" indent="0" algn="ctr">
              <a:buNone/>
            </a:pPr>
            <a:r>
              <a:rPr lang="en-US" dirty="0"/>
              <a:t>CLICK TO INSERT IMAGE</a:t>
            </a:r>
          </a:p>
        </p:txBody>
      </p:sp>
      <p:sp>
        <p:nvSpPr>
          <p:cNvPr id="46" name="Picture Placeholder 6">
            <a:extLst>
              <a:ext uri="{FF2B5EF4-FFF2-40B4-BE49-F238E27FC236}">
                <a16:creationId xmlns:a16="http://schemas.microsoft.com/office/drawing/2014/main" id="{74CAA6C4-69C2-4DAE-A469-8B70A974C4DB}"/>
              </a:ext>
            </a:extLst>
          </p:cNvPr>
          <p:cNvSpPr>
            <a:spLocks noGrp="1"/>
          </p:cNvSpPr>
          <p:nvPr>
            <p:ph type="pic" sz="quarter" idx="16" hasCustomPrompt="1"/>
          </p:nvPr>
        </p:nvSpPr>
        <p:spPr>
          <a:xfrm>
            <a:off x="3458411" y="1575170"/>
            <a:ext cx="2459114" cy="2457450"/>
          </a:xfrm>
          <a:prstGeom prst="diamond">
            <a:avLst/>
          </a:prstGeom>
          <a:solidFill>
            <a:schemeClr val="bg1">
              <a:lumMod val="95000"/>
            </a:schemeClr>
          </a:solidFill>
          <a:ln w="38100">
            <a:solidFill>
              <a:schemeClr val="bg1"/>
            </a:solidFill>
          </a:ln>
        </p:spPr>
        <p:txBody>
          <a:bodyPr vert="horz" lIns="0" tIns="0" rIns="0" bIns="0" rtlCol="0" anchor="ctr">
            <a:noAutofit/>
          </a:bodyPr>
          <a:lstStyle>
            <a:lvl1pPr>
              <a:defRPr lang="en-US" dirty="0"/>
            </a:lvl1pPr>
          </a:lstStyle>
          <a:p>
            <a:pPr marL="0" lvl="0" indent="0" algn="ctr">
              <a:buNone/>
            </a:pPr>
            <a:r>
              <a:rPr lang="en-US" dirty="0"/>
              <a:t>CLICK TO INSERT IMAGE</a:t>
            </a:r>
          </a:p>
        </p:txBody>
      </p:sp>
      <p:sp>
        <p:nvSpPr>
          <p:cNvPr id="47" name="Picture Placeholder 6">
            <a:extLst>
              <a:ext uri="{FF2B5EF4-FFF2-40B4-BE49-F238E27FC236}">
                <a16:creationId xmlns:a16="http://schemas.microsoft.com/office/drawing/2014/main" id="{E72E645F-7424-44F7-8DBC-5F1CF09207F5}"/>
              </a:ext>
            </a:extLst>
          </p:cNvPr>
          <p:cNvSpPr>
            <a:spLocks noGrp="1"/>
          </p:cNvSpPr>
          <p:nvPr>
            <p:ph type="pic" sz="quarter" idx="17" hasCustomPrompt="1"/>
          </p:nvPr>
        </p:nvSpPr>
        <p:spPr>
          <a:xfrm>
            <a:off x="6338474" y="1575170"/>
            <a:ext cx="2459114" cy="2457450"/>
          </a:xfrm>
          <a:prstGeom prst="diamond">
            <a:avLst/>
          </a:prstGeom>
          <a:solidFill>
            <a:schemeClr val="bg1">
              <a:lumMod val="95000"/>
            </a:schemeClr>
          </a:solidFill>
          <a:ln w="38100">
            <a:solidFill>
              <a:schemeClr val="bg1"/>
            </a:solidFill>
          </a:ln>
        </p:spPr>
        <p:txBody>
          <a:bodyPr vert="horz" lIns="0" tIns="0" rIns="0" bIns="0" rtlCol="0" anchor="ctr">
            <a:noAutofit/>
          </a:bodyPr>
          <a:lstStyle>
            <a:lvl1pPr>
              <a:defRPr lang="en-US" dirty="0"/>
            </a:lvl1pPr>
          </a:lstStyle>
          <a:p>
            <a:pPr marL="0" lvl="0" indent="0" algn="ctr">
              <a:buNone/>
            </a:pPr>
            <a:r>
              <a:rPr lang="en-US" dirty="0"/>
              <a:t>CLICK TO INSERT IMAGE</a:t>
            </a:r>
          </a:p>
        </p:txBody>
      </p:sp>
      <p:sp>
        <p:nvSpPr>
          <p:cNvPr id="48" name="Picture Placeholder 6">
            <a:extLst>
              <a:ext uri="{FF2B5EF4-FFF2-40B4-BE49-F238E27FC236}">
                <a16:creationId xmlns:a16="http://schemas.microsoft.com/office/drawing/2014/main" id="{10EB90C5-05F1-4867-956F-4F3CBB186D72}"/>
              </a:ext>
            </a:extLst>
          </p:cNvPr>
          <p:cNvSpPr>
            <a:spLocks noGrp="1"/>
          </p:cNvSpPr>
          <p:nvPr>
            <p:ph type="pic" sz="quarter" idx="18" hasCustomPrompt="1"/>
          </p:nvPr>
        </p:nvSpPr>
        <p:spPr>
          <a:xfrm>
            <a:off x="9218536" y="1575170"/>
            <a:ext cx="2459114" cy="2457450"/>
          </a:xfrm>
          <a:prstGeom prst="diamond">
            <a:avLst/>
          </a:prstGeom>
          <a:solidFill>
            <a:schemeClr val="bg1">
              <a:lumMod val="95000"/>
            </a:schemeClr>
          </a:solidFill>
          <a:ln w="38100">
            <a:solidFill>
              <a:schemeClr val="bg1"/>
            </a:solidFill>
          </a:ln>
        </p:spPr>
        <p:txBody>
          <a:bodyPr vert="horz" lIns="0" tIns="0" rIns="0" bIns="0" rtlCol="0" anchor="ctr">
            <a:noAutofit/>
          </a:bodyPr>
          <a:lstStyle>
            <a:lvl1pPr>
              <a:defRPr lang="en-US" dirty="0"/>
            </a:lvl1pPr>
          </a:lstStyle>
          <a:p>
            <a:pPr marL="0" lvl="0" indent="0" algn="ctr">
              <a:buNone/>
            </a:pPr>
            <a:r>
              <a:rPr lang="en-US" dirty="0"/>
              <a:t>CLICK TO INSERT IMAGE</a:t>
            </a:r>
          </a:p>
        </p:txBody>
      </p:sp>
      <p:pic>
        <p:nvPicPr>
          <p:cNvPr id="23" name="Picture 22">
            <a:extLst>
              <a:ext uri="{FF2B5EF4-FFF2-40B4-BE49-F238E27FC236}">
                <a16:creationId xmlns:a16="http://schemas.microsoft.com/office/drawing/2014/main" id="{42522918-702E-D24B-A653-578056615D6F}"/>
              </a:ext>
            </a:extLst>
          </p:cNvPr>
          <p:cNvPicPr>
            <a:picLocks noChangeAspect="1"/>
          </p:cNvPicPr>
          <p:nvPr userDrawn="1"/>
        </p:nvPicPr>
        <p:blipFill>
          <a:blip r:embed="rId2"/>
          <a:stretch>
            <a:fillRect/>
          </a:stretch>
        </p:blipFill>
        <p:spPr>
          <a:xfrm>
            <a:off x="9743687" y="6098796"/>
            <a:ext cx="2040934" cy="699990"/>
          </a:xfrm>
          <a:prstGeom prst="rect">
            <a:avLst/>
          </a:prstGeom>
        </p:spPr>
      </p:pic>
      <p:sp>
        <p:nvSpPr>
          <p:cNvPr id="4" name="Text Placeholder 3">
            <a:extLst>
              <a:ext uri="{FF2B5EF4-FFF2-40B4-BE49-F238E27FC236}">
                <a16:creationId xmlns:a16="http://schemas.microsoft.com/office/drawing/2014/main" id="{E53F3CC6-283B-E248-B4C3-F09BE6ADA7F8}"/>
              </a:ext>
            </a:extLst>
          </p:cNvPr>
          <p:cNvSpPr>
            <a:spLocks noGrp="1"/>
          </p:cNvSpPr>
          <p:nvPr>
            <p:ph type="body" sz="quarter" idx="32"/>
          </p:nvPr>
        </p:nvSpPr>
        <p:spPr>
          <a:xfrm>
            <a:off x="592931" y="4813475"/>
            <a:ext cx="2525712" cy="455613"/>
          </a:xfrm>
        </p:spPr>
        <p:txBody>
          <a:bodyPr/>
          <a:lstStyle>
            <a:lvl1pPr marL="0" indent="0" algn="ctr">
              <a:buNone/>
              <a:defRPr sz="1400"/>
            </a:lvl1pPr>
          </a:lstStyle>
          <a:p>
            <a:pPr lvl="0"/>
            <a:r>
              <a:rPr lang="en-US" dirty="0"/>
              <a:t>Click to edit Master text styles</a:t>
            </a:r>
          </a:p>
        </p:txBody>
      </p:sp>
      <p:sp>
        <p:nvSpPr>
          <p:cNvPr id="25" name="Text Placeholder 3">
            <a:extLst>
              <a:ext uri="{FF2B5EF4-FFF2-40B4-BE49-F238E27FC236}">
                <a16:creationId xmlns:a16="http://schemas.microsoft.com/office/drawing/2014/main" id="{6CC357CD-D5B9-D447-83F4-503D4169ADB8}"/>
              </a:ext>
            </a:extLst>
          </p:cNvPr>
          <p:cNvSpPr>
            <a:spLocks noGrp="1"/>
          </p:cNvSpPr>
          <p:nvPr>
            <p:ph type="body" sz="quarter" idx="33"/>
          </p:nvPr>
        </p:nvSpPr>
        <p:spPr>
          <a:xfrm>
            <a:off x="3440376" y="4813475"/>
            <a:ext cx="2525712" cy="455613"/>
          </a:xfrm>
        </p:spPr>
        <p:txBody>
          <a:bodyPr/>
          <a:lstStyle>
            <a:lvl1pPr marL="0" indent="0" algn="ctr">
              <a:buNone/>
              <a:defRPr sz="1400"/>
            </a:lvl1pPr>
          </a:lstStyle>
          <a:p>
            <a:pPr lvl="0"/>
            <a:r>
              <a:rPr lang="en-US" dirty="0"/>
              <a:t>Click to edit Master text styles</a:t>
            </a:r>
          </a:p>
        </p:txBody>
      </p:sp>
      <p:sp>
        <p:nvSpPr>
          <p:cNvPr id="26" name="Text Placeholder 3">
            <a:extLst>
              <a:ext uri="{FF2B5EF4-FFF2-40B4-BE49-F238E27FC236}">
                <a16:creationId xmlns:a16="http://schemas.microsoft.com/office/drawing/2014/main" id="{E42C84A5-5836-6141-B51A-D2AD0D137DE7}"/>
              </a:ext>
            </a:extLst>
          </p:cNvPr>
          <p:cNvSpPr>
            <a:spLocks noGrp="1"/>
          </p:cNvSpPr>
          <p:nvPr>
            <p:ph type="body" sz="quarter" idx="34"/>
          </p:nvPr>
        </p:nvSpPr>
        <p:spPr>
          <a:xfrm>
            <a:off x="6252897" y="4813475"/>
            <a:ext cx="2525712" cy="455613"/>
          </a:xfrm>
        </p:spPr>
        <p:txBody>
          <a:bodyPr/>
          <a:lstStyle>
            <a:lvl1pPr marL="0" indent="0" algn="ctr">
              <a:buNone/>
              <a:defRPr sz="1400"/>
            </a:lvl1pPr>
          </a:lstStyle>
          <a:p>
            <a:pPr lvl="0"/>
            <a:r>
              <a:rPr lang="en-US" dirty="0"/>
              <a:t>Click to edit Master text styles</a:t>
            </a:r>
          </a:p>
        </p:txBody>
      </p:sp>
      <p:sp>
        <p:nvSpPr>
          <p:cNvPr id="27" name="Text Placeholder 3">
            <a:extLst>
              <a:ext uri="{FF2B5EF4-FFF2-40B4-BE49-F238E27FC236}">
                <a16:creationId xmlns:a16="http://schemas.microsoft.com/office/drawing/2014/main" id="{191F595E-1E2F-114A-86E2-CDBCEB8D58B3}"/>
              </a:ext>
            </a:extLst>
          </p:cNvPr>
          <p:cNvSpPr>
            <a:spLocks noGrp="1"/>
          </p:cNvSpPr>
          <p:nvPr>
            <p:ph type="body" sz="quarter" idx="35"/>
          </p:nvPr>
        </p:nvSpPr>
        <p:spPr>
          <a:xfrm>
            <a:off x="9100343" y="4813475"/>
            <a:ext cx="2525712" cy="455613"/>
          </a:xfrm>
        </p:spPr>
        <p:txBody>
          <a:bodyPr/>
          <a:lstStyle>
            <a:lvl1pPr marL="0" indent="0" algn="ctr">
              <a:buNone/>
              <a:defRPr sz="1400"/>
            </a:lvl1pPr>
          </a:lstStyle>
          <a:p>
            <a:pPr lvl="0"/>
            <a:r>
              <a:rPr lang="en-US" dirty="0"/>
              <a:t>Click to edit Master text styles</a:t>
            </a:r>
          </a:p>
        </p:txBody>
      </p:sp>
    </p:spTree>
    <p:extLst>
      <p:ext uri="{BB962C8B-B14F-4D97-AF65-F5344CB8AC3E}">
        <p14:creationId xmlns:p14="http://schemas.microsoft.com/office/powerpoint/2010/main" val="103416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_Orange Backgroun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AC38ECF-A1CC-43FD-9E95-4F7D1897BA7B}"/>
              </a:ext>
            </a:extLst>
          </p:cNvPr>
          <p:cNvSpPr txBox="1"/>
          <p:nvPr userDrawn="1"/>
        </p:nvSpPr>
        <p:spPr>
          <a:xfrm>
            <a:off x="176868" y="6365106"/>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900" b="0" i="0" kern="1200" smtClean="0">
                <a:solidFill>
                  <a:schemeClr val="bg1"/>
                </a:solidFill>
                <a:latin typeface="Roboto" charset="0"/>
                <a:ea typeface="Roboto" charset="0"/>
                <a:cs typeface="Roboto" charset="0"/>
              </a:rPr>
              <a:pPr marL="0" lvl="0" algn="ctr" defTabSz="457200" rtl="0" eaLnBrk="1" latinLnBrk="0" hangingPunct="1"/>
              <a:t>‹#›</a:t>
            </a:fld>
            <a:endParaRPr lang="en-US" sz="900" b="0" i="0" kern="1200" dirty="0">
              <a:solidFill>
                <a:schemeClr val="bg1"/>
              </a:solidFill>
              <a:latin typeface="Roboto" charset="0"/>
              <a:ea typeface="Roboto" charset="0"/>
              <a:cs typeface="Roboto" charset="0"/>
            </a:endParaRPr>
          </a:p>
        </p:txBody>
      </p:sp>
      <p:sp>
        <p:nvSpPr>
          <p:cNvPr id="6" name="TextBox 5">
            <a:extLst>
              <a:ext uri="{FF2B5EF4-FFF2-40B4-BE49-F238E27FC236}">
                <a16:creationId xmlns:a16="http://schemas.microsoft.com/office/drawing/2014/main" id="{52025EE9-C26E-4F56-B597-3021BADF9185}"/>
              </a:ext>
            </a:extLst>
          </p:cNvPr>
          <p:cNvSpPr txBox="1"/>
          <p:nvPr userDrawn="1"/>
        </p:nvSpPr>
        <p:spPr>
          <a:xfrm>
            <a:off x="1023708"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dirty="0">
                <a:solidFill>
                  <a:schemeClr val="bg1"/>
                </a:solidFill>
                <a:latin typeface="Roboto" charset="0"/>
                <a:ea typeface="Roboto" charset="0"/>
                <a:cs typeface="Roboto" charset="0"/>
              </a:rPr>
              <a:t>© Informatica. Proprietary and Confidential.</a:t>
            </a:r>
          </a:p>
        </p:txBody>
      </p:sp>
      <p:pic>
        <p:nvPicPr>
          <p:cNvPr id="11" name="Picture 10">
            <a:extLst>
              <a:ext uri="{FF2B5EF4-FFF2-40B4-BE49-F238E27FC236}">
                <a16:creationId xmlns:a16="http://schemas.microsoft.com/office/drawing/2014/main" id="{2F2F6A09-AFBB-CD41-8C8D-AEB39839ABA9}"/>
              </a:ext>
            </a:extLst>
          </p:cNvPr>
          <p:cNvPicPr>
            <a:picLocks noChangeAspect="1"/>
          </p:cNvPicPr>
          <p:nvPr userDrawn="1"/>
        </p:nvPicPr>
        <p:blipFill>
          <a:blip r:embed="rId3"/>
          <a:stretch>
            <a:fillRect/>
          </a:stretch>
        </p:blipFill>
        <p:spPr>
          <a:xfrm>
            <a:off x="9743687" y="6098796"/>
            <a:ext cx="2040934" cy="699990"/>
          </a:xfrm>
          <a:prstGeom prst="rect">
            <a:avLst/>
          </a:prstGeom>
        </p:spPr>
      </p:pic>
      <p:sp>
        <p:nvSpPr>
          <p:cNvPr id="14" name="Title 1">
            <a:extLst>
              <a:ext uri="{FF2B5EF4-FFF2-40B4-BE49-F238E27FC236}">
                <a16:creationId xmlns:a16="http://schemas.microsoft.com/office/drawing/2014/main" id="{CEF79A1A-A0BA-1B4C-92AB-10AC8EE0CB5D}"/>
              </a:ext>
            </a:extLst>
          </p:cNvPr>
          <p:cNvSpPr>
            <a:spLocks noGrp="1"/>
          </p:cNvSpPr>
          <p:nvPr>
            <p:ph type="title" hasCustomPrompt="1"/>
          </p:nvPr>
        </p:nvSpPr>
        <p:spPr>
          <a:xfrm>
            <a:off x="488950" y="482602"/>
            <a:ext cx="11188700" cy="562427"/>
          </a:xfrm>
          <a:prstGeom prst="rect">
            <a:avLst/>
          </a:prstGeom>
        </p:spPr>
        <p:txBody>
          <a:bodyPr lIns="0"/>
          <a:lstStyle>
            <a:lvl1pPr>
              <a:defRPr baseline="0">
                <a:solidFill>
                  <a:schemeClr val="bg1"/>
                </a:solidFill>
              </a:defRPr>
            </a:lvl1pPr>
          </a:lstStyle>
          <a:p>
            <a:r>
              <a:rPr lang="en-US" dirty="0"/>
              <a:t>Headline Goes Here, Roboto Light, 36 Points, 1 Line</a:t>
            </a:r>
          </a:p>
        </p:txBody>
      </p:sp>
      <p:sp>
        <p:nvSpPr>
          <p:cNvPr id="17" name="Text Placeholder 4">
            <a:extLst>
              <a:ext uri="{FF2B5EF4-FFF2-40B4-BE49-F238E27FC236}">
                <a16:creationId xmlns:a16="http://schemas.microsoft.com/office/drawing/2014/main" id="{109D23B0-15EF-584F-B99A-C22943ABBAD6}"/>
              </a:ext>
            </a:extLst>
          </p:cNvPr>
          <p:cNvSpPr>
            <a:spLocks noGrp="1"/>
          </p:cNvSpPr>
          <p:nvPr>
            <p:ph type="body" sz="quarter" idx="13" hasCustomPrompt="1"/>
          </p:nvPr>
        </p:nvSpPr>
        <p:spPr>
          <a:xfrm>
            <a:off x="488951" y="1043417"/>
            <a:ext cx="11193296" cy="331601"/>
          </a:xfrm>
        </p:spPr>
        <p:txBody>
          <a:bodyPr anchor="t"/>
          <a:lstStyle>
            <a:lvl1pPr marL="0" indent="0">
              <a:buNone/>
              <a:defRPr sz="2400" i="0">
                <a:solidFill>
                  <a:schemeClr val="bg1"/>
                </a:solidFill>
              </a:defRPr>
            </a:lvl1pPr>
            <a:lvl2pPr marL="169863" indent="0">
              <a:buNone/>
              <a:defRPr/>
            </a:lvl2pPr>
            <a:lvl3pPr marL="344487" indent="0">
              <a:buNone/>
              <a:defRPr/>
            </a:lvl3pPr>
            <a:lvl4pPr marL="458788" indent="0">
              <a:buNone/>
              <a:defRPr/>
            </a:lvl4pPr>
            <a:lvl5pPr marL="630237" indent="0">
              <a:buNone/>
              <a:defRPr/>
            </a:lvl5pPr>
          </a:lstStyle>
          <a:p>
            <a:pPr lvl="0"/>
            <a:r>
              <a:rPr lang="en-US" dirty="0"/>
              <a:t>Subtitle goes here, </a:t>
            </a:r>
            <a:r>
              <a:rPr lang="en-US" dirty="0" err="1"/>
              <a:t>Roboto</a:t>
            </a:r>
            <a:r>
              <a:rPr lang="en-US" dirty="0"/>
              <a:t> Regular 24 point, no longer than one line</a:t>
            </a:r>
          </a:p>
        </p:txBody>
      </p:sp>
    </p:spTree>
    <p:extLst>
      <p:ext uri="{BB962C8B-B14F-4D97-AF65-F5344CB8AC3E}">
        <p14:creationId xmlns:p14="http://schemas.microsoft.com/office/powerpoint/2010/main" val="2367727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_Subtitle_Orange background_No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AC38ECF-A1CC-43FD-9E95-4F7D1897BA7B}"/>
              </a:ext>
            </a:extLst>
          </p:cNvPr>
          <p:cNvSpPr txBox="1"/>
          <p:nvPr userDrawn="1"/>
        </p:nvSpPr>
        <p:spPr>
          <a:xfrm>
            <a:off x="176868" y="6365106"/>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900" b="0" i="0" kern="1200" smtClean="0">
                <a:solidFill>
                  <a:schemeClr val="bg1"/>
                </a:solidFill>
                <a:latin typeface="Roboto" charset="0"/>
                <a:ea typeface="Roboto" charset="0"/>
                <a:cs typeface="Roboto" charset="0"/>
              </a:rPr>
              <a:pPr marL="0" lvl="0" algn="ctr" defTabSz="457200" rtl="0" eaLnBrk="1" latinLnBrk="0" hangingPunct="1"/>
              <a:t>‹#›</a:t>
            </a:fld>
            <a:endParaRPr lang="en-US" sz="900" b="0" i="0" kern="1200" dirty="0">
              <a:solidFill>
                <a:schemeClr val="bg1"/>
              </a:solidFill>
              <a:latin typeface="Roboto" charset="0"/>
              <a:ea typeface="Roboto" charset="0"/>
              <a:cs typeface="Roboto" charset="0"/>
            </a:endParaRPr>
          </a:p>
        </p:txBody>
      </p:sp>
      <p:sp>
        <p:nvSpPr>
          <p:cNvPr id="6" name="TextBox 5">
            <a:extLst>
              <a:ext uri="{FF2B5EF4-FFF2-40B4-BE49-F238E27FC236}">
                <a16:creationId xmlns:a16="http://schemas.microsoft.com/office/drawing/2014/main" id="{52025EE9-C26E-4F56-B597-3021BADF9185}"/>
              </a:ext>
            </a:extLst>
          </p:cNvPr>
          <p:cNvSpPr txBox="1"/>
          <p:nvPr userDrawn="1"/>
        </p:nvSpPr>
        <p:spPr>
          <a:xfrm>
            <a:off x="1023708"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dirty="0">
                <a:solidFill>
                  <a:schemeClr val="bg1"/>
                </a:solidFill>
                <a:latin typeface="Roboto" charset="0"/>
                <a:ea typeface="Roboto" charset="0"/>
                <a:cs typeface="Roboto" charset="0"/>
              </a:rPr>
              <a:t>© Informatica. Proprietary and Confidential.</a:t>
            </a:r>
          </a:p>
        </p:txBody>
      </p:sp>
      <p:sp>
        <p:nvSpPr>
          <p:cNvPr id="9" name="Title 1">
            <a:extLst>
              <a:ext uri="{FF2B5EF4-FFF2-40B4-BE49-F238E27FC236}">
                <a16:creationId xmlns:a16="http://schemas.microsoft.com/office/drawing/2014/main" id="{4C80B597-CD1A-504B-B496-AB61CF798FC8}"/>
              </a:ext>
            </a:extLst>
          </p:cNvPr>
          <p:cNvSpPr>
            <a:spLocks noGrp="1"/>
          </p:cNvSpPr>
          <p:nvPr>
            <p:ph type="title" hasCustomPrompt="1"/>
          </p:nvPr>
        </p:nvSpPr>
        <p:spPr>
          <a:xfrm>
            <a:off x="488950" y="482602"/>
            <a:ext cx="11188700" cy="562427"/>
          </a:xfrm>
          <a:prstGeom prst="rect">
            <a:avLst/>
          </a:prstGeom>
        </p:spPr>
        <p:txBody>
          <a:bodyPr lIns="0"/>
          <a:lstStyle>
            <a:lvl1pPr>
              <a:defRPr baseline="0">
                <a:solidFill>
                  <a:schemeClr val="bg1"/>
                </a:solidFill>
              </a:defRPr>
            </a:lvl1pPr>
          </a:lstStyle>
          <a:p>
            <a:r>
              <a:rPr lang="en-US" dirty="0"/>
              <a:t>Headline Goes Here, Roboto Light, 36 Points, 1 Line</a:t>
            </a:r>
          </a:p>
        </p:txBody>
      </p:sp>
      <p:sp>
        <p:nvSpPr>
          <p:cNvPr id="13" name="Text Placeholder 4">
            <a:extLst>
              <a:ext uri="{FF2B5EF4-FFF2-40B4-BE49-F238E27FC236}">
                <a16:creationId xmlns:a16="http://schemas.microsoft.com/office/drawing/2014/main" id="{7A44F195-54CB-904D-B250-251DBA11CF6A}"/>
              </a:ext>
            </a:extLst>
          </p:cNvPr>
          <p:cNvSpPr>
            <a:spLocks noGrp="1"/>
          </p:cNvSpPr>
          <p:nvPr>
            <p:ph type="body" sz="quarter" idx="13" hasCustomPrompt="1"/>
          </p:nvPr>
        </p:nvSpPr>
        <p:spPr>
          <a:xfrm>
            <a:off x="488951" y="1043417"/>
            <a:ext cx="11193296" cy="331601"/>
          </a:xfrm>
        </p:spPr>
        <p:txBody>
          <a:bodyPr anchor="t"/>
          <a:lstStyle>
            <a:lvl1pPr marL="0" indent="0">
              <a:buNone/>
              <a:defRPr sz="2400" i="0">
                <a:solidFill>
                  <a:schemeClr val="bg1"/>
                </a:solidFill>
              </a:defRPr>
            </a:lvl1pPr>
            <a:lvl2pPr marL="169863" indent="0">
              <a:buNone/>
              <a:defRPr/>
            </a:lvl2pPr>
            <a:lvl3pPr marL="344487" indent="0">
              <a:buNone/>
              <a:defRPr/>
            </a:lvl3pPr>
            <a:lvl4pPr marL="458788" indent="0">
              <a:buNone/>
              <a:defRPr/>
            </a:lvl4pPr>
            <a:lvl5pPr marL="630237" indent="0">
              <a:buNone/>
              <a:defRPr/>
            </a:lvl5pPr>
          </a:lstStyle>
          <a:p>
            <a:pPr lvl="0"/>
            <a:r>
              <a:rPr lang="en-US" dirty="0"/>
              <a:t>Subtitle goes here, </a:t>
            </a:r>
            <a:r>
              <a:rPr lang="en-US" dirty="0" err="1"/>
              <a:t>Roboto</a:t>
            </a:r>
            <a:r>
              <a:rPr lang="en-US" dirty="0"/>
              <a:t> Regular 24 point, no longer than one line</a:t>
            </a:r>
          </a:p>
        </p:txBody>
      </p:sp>
    </p:spTree>
    <p:extLst>
      <p:ext uri="{BB962C8B-B14F-4D97-AF65-F5344CB8AC3E}">
        <p14:creationId xmlns:p14="http://schemas.microsoft.com/office/powerpoint/2010/main" val="356251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Maximum 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C4FD1BD-ABA2-48A9-9417-F7D6F3D6AF1D}"/>
              </a:ext>
            </a:extLst>
          </p:cNvPr>
          <p:cNvSpPr txBox="1"/>
          <p:nvPr userDrawn="1"/>
        </p:nvSpPr>
        <p:spPr>
          <a:xfrm>
            <a:off x="176868" y="6365106"/>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900" b="0" i="0" kern="1200" smtClean="0">
                <a:solidFill>
                  <a:schemeClr val="tx1"/>
                </a:solidFill>
                <a:latin typeface="Roboto" charset="0"/>
                <a:ea typeface="Roboto" charset="0"/>
                <a:cs typeface="Roboto" charset="0"/>
              </a:rPr>
              <a:pPr marL="0" lvl="0" algn="ctr" defTabSz="457200" rtl="0" eaLnBrk="1" latinLnBrk="0" hangingPunct="1"/>
              <a:t>‹#›</a:t>
            </a:fld>
            <a:endParaRPr lang="en-US" sz="900" b="0" i="0" kern="1200" dirty="0">
              <a:solidFill>
                <a:schemeClr val="tx1"/>
              </a:solidFill>
              <a:latin typeface="Roboto" charset="0"/>
              <a:ea typeface="Roboto" charset="0"/>
              <a:cs typeface="Roboto" charset="0"/>
            </a:endParaRPr>
          </a:p>
        </p:txBody>
      </p:sp>
      <p:sp>
        <p:nvSpPr>
          <p:cNvPr id="3" name="TextBox 2">
            <a:extLst>
              <a:ext uri="{FF2B5EF4-FFF2-40B4-BE49-F238E27FC236}">
                <a16:creationId xmlns:a16="http://schemas.microsoft.com/office/drawing/2014/main" id="{DEB141AA-3898-435D-AF03-ADEE5B2EA8F2}"/>
              </a:ext>
            </a:extLst>
          </p:cNvPr>
          <p:cNvSpPr txBox="1"/>
          <p:nvPr userDrawn="1"/>
        </p:nvSpPr>
        <p:spPr>
          <a:xfrm>
            <a:off x="1023708"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dirty="0">
                <a:solidFill>
                  <a:schemeClr val="tx1"/>
                </a:solidFill>
                <a:latin typeface="Roboto" charset="0"/>
                <a:ea typeface="Roboto" charset="0"/>
                <a:cs typeface="Roboto" charset="0"/>
              </a:rPr>
              <a:t>© Informatica. Proprietary and Confidential.</a:t>
            </a:r>
          </a:p>
        </p:txBody>
      </p:sp>
      <p:pic>
        <p:nvPicPr>
          <p:cNvPr id="5" name="Picture 4">
            <a:extLst>
              <a:ext uri="{FF2B5EF4-FFF2-40B4-BE49-F238E27FC236}">
                <a16:creationId xmlns:a16="http://schemas.microsoft.com/office/drawing/2014/main" id="{E80CEB35-6031-1D4C-8CFE-CD33B2A31386}"/>
              </a:ext>
            </a:extLst>
          </p:cNvPr>
          <p:cNvPicPr>
            <a:picLocks noChangeAspect="1"/>
          </p:cNvPicPr>
          <p:nvPr userDrawn="1"/>
        </p:nvPicPr>
        <p:blipFill>
          <a:blip r:embed="rId2"/>
          <a:stretch>
            <a:fillRect/>
          </a:stretch>
        </p:blipFill>
        <p:spPr>
          <a:xfrm>
            <a:off x="9743687" y="6098796"/>
            <a:ext cx="2040934" cy="699990"/>
          </a:xfrm>
          <a:prstGeom prst="rect">
            <a:avLst/>
          </a:prstGeom>
        </p:spPr>
      </p:pic>
    </p:spTree>
    <p:extLst>
      <p:ext uri="{BB962C8B-B14F-4D97-AF65-F5344CB8AC3E}">
        <p14:creationId xmlns:p14="http://schemas.microsoft.com/office/powerpoint/2010/main" val="3898402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5001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_With Image_Custom">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CE35D7D-A5B4-D44E-8373-F52B6E676737}"/>
              </a:ext>
            </a:extLst>
          </p:cNvPr>
          <p:cNvPicPr>
            <a:picLocks noChangeAspect="1"/>
          </p:cNvPicPr>
          <p:nvPr userDrawn="1"/>
        </p:nvPicPr>
        <p:blipFill>
          <a:blip r:embed="rId2"/>
          <a:stretch>
            <a:fillRect/>
          </a:stretch>
        </p:blipFill>
        <p:spPr>
          <a:xfrm>
            <a:off x="0" y="893"/>
            <a:ext cx="12188825" cy="6856214"/>
          </a:xfrm>
          <a:prstGeom prst="rect">
            <a:avLst/>
          </a:prstGeom>
        </p:spPr>
      </p:pic>
      <p:sp>
        <p:nvSpPr>
          <p:cNvPr id="23" name="Rectangle 22">
            <a:extLst>
              <a:ext uri="{FF2B5EF4-FFF2-40B4-BE49-F238E27FC236}">
                <a16:creationId xmlns:a16="http://schemas.microsoft.com/office/drawing/2014/main" id="{3FA36244-1229-A542-BA6C-7F8003334D3E}"/>
              </a:ext>
            </a:extLst>
          </p:cNvPr>
          <p:cNvSpPr/>
          <p:nvPr userDrawn="1"/>
        </p:nvSpPr>
        <p:spPr>
          <a:xfrm>
            <a:off x="11980888" y="2199861"/>
            <a:ext cx="207937" cy="4658139"/>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algn="ctr"/>
            <a:endParaRPr lang="en-US" sz="1600" dirty="0">
              <a:solidFill>
                <a:schemeClr val="bg1"/>
              </a:solidFill>
              <a:latin typeface="Roboto" charset="0"/>
              <a:ea typeface="Roboto" charset="0"/>
              <a:cs typeface="Roboto" charset="0"/>
            </a:endParaRPr>
          </a:p>
        </p:txBody>
      </p:sp>
      <p:sp>
        <p:nvSpPr>
          <p:cNvPr id="20" name="Picture Placeholder 19">
            <a:extLst>
              <a:ext uri="{FF2B5EF4-FFF2-40B4-BE49-F238E27FC236}">
                <a16:creationId xmlns:a16="http://schemas.microsoft.com/office/drawing/2014/main" id="{F2DC5E9E-D7F6-9B4D-9850-071AC0859FDE}"/>
              </a:ext>
            </a:extLst>
          </p:cNvPr>
          <p:cNvSpPr>
            <a:spLocks noGrp="1"/>
          </p:cNvSpPr>
          <p:nvPr>
            <p:ph type="pic" sz="quarter" idx="17" hasCustomPrompt="1"/>
          </p:nvPr>
        </p:nvSpPr>
        <p:spPr>
          <a:xfrm>
            <a:off x="3907171" y="883230"/>
            <a:ext cx="8291081" cy="5993820"/>
          </a:xfrm>
          <a:custGeom>
            <a:avLst/>
            <a:gdLst>
              <a:gd name="connsiteX0" fmla="*/ 6694975 w 8249900"/>
              <a:gd name="connsiteY0" fmla="*/ 0 h 5965245"/>
              <a:gd name="connsiteX1" fmla="*/ 8249900 w 8249900"/>
              <a:gd name="connsiteY1" fmla="*/ 1324664 h 5965245"/>
              <a:gd name="connsiteX2" fmla="*/ 8249900 w 8249900"/>
              <a:gd name="connsiteY2" fmla="*/ 5965245 h 5965245"/>
              <a:gd name="connsiteX3" fmla="*/ 0 w 8249900"/>
              <a:gd name="connsiteY3" fmla="*/ 5965245 h 5965245"/>
              <a:gd name="connsiteX0" fmla="*/ 6694975 w 8249900"/>
              <a:gd name="connsiteY0" fmla="*/ 0 h 5962070"/>
              <a:gd name="connsiteX1" fmla="*/ 8249900 w 8249900"/>
              <a:gd name="connsiteY1" fmla="*/ 1321489 h 5962070"/>
              <a:gd name="connsiteX2" fmla="*/ 8249900 w 8249900"/>
              <a:gd name="connsiteY2" fmla="*/ 5962070 h 5962070"/>
              <a:gd name="connsiteX3" fmla="*/ 0 w 8249900"/>
              <a:gd name="connsiteY3" fmla="*/ 5962070 h 5962070"/>
              <a:gd name="connsiteX4" fmla="*/ 6694975 w 8249900"/>
              <a:gd name="connsiteY4" fmla="*/ 0 h 5962070"/>
              <a:gd name="connsiteX0" fmla="*/ 6691800 w 8249900"/>
              <a:gd name="connsiteY0" fmla="*/ 0 h 5965245"/>
              <a:gd name="connsiteX1" fmla="*/ 8249900 w 8249900"/>
              <a:gd name="connsiteY1" fmla="*/ 1324664 h 5965245"/>
              <a:gd name="connsiteX2" fmla="*/ 8249900 w 8249900"/>
              <a:gd name="connsiteY2" fmla="*/ 5965245 h 5965245"/>
              <a:gd name="connsiteX3" fmla="*/ 0 w 8249900"/>
              <a:gd name="connsiteY3" fmla="*/ 5965245 h 5965245"/>
              <a:gd name="connsiteX4" fmla="*/ 6691800 w 8249900"/>
              <a:gd name="connsiteY4" fmla="*/ 0 h 5965245"/>
              <a:gd name="connsiteX0" fmla="*/ 6694975 w 8253075"/>
              <a:gd name="connsiteY0" fmla="*/ 0 h 5968420"/>
              <a:gd name="connsiteX1" fmla="*/ 8253075 w 8253075"/>
              <a:gd name="connsiteY1" fmla="*/ 1324664 h 5968420"/>
              <a:gd name="connsiteX2" fmla="*/ 8253075 w 8253075"/>
              <a:gd name="connsiteY2" fmla="*/ 5965245 h 5968420"/>
              <a:gd name="connsiteX3" fmla="*/ 0 w 8253075"/>
              <a:gd name="connsiteY3" fmla="*/ 5968420 h 5968420"/>
              <a:gd name="connsiteX4" fmla="*/ 6694975 w 8253075"/>
              <a:gd name="connsiteY4" fmla="*/ 0 h 5968420"/>
              <a:gd name="connsiteX0" fmla="*/ 6701325 w 8259425"/>
              <a:gd name="connsiteY0" fmla="*/ 0 h 5971595"/>
              <a:gd name="connsiteX1" fmla="*/ 8259425 w 8259425"/>
              <a:gd name="connsiteY1" fmla="*/ 1324664 h 5971595"/>
              <a:gd name="connsiteX2" fmla="*/ 8259425 w 8259425"/>
              <a:gd name="connsiteY2" fmla="*/ 5965245 h 5971595"/>
              <a:gd name="connsiteX3" fmla="*/ 0 w 8259425"/>
              <a:gd name="connsiteY3" fmla="*/ 5971595 h 5971595"/>
              <a:gd name="connsiteX4" fmla="*/ 6701325 w 8259425"/>
              <a:gd name="connsiteY4" fmla="*/ 0 h 5971595"/>
              <a:gd name="connsiteX0" fmla="*/ 6717200 w 8275300"/>
              <a:gd name="connsiteY0" fmla="*/ 0 h 5981120"/>
              <a:gd name="connsiteX1" fmla="*/ 8275300 w 8275300"/>
              <a:gd name="connsiteY1" fmla="*/ 1324664 h 5981120"/>
              <a:gd name="connsiteX2" fmla="*/ 8275300 w 8275300"/>
              <a:gd name="connsiteY2" fmla="*/ 5965245 h 5981120"/>
              <a:gd name="connsiteX3" fmla="*/ 0 w 8275300"/>
              <a:gd name="connsiteY3" fmla="*/ 5981120 h 5981120"/>
              <a:gd name="connsiteX4" fmla="*/ 6717200 w 8275300"/>
              <a:gd name="connsiteY4" fmla="*/ 0 h 5981120"/>
              <a:gd name="connsiteX0" fmla="*/ 6723550 w 8275300"/>
              <a:gd name="connsiteY0" fmla="*/ 0 h 5981120"/>
              <a:gd name="connsiteX1" fmla="*/ 8275300 w 8275300"/>
              <a:gd name="connsiteY1" fmla="*/ 1324664 h 5981120"/>
              <a:gd name="connsiteX2" fmla="*/ 8275300 w 8275300"/>
              <a:gd name="connsiteY2" fmla="*/ 5965245 h 5981120"/>
              <a:gd name="connsiteX3" fmla="*/ 0 w 8275300"/>
              <a:gd name="connsiteY3" fmla="*/ 5981120 h 5981120"/>
              <a:gd name="connsiteX4" fmla="*/ 6723550 w 8275300"/>
              <a:gd name="connsiteY4" fmla="*/ 0 h 5981120"/>
              <a:gd name="connsiteX0" fmla="*/ 6723550 w 8275300"/>
              <a:gd name="connsiteY0" fmla="*/ 0 h 5981120"/>
              <a:gd name="connsiteX1" fmla="*/ 8275300 w 8275300"/>
              <a:gd name="connsiteY1" fmla="*/ 1324664 h 5981120"/>
              <a:gd name="connsiteX2" fmla="*/ 8275300 w 8275300"/>
              <a:gd name="connsiteY2" fmla="*/ 5965245 h 5981120"/>
              <a:gd name="connsiteX3" fmla="*/ 0 w 8275300"/>
              <a:gd name="connsiteY3" fmla="*/ 5981120 h 5981120"/>
              <a:gd name="connsiteX4" fmla="*/ 6723550 w 8275300"/>
              <a:gd name="connsiteY4" fmla="*/ 0 h 5981120"/>
              <a:gd name="connsiteX0" fmla="*/ 6723550 w 8275300"/>
              <a:gd name="connsiteY0" fmla="*/ 0 h 5981120"/>
              <a:gd name="connsiteX1" fmla="*/ 8272125 w 8275300"/>
              <a:gd name="connsiteY1" fmla="*/ 1318314 h 5981120"/>
              <a:gd name="connsiteX2" fmla="*/ 8275300 w 8275300"/>
              <a:gd name="connsiteY2" fmla="*/ 5965245 h 5981120"/>
              <a:gd name="connsiteX3" fmla="*/ 0 w 8275300"/>
              <a:gd name="connsiteY3" fmla="*/ 5981120 h 5981120"/>
              <a:gd name="connsiteX4" fmla="*/ 6723550 w 8275300"/>
              <a:gd name="connsiteY4" fmla="*/ 0 h 5981120"/>
              <a:gd name="connsiteX0" fmla="*/ 6723550 w 8275300"/>
              <a:gd name="connsiteY0" fmla="*/ 0 h 5984295"/>
              <a:gd name="connsiteX1" fmla="*/ 8272125 w 8275300"/>
              <a:gd name="connsiteY1" fmla="*/ 1321489 h 5984295"/>
              <a:gd name="connsiteX2" fmla="*/ 8275300 w 8275300"/>
              <a:gd name="connsiteY2" fmla="*/ 5968420 h 5984295"/>
              <a:gd name="connsiteX3" fmla="*/ 0 w 8275300"/>
              <a:gd name="connsiteY3" fmla="*/ 5984295 h 5984295"/>
              <a:gd name="connsiteX4" fmla="*/ 6723550 w 8275300"/>
              <a:gd name="connsiteY4" fmla="*/ 0 h 5984295"/>
              <a:gd name="connsiteX0" fmla="*/ 6723550 w 8275605"/>
              <a:gd name="connsiteY0" fmla="*/ 0 h 5984295"/>
              <a:gd name="connsiteX1" fmla="*/ 8275300 w 8275605"/>
              <a:gd name="connsiteY1" fmla="*/ 1318314 h 5984295"/>
              <a:gd name="connsiteX2" fmla="*/ 8275300 w 8275605"/>
              <a:gd name="connsiteY2" fmla="*/ 5968420 h 5984295"/>
              <a:gd name="connsiteX3" fmla="*/ 0 w 8275605"/>
              <a:gd name="connsiteY3" fmla="*/ 5984295 h 5984295"/>
              <a:gd name="connsiteX4" fmla="*/ 6723550 w 8275605"/>
              <a:gd name="connsiteY4" fmla="*/ 0 h 5984295"/>
              <a:gd name="connsiteX0" fmla="*/ 6723550 w 8275605"/>
              <a:gd name="connsiteY0" fmla="*/ 0 h 5984295"/>
              <a:gd name="connsiteX1" fmla="*/ 8275300 w 8275605"/>
              <a:gd name="connsiteY1" fmla="*/ 1311964 h 5984295"/>
              <a:gd name="connsiteX2" fmla="*/ 8275300 w 8275605"/>
              <a:gd name="connsiteY2" fmla="*/ 5968420 h 5984295"/>
              <a:gd name="connsiteX3" fmla="*/ 0 w 8275605"/>
              <a:gd name="connsiteY3" fmla="*/ 5984295 h 5984295"/>
              <a:gd name="connsiteX4" fmla="*/ 6723550 w 8275605"/>
              <a:gd name="connsiteY4" fmla="*/ 0 h 5984295"/>
              <a:gd name="connsiteX0" fmla="*/ 6720375 w 8275605"/>
              <a:gd name="connsiteY0" fmla="*/ 0 h 5984295"/>
              <a:gd name="connsiteX1" fmla="*/ 8275300 w 8275605"/>
              <a:gd name="connsiteY1" fmla="*/ 1311964 h 5984295"/>
              <a:gd name="connsiteX2" fmla="*/ 8275300 w 8275605"/>
              <a:gd name="connsiteY2" fmla="*/ 5968420 h 5984295"/>
              <a:gd name="connsiteX3" fmla="*/ 0 w 8275605"/>
              <a:gd name="connsiteY3" fmla="*/ 5984295 h 5984295"/>
              <a:gd name="connsiteX4" fmla="*/ 6720375 w 8275605"/>
              <a:gd name="connsiteY4" fmla="*/ 0 h 5984295"/>
              <a:gd name="connsiteX0" fmla="*/ 6723550 w 8275605"/>
              <a:gd name="connsiteY0" fmla="*/ 0 h 5987470"/>
              <a:gd name="connsiteX1" fmla="*/ 8275300 w 8275605"/>
              <a:gd name="connsiteY1" fmla="*/ 1315139 h 5987470"/>
              <a:gd name="connsiteX2" fmla="*/ 8275300 w 8275605"/>
              <a:gd name="connsiteY2" fmla="*/ 5971595 h 5987470"/>
              <a:gd name="connsiteX3" fmla="*/ 0 w 8275605"/>
              <a:gd name="connsiteY3" fmla="*/ 5987470 h 5987470"/>
              <a:gd name="connsiteX4" fmla="*/ 6723550 w 8275605"/>
              <a:gd name="connsiteY4" fmla="*/ 0 h 5987470"/>
              <a:gd name="connsiteX0" fmla="*/ 6720375 w 8275605"/>
              <a:gd name="connsiteY0" fmla="*/ 0 h 5990645"/>
              <a:gd name="connsiteX1" fmla="*/ 8275300 w 8275605"/>
              <a:gd name="connsiteY1" fmla="*/ 1318314 h 5990645"/>
              <a:gd name="connsiteX2" fmla="*/ 8275300 w 8275605"/>
              <a:gd name="connsiteY2" fmla="*/ 5974770 h 5990645"/>
              <a:gd name="connsiteX3" fmla="*/ 0 w 8275605"/>
              <a:gd name="connsiteY3" fmla="*/ 5990645 h 5990645"/>
              <a:gd name="connsiteX4" fmla="*/ 6720375 w 8275605"/>
              <a:gd name="connsiteY4" fmla="*/ 0 h 5990645"/>
              <a:gd name="connsiteX0" fmla="*/ 6723550 w 8275605"/>
              <a:gd name="connsiteY0" fmla="*/ 0 h 5990645"/>
              <a:gd name="connsiteX1" fmla="*/ 8275300 w 8275605"/>
              <a:gd name="connsiteY1" fmla="*/ 1318314 h 5990645"/>
              <a:gd name="connsiteX2" fmla="*/ 8275300 w 8275605"/>
              <a:gd name="connsiteY2" fmla="*/ 5974770 h 5990645"/>
              <a:gd name="connsiteX3" fmla="*/ 0 w 8275605"/>
              <a:gd name="connsiteY3" fmla="*/ 5990645 h 5990645"/>
              <a:gd name="connsiteX4" fmla="*/ 6723550 w 8275605"/>
              <a:gd name="connsiteY4" fmla="*/ 0 h 5990645"/>
              <a:gd name="connsiteX0" fmla="*/ 6733075 w 8285130"/>
              <a:gd name="connsiteY0" fmla="*/ 0 h 5993820"/>
              <a:gd name="connsiteX1" fmla="*/ 8284825 w 8285130"/>
              <a:gd name="connsiteY1" fmla="*/ 1318314 h 5993820"/>
              <a:gd name="connsiteX2" fmla="*/ 8284825 w 8285130"/>
              <a:gd name="connsiteY2" fmla="*/ 5974770 h 5993820"/>
              <a:gd name="connsiteX3" fmla="*/ 0 w 8285130"/>
              <a:gd name="connsiteY3" fmla="*/ 5993820 h 5993820"/>
              <a:gd name="connsiteX4" fmla="*/ 6733075 w 8285130"/>
              <a:gd name="connsiteY4" fmla="*/ 0 h 5993820"/>
              <a:gd name="connsiteX0" fmla="*/ 6736250 w 8285130"/>
              <a:gd name="connsiteY0" fmla="*/ 0 h 5993820"/>
              <a:gd name="connsiteX1" fmla="*/ 8284825 w 8285130"/>
              <a:gd name="connsiteY1" fmla="*/ 1318314 h 5993820"/>
              <a:gd name="connsiteX2" fmla="*/ 8284825 w 8285130"/>
              <a:gd name="connsiteY2" fmla="*/ 5974770 h 5993820"/>
              <a:gd name="connsiteX3" fmla="*/ 0 w 8285130"/>
              <a:gd name="connsiteY3" fmla="*/ 5993820 h 5993820"/>
              <a:gd name="connsiteX4" fmla="*/ 6736250 w 8285130"/>
              <a:gd name="connsiteY4" fmla="*/ 0 h 5993820"/>
              <a:gd name="connsiteX0" fmla="*/ 6729900 w 8285130"/>
              <a:gd name="connsiteY0" fmla="*/ 0 h 5993820"/>
              <a:gd name="connsiteX1" fmla="*/ 8284825 w 8285130"/>
              <a:gd name="connsiteY1" fmla="*/ 1318314 h 5993820"/>
              <a:gd name="connsiteX2" fmla="*/ 8284825 w 8285130"/>
              <a:gd name="connsiteY2" fmla="*/ 5974770 h 5993820"/>
              <a:gd name="connsiteX3" fmla="*/ 0 w 8285130"/>
              <a:gd name="connsiteY3" fmla="*/ 5993820 h 5993820"/>
              <a:gd name="connsiteX4" fmla="*/ 6729900 w 8285130"/>
              <a:gd name="connsiteY4" fmla="*/ 0 h 5993820"/>
              <a:gd name="connsiteX0" fmla="*/ 6729900 w 8285130"/>
              <a:gd name="connsiteY0" fmla="*/ 0 h 5996995"/>
              <a:gd name="connsiteX1" fmla="*/ 8284825 w 8285130"/>
              <a:gd name="connsiteY1" fmla="*/ 1321489 h 5996995"/>
              <a:gd name="connsiteX2" fmla="*/ 8284825 w 8285130"/>
              <a:gd name="connsiteY2" fmla="*/ 5977945 h 5996995"/>
              <a:gd name="connsiteX3" fmla="*/ 0 w 8285130"/>
              <a:gd name="connsiteY3" fmla="*/ 5996995 h 5996995"/>
              <a:gd name="connsiteX4" fmla="*/ 6729900 w 8285130"/>
              <a:gd name="connsiteY4" fmla="*/ 0 h 5996995"/>
              <a:gd name="connsiteX0" fmla="*/ 6729900 w 8285130"/>
              <a:gd name="connsiteY0" fmla="*/ 0 h 6000170"/>
              <a:gd name="connsiteX1" fmla="*/ 8284825 w 8285130"/>
              <a:gd name="connsiteY1" fmla="*/ 1324664 h 6000170"/>
              <a:gd name="connsiteX2" fmla="*/ 8284825 w 8285130"/>
              <a:gd name="connsiteY2" fmla="*/ 5981120 h 6000170"/>
              <a:gd name="connsiteX3" fmla="*/ 0 w 8285130"/>
              <a:gd name="connsiteY3" fmla="*/ 6000170 h 6000170"/>
              <a:gd name="connsiteX4" fmla="*/ 6729900 w 8285130"/>
              <a:gd name="connsiteY4" fmla="*/ 0 h 6000170"/>
              <a:gd name="connsiteX0" fmla="*/ 6729900 w 8285130"/>
              <a:gd name="connsiteY0" fmla="*/ 0 h 6022395"/>
              <a:gd name="connsiteX1" fmla="*/ 8284825 w 8285130"/>
              <a:gd name="connsiteY1" fmla="*/ 1346889 h 6022395"/>
              <a:gd name="connsiteX2" fmla="*/ 8284825 w 8285130"/>
              <a:gd name="connsiteY2" fmla="*/ 6003345 h 6022395"/>
              <a:gd name="connsiteX3" fmla="*/ 0 w 8285130"/>
              <a:gd name="connsiteY3" fmla="*/ 6022395 h 6022395"/>
              <a:gd name="connsiteX4" fmla="*/ 6729900 w 8285130"/>
              <a:gd name="connsiteY4" fmla="*/ 0 h 6022395"/>
              <a:gd name="connsiteX0" fmla="*/ 6729900 w 8284825"/>
              <a:gd name="connsiteY0" fmla="*/ 0 h 6022395"/>
              <a:gd name="connsiteX1" fmla="*/ 8281650 w 8284825"/>
              <a:gd name="connsiteY1" fmla="*/ 1337364 h 6022395"/>
              <a:gd name="connsiteX2" fmla="*/ 8284825 w 8284825"/>
              <a:gd name="connsiteY2" fmla="*/ 6003345 h 6022395"/>
              <a:gd name="connsiteX3" fmla="*/ 0 w 8284825"/>
              <a:gd name="connsiteY3" fmla="*/ 6022395 h 6022395"/>
              <a:gd name="connsiteX4" fmla="*/ 6729900 w 8284825"/>
              <a:gd name="connsiteY4" fmla="*/ 0 h 6022395"/>
              <a:gd name="connsiteX0" fmla="*/ 6733075 w 8284825"/>
              <a:gd name="connsiteY0" fmla="*/ 0 h 5965245"/>
              <a:gd name="connsiteX1" fmla="*/ 8281650 w 8284825"/>
              <a:gd name="connsiteY1" fmla="*/ 1280214 h 5965245"/>
              <a:gd name="connsiteX2" fmla="*/ 8284825 w 8284825"/>
              <a:gd name="connsiteY2" fmla="*/ 5946195 h 5965245"/>
              <a:gd name="connsiteX3" fmla="*/ 0 w 8284825"/>
              <a:gd name="connsiteY3" fmla="*/ 5965245 h 5965245"/>
              <a:gd name="connsiteX4" fmla="*/ 6733075 w 8284825"/>
              <a:gd name="connsiteY4" fmla="*/ 0 h 5965245"/>
              <a:gd name="connsiteX0" fmla="*/ 6736250 w 8284825"/>
              <a:gd name="connsiteY0" fmla="*/ 0 h 5914445"/>
              <a:gd name="connsiteX1" fmla="*/ 8281650 w 8284825"/>
              <a:gd name="connsiteY1" fmla="*/ 1229414 h 5914445"/>
              <a:gd name="connsiteX2" fmla="*/ 8284825 w 8284825"/>
              <a:gd name="connsiteY2" fmla="*/ 5895395 h 5914445"/>
              <a:gd name="connsiteX3" fmla="*/ 0 w 8284825"/>
              <a:gd name="connsiteY3" fmla="*/ 5914445 h 5914445"/>
              <a:gd name="connsiteX4" fmla="*/ 6736250 w 8284825"/>
              <a:gd name="connsiteY4" fmla="*/ 0 h 5914445"/>
              <a:gd name="connsiteX0" fmla="*/ 6733075 w 8284825"/>
              <a:gd name="connsiteY0" fmla="*/ 0 h 5990645"/>
              <a:gd name="connsiteX1" fmla="*/ 8281650 w 8284825"/>
              <a:gd name="connsiteY1" fmla="*/ 1305614 h 5990645"/>
              <a:gd name="connsiteX2" fmla="*/ 8284825 w 8284825"/>
              <a:gd name="connsiteY2" fmla="*/ 5971595 h 5990645"/>
              <a:gd name="connsiteX3" fmla="*/ 0 w 8284825"/>
              <a:gd name="connsiteY3" fmla="*/ 5990645 h 5990645"/>
              <a:gd name="connsiteX4" fmla="*/ 6733075 w 8284825"/>
              <a:gd name="connsiteY4" fmla="*/ 0 h 5990645"/>
              <a:gd name="connsiteX0" fmla="*/ 6733075 w 8284825"/>
              <a:gd name="connsiteY0" fmla="*/ 0 h 5990645"/>
              <a:gd name="connsiteX1" fmla="*/ 8281650 w 8284825"/>
              <a:gd name="connsiteY1" fmla="*/ 1299264 h 5990645"/>
              <a:gd name="connsiteX2" fmla="*/ 8284825 w 8284825"/>
              <a:gd name="connsiteY2" fmla="*/ 5971595 h 5990645"/>
              <a:gd name="connsiteX3" fmla="*/ 0 w 8284825"/>
              <a:gd name="connsiteY3" fmla="*/ 5990645 h 5990645"/>
              <a:gd name="connsiteX4" fmla="*/ 6733075 w 8284825"/>
              <a:gd name="connsiteY4" fmla="*/ 0 h 5990645"/>
              <a:gd name="connsiteX0" fmla="*/ 6726730 w 8284825"/>
              <a:gd name="connsiteY0" fmla="*/ 0 h 5993820"/>
              <a:gd name="connsiteX1" fmla="*/ 8281650 w 8284825"/>
              <a:gd name="connsiteY1" fmla="*/ 1302439 h 5993820"/>
              <a:gd name="connsiteX2" fmla="*/ 8284825 w 8284825"/>
              <a:gd name="connsiteY2" fmla="*/ 5974770 h 5993820"/>
              <a:gd name="connsiteX3" fmla="*/ 0 w 8284825"/>
              <a:gd name="connsiteY3" fmla="*/ 5993820 h 5993820"/>
              <a:gd name="connsiteX4" fmla="*/ 6726730 w 8284825"/>
              <a:gd name="connsiteY4" fmla="*/ 0 h 5993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84825" h="5993820">
                <a:moveTo>
                  <a:pt x="6726730" y="0"/>
                </a:moveTo>
                <a:lnTo>
                  <a:pt x="8281650" y="1302439"/>
                </a:lnTo>
                <a:cubicBezTo>
                  <a:pt x="8282708" y="2851416"/>
                  <a:pt x="8283767" y="4425793"/>
                  <a:pt x="8284825" y="5974770"/>
                </a:cubicBezTo>
                <a:lnTo>
                  <a:pt x="0" y="5993820"/>
                </a:lnTo>
                <a:lnTo>
                  <a:pt x="6726730" y="0"/>
                </a:lnTo>
                <a:close/>
              </a:path>
            </a:pathLst>
          </a:custGeom>
          <a:solidFill>
            <a:schemeClr val="bg1">
              <a:lumMod val="95000"/>
            </a:schemeClr>
          </a:solidFill>
        </p:spPr>
        <p:txBody>
          <a:bodyPr wrap="square" anchor="ctr">
            <a:noAutofit/>
          </a:bodyPr>
          <a:lstStyle>
            <a:lvl1pPr marL="0" indent="0" algn="ctr">
              <a:buNone/>
              <a:defRPr/>
            </a:lvl1pPr>
          </a:lstStyle>
          <a:p>
            <a:r>
              <a:rPr lang="en-US" dirty="0"/>
              <a:t>                                                    CLICK TO INSERT IMAGE</a:t>
            </a:r>
          </a:p>
        </p:txBody>
      </p:sp>
      <p:sp>
        <p:nvSpPr>
          <p:cNvPr id="13" name="Text Placeholder 16">
            <a:extLst>
              <a:ext uri="{FF2B5EF4-FFF2-40B4-BE49-F238E27FC236}">
                <a16:creationId xmlns:a16="http://schemas.microsoft.com/office/drawing/2014/main" id="{8A742799-E7EE-B249-B855-6E66A99BEF43}"/>
              </a:ext>
            </a:extLst>
          </p:cNvPr>
          <p:cNvSpPr>
            <a:spLocks noGrp="1"/>
          </p:cNvSpPr>
          <p:nvPr userDrawn="1">
            <p:ph type="body" sz="quarter" idx="10" hasCustomPrompt="1"/>
          </p:nvPr>
        </p:nvSpPr>
        <p:spPr bwMode="gray">
          <a:xfrm>
            <a:off x="1161225" y="1251522"/>
            <a:ext cx="6369780" cy="648398"/>
          </a:xfrm>
          <a:prstGeom prst="rect">
            <a:avLst/>
          </a:prstGeom>
        </p:spPr>
        <p:txBody>
          <a:bodyPr anchor="b" anchorCtr="0"/>
          <a:lstStyle>
            <a:lvl1pPr marL="0" indent="0">
              <a:lnSpc>
                <a:spcPct val="95000"/>
              </a:lnSpc>
              <a:spcBef>
                <a:spcPts val="0"/>
              </a:spcBef>
              <a:spcAft>
                <a:spcPts val="0"/>
              </a:spcAft>
              <a:buNone/>
              <a:defRPr sz="2400" b="0" i="0">
                <a:solidFill>
                  <a:schemeClr val="bg1"/>
                </a:solidFill>
                <a:latin typeface="+mj-lt"/>
                <a:ea typeface="Roboto" charset="0"/>
                <a:cs typeface="Roboto" charset="0"/>
              </a:defRPr>
            </a:lvl1pPr>
            <a:lvl2pPr marL="457108" indent="0">
              <a:buNone/>
              <a:defRPr/>
            </a:lvl2pPr>
            <a:lvl3pPr marL="914217" indent="0">
              <a:buNone/>
              <a:defRPr/>
            </a:lvl3pPr>
            <a:lvl4pPr marL="1371326" indent="0">
              <a:buNone/>
              <a:defRPr/>
            </a:lvl4pPr>
            <a:lvl5pPr marL="1828435" indent="0">
              <a:buNone/>
              <a:defRPr/>
            </a:lvl5pPr>
          </a:lstStyle>
          <a:p>
            <a:pPr lvl="0"/>
            <a:r>
              <a:rPr lang="en-US" dirty="0"/>
              <a:t>Date Roboto Light 20 Point</a:t>
            </a:r>
          </a:p>
        </p:txBody>
      </p:sp>
      <p:sp>
        <p:nvSpPr>
          <p:cNvPr id="14" name="Text Placeholder 23">
            <a:extLst>
              <a:ext uri="{FF2B5EF4-FFF2-40B4-BE49-F238E27FC236}">
                <a16:creationId xmlns:a16="http://schemas.microsoft.com/office/drawing/2014/main" id="{A4D87C16-E3D4-4E46-862C-5B297107DAA7}"/>
              </a:ext>
            </a:extLst>
          </p:cNvPr>
          <p:cNvSpPr>
            <a:spLocks noGrp="1"/>
          </p:cNvSpPr>
          <p:nvPr userDrawn="1">
            <p:ph type="body" sz="quarter" idx="11" hasCustomPrompt="1"/>
          </p:nvPr>
        </p:nvSpPr>
        <p:spPr bwMode="gray">
          <a:xfrm>
            <a:off x="1161225" y="2629671"/>
            <a:ext cx="5148136" cy="2102713"/>
          </a:xfrm>
          <a:prstGeom prst="rect">
            <a:avLst/>
          </a:prstGeom>
        </p:spPr>
        <p:txBody>
          <a:bodyPr anchor="ctr" anchorCtr="0"/>
          <a:lstStyle>
            <a:lvl1pPr marL="0" indent="0">
              <a:spcBef>
                <a:spcPts val="600"/>
              </a:spcBef>
              <a:buNone/>
              <a:defRPr sz="5400" b="0" i="0">
                <a:solidFill>
                  <a:schemeClr val="bg1"/>
                </a:solidFill>
                <a:latin typeface="+mj-lt"/>
                <a:ea typeface="Roboto Lt" charset="0"/>
                <a:cs typeface="Roboto Lt" charset="0"/>
              </a:defRPr>
            </a:lvl1pPr>
            <a:lvl2pPr marL="457108" indent="0">
              <a:buNone/>
              <a:defRPr/>
            </a:lvl2pPr>
            <a:lvl3pPr marL="914217" indent="0">
              <a:buNone/>
              <a:defRPr/>
            </a:lvl3pPr>
            <a:lvl4pPr marL="1371326" indent="0">
              <a:buNone/>
              <a:defRPr/>
            </a:lvl4pPr>
            <a:lvl5pPr marL="1828435" indent="0">
              <a:buNone/>
              <a:defRPr/>
            </a:lvl5pPr>
          </a:lstStyle>
          <a:p>
            <a:r>
              <a:rPr lang="en-US" dirty="0"/>
              <a:t>Title Goes Here Roboto Light 54 Point</a:t>
            </a:r>
          </a:p>
        </p:txBody>
      </p:sp>
      <p:sp>
        <p:nvSpPr>
          <p:cNvPr id="15" name="Text Placeholder 25">
            <a:extLst>
              <a:ext uri="{FF2B5EF4-FFF2-40B4-BE49-F238E27FC236}">
                <a16:creationId xmlns:a16="http://schemas.microsoft.com/office/drawing/2014/main" id="{7079C3FF-9D8D-8246-A054-D86497FCC529}"/>
              </a:ext>
            </a:extLst>
          </p:cNvPr>
          <p:cNvSpPr>
            <a:spLocks noGrp="1"/>
          </p:cNvSpPr>
          <p:nvPr userDrawn="1">
            <p:ph type="body" sz="quarter" idx="12" hasCustomPrompt="1"/>
          </p:nvPr>
        </p:nvSpPr>
        <p:spPr bwMode="gray">
          <a:xfrm>
            <a:off x="1161225" y="4908299"/>
            <a:ext cx="4640135" cy="289576"/>
          </a:xfrm>
          <a:prstGeom prst="rect">
            <a:avLst/>
          </a:prstGeom>
        </p:spPr>
        <p:txBody>
          <a:bodyPr/>
          <a:lstStyle>
            <a:lvl1pPr marL="0" indent="0">
              <a:buNone/>
              <a:defRPr b="0" i="0" baseline="0">
                <a:solidFill>
                  <a:schemeClr val="bg1"/>
                </a:solidFill>
                <a:latin typeface="Roboto" charset="0"/>
                <a:ea typeface="Roboto" charset="0"/>
                <a:cs typeface="Roboto" charset="0"/>
              </a:defRPr>
            </a:lvl1pPr>
            <a:lvl2pPr marL="457108" indent="0">
              <a:buNone/>
              <a:defRPr/>
            </a:lvl2pPr>
            <a:lvl3pPr marL="914217" indent="0">
              <a:buNone/>
              <a:defRPr/>
            </a:lvl3pPr>
            <a:lvl4pPr marL="1371326" indent="0">
              <a:buNone/>
              <a:defRPr/>
            </a:lvl4pPr>
            <a:lvl5pPr marL="1828435" indent="0">
              <a:buNone/>
              <a:defRPr/>
            </a:lvl5pPr>
          </a:lstStyle>
          <a:p>
            <a:pPr lvl="0"/>
            <a:r>
              <a:rPr lang="en-US" dirty="0"/>
              <a:t>Speaker Name, Roboto Regular 20 Point</a:t>
            </a:r>
          </a:p>
        </p:txBody>
      </p:sp>
      <p:sp>
        <p:nvSpPr>
          <p:cNvPr id="22" name="Text Placeholder 27">
            <a:extLst>
              <a:ext uri="{FF2B5EF4-FFF2-40B4-BE49-F238E27FC236}">
                <a16:creationId xmlns:a16="http://schemas.microsoft.com/office/drawing/2014/main" id="{12E9ED7C-F9A0-8D40-86E4-EE84DC932C73}"/>
              </a:ext>
            </a:extLst>
          </p:cNvPr>
          <p:cNvSpPr>
            <a:spLocks noGrp="1"/>
          </p:cNvSpPr>
          <p:nvPr userDrawn="1">
            <p:ph type="body" sz="quarter" idx="13" hasCustomPrompt="1"/>
          </p:nvPr>
        </p:nvSpPr>
        <p:spPr bwMode="gray">
          <a:xfrm>
            <a:off x="1161225" y="5294969"/>
            <a:ext cx="4121975" cy="291041"/>
          </a:xfrm>
          <a:prstGeom prst="rect">
            <a:avLst/>
          </a:prstGeom>
        </p:spPr>
        <p:txBody>
          <a:bodyPr/>
          <a:lstStyle>
            <a:lvl1pPr marL="0" indent="0">
              <a:buNone/>
              <a:defRPr i="1" baseline="0">
                <a:solidFill>
                  <a:schemeClr val="bg1"/>
                </a:solidFill>
              </a:defRPr>
            </a:lvl1pPr>
            <a:lvl2pPr marL="457108" indent="0">
              <a:buNone/>
              <a:defRPr/>
            </a:lvl2pPr>
            <a:lvl3pPr marL="914217" indent="0">
              <a:buNone/>
              <a:defRPr/>
            </a:lvl3pPr>
            <a:lvl4pPr marL="1371326" indent="0">
              <a:buNone/>
              <a:defRPr/>
            </a:lvl4pPr>
            <a:lvl5pPr marL="1828435" indent="0">
              <a:buNone/>
              <a:defRPr/>
            </a:lvl5pPr>
          </a:lstStyle>
          <a:p>
            <a:pPr lvl="0"/>
            <a:r>
              <a:rPr lang="en-US" dirty="0"/>
              <a:t>Speaker Title or Email, Roboto Italic 20 Point</a:t>
            </a:r>
          </a:p>
        </p:txBody>
      </p:sp>
      <p:pic>
        <p:nvPicPr>
          <p:cNvPr id="17" name="Picture 16">
            <a:extLst>
              <a:ext uri="{FF2B5EF4-FFF2-40B4-BE49-F238E27FC236}">
                <a16:creationId xmlns:a16="http://schemas.microsoft.com/office/drawing/2014/main" id="{01572B8A-3E9A-9F41-B79E-0463DD4D0655}"/>
              </a:ext>
            </a:extLst>
          </p:cNvPr>
          <p:cNvPicPr>
            <a:picLocks noChangeAspect="1"/>
          </p:cNvPicPr>
          <p:nvPr userDrawn="1"/>
        </p:nvPicPr>
        <p:blipFill>
          <a:blip r:embed="rId3"/>
          <a:stretch>
            <a:fillRect/>
          </a:stretch>
        </p:blipFill>
        <p:spPr>
          <a:xfrm>
            <a:off x="9458461" y="6007608"/>
            <a:ext cx="2478024" cy="849901"/>
          </a:xfrm>
          <a:prstGeom prst="rect">
            <a:avLst/>
          </a:prstGeom>
        </p:spPr>
      </p:pic>
      <p:cxnSp>
        <p:nvCxnSpPr>
          <p:cNvPr id="18" name="Straight Connector 17">
            <a:extLst>
              <a:ext uri="{FF2B5EF4-FFF2-40B4-BE49-F238E27FC236}">
                <a16:creationId xmlns:a16="http://schemas.microsoft.com/office/drawing/2014/main" id="{61E5E522-EB37-A748-8E0F-94E832F93854}"/>
              </a:ext>
            </a:extLst>
          </p:cNvPr>
          <p:cNvCxnSpPr>
            <a:cxnSpLocks/>
          </p:cNvCxnSpPr>
          <p:nvPr userDrawn="1"/>
        </p:nvCxnSpPr>
        <p:spPr>
          <a:xfrm>
            <a:off x="1173323" y="1956269"/>
            <a:ext cx="42201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0934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w Title, Subtitle, Bullets">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488950" y="482602"/>
            <a:ext cx="11188700" cy="562427"/>
          </a:xfrm>
          <a:prstGeom prst="rect">
            <a:avLst/>
          </a:prstGeom>
        </p:spPr>
        <p:txBody>
          <a:bodyPr lIns="0"/>
          <a:lstStyle>
            <a:lvl1pPr>
              <a:defRPr baseline="0">
                <a:solidFill>
                  <a:schemeClr val="tx1"/>
                </a:solidFill>
              </a:defRPr>
            </a:lvl1pPr>
          </a:lstStyle>
          <a:p>
            <a:r>
              <a:rPr lang="en-US" dirty="0"/>
              <a:t>Headline Goes Here, Roboto Light, 36 Points, 1 Line</a:t>
            </a:r>
          </a:p>
        </p:txBody>
      </p:sp>
      <p:sp>
        <p:nvSpPr>
          <p:cNvPr id="11" name="Content Placeholder 5">
            <a:extLst>
              <a:ext uri="{FF2B5EF4-FFF2-40B4-BE49-F238E27FC236}">
                <a16:creationId xmlns:a16="http://schemas.microsoft.com/office/drawing/2014/main" id="{956D1FDC-5FA5-4B2D-A5AA-86637FA3B976}"/>
              </a:ext>
            </a:extLst>
          </p:cNvPr>
          <p:cNvSpPr>
            <a:spLocks noGrp="1"/>
          </p:cNvSpPr>
          <p:nvPr userDrawn="1">
            <p:ph sz="quarter" idx="14" hasCustomPrompt="1"/>
          </p:nvPr>
        </p:nvSpPr>
        <p:spPr>
          <a:xfrm>
            <a:off x="1027113" y="1854200"/>
            <a:ext cx="10650537" cy="4165600"/>
          </a:xfrm>
        </p:spPr>
        <p:txBody>
          <a:bodyPr vert="horz" lIns="0" tIns="0" rIns="0" bIns="0" rtlCol="0">
            <a:noAutofit/>
          </a:bodyPr>
          <a:lstStyle>
            <a:lvl1pPr>
              <a:spcBef>
                <a:spcPts val="1200"/>
              </a:spcBef>
              <a:defRPr lang="en-US" dirty="0"/>
            </a:lvl1pPr>
            <a:lvl2pPr>
              <a:spcBef>
                <a:spcPts val="600"/>
              </a:spcBef>
              <a:defRPr lang="en-US" dirty="0"/>
            </a:lvl2pPr>
            <a:lvl3pPr>
              <a:spcBef>
                <a:spcPts val="600"/>
              </a:spcBef>
              <a:defRPr lang="en-US" dirty="0"/>
            </a:lvl3pPr>
          </a:lstStyle>
          <a:p>
            <a:pPr lvl="0"/>
            <a:r>
              <a:rPr lang="en-US" dirty="0"/>
              <a:t>First bullet, Roboto Regular 20 point</a:t>
            </a:r>
          </a:p>
          <a:p>
            <a:pPr lvl="1"/>
            <a:r>
              <a:rPr lang="en-US" dirty="0"/>
              <a:t>Second bullet, </a:t>
            </a:r>
            <a:r>
              <a:rPr lang="en-US" dirty="0" err="1"/>
              <a:t>Roboto</a:t>
            </a:r>
            <a:r>
              <a:rPr lang="en-US" dirty="0"/>
              <a:t> Regular 18 point</a:t>
            </a:r>
          </a:p>
          <a:p>
            <a:pPr lvl="2"/>
            <a:r>
              <a:rPr lang="en-US" dirty="0"/>
              <a:t>Third bullet, </a:t>
            </a:r>
            <a:r>
              <a:rPr lang="en-US" dirty="0" err="1"/>
              <a:t>Roboto</a:t>
            </a:r>
            <a:r>
              <a:rPr lang="en-US" dirty="0"/>
              <a:t> Regular 16 point</a:t>
            </a:r>
          </a:p>
        </p:txBody>
      </p:sp>
      <p:sp>
        <p:nvSpPr>
          <p:cNvPr id="23" name="TextBox 22">
            <a:extLst>
              <a:ext uri="{FF2B5EF4-FFF2-40B4-BE49-F238E27FC236}">
                <a16:creationId xmlns:a16="http://schemas.microsoft.com/office/drawing/2014/main" id="{BCF260CE-EC9E-49A9-9345-D0C73BFC8564}"/>
              </a:ext>
            </a:extLst>
          </p:cNvPr>
          <p:cNvSpPr txBox="1"/>
          <p:nvPr userDrawn="1"/>
        </p:nvSpPr>
        <p:spPr>
          <a:xfrm>
            <a:off x="262328" y="6365106"/>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900" b="0" i="0" kern="1200" smtClean="0">
                <a:solidFill>
                  <a:schemeClr val="bg1"/>
                </a:solidFill>
                <a:latin typeface="Roboto" charset="0"/>
                <a:ea typeface="Roboto" charset="0"/>
                <a:cs typeface="Roboto" charset="0"/>
              </a:rPr>
              <a:pPr marL="0" lvl="0" algn="ctr" defTabSz="457200" rtl="0" eaLnBrk="1" latinLnBrk="0" hangingPunct="1"/>
              <a:t>‹#›</a:t>
            </a:fld>
            <a:endParaRPr lang="en-US" sz="900" b="0" i="0" kern="1200" dirty="0">
              <a:solidFill>
                <a:schemeClr val="bg1"/>
              </a:solidFill>
              <a:latin typeface="Roboto" charset="0"/>
              <a:ea typeface="Roboto" charset="0"/>
              <a:cs typeface="Roboto" charset="0"/>
            </a:endParaRPr>
          </a:p>
        </p:txBody>
      </p:sp>
      <p:sp>
        <p:nvSpPr>
          <p:cNvPr id="3" name="TextBox 2">
            <a:extLst>
              <a:ext uri="{FF2B5EF4-FFF2-40B4-BE49-F238E27FC236}">
                <a16:creationId xmlns:a16="http://schemas.microsoft.com/office/drawing/2014/main" id="{8FE6C657-C7BA-4DE2-8E6E-209687CFF525}"/>
              </a:ext>
            </a:extLst>
          </p:cNvPr>
          <p:cNvSpPr txBox="1"/>
          <p:nvPr userDrawn="1"/>
        </p:nvSpPr>
        <p:spPr>
          <a:xfrm>
            <a:off x="1023708"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dirty="0">
                <a:solidFill>
                  <a:schemeClr val="tx1"/>
                </a:solidFill>
                <a:latin typeface="Roboto" charset="0"/>
                <a:ea typeface="Roboto" charset="0"/>
                <a:cs typeface="Roboto" charset="0"/>
              </a:rPr>
              <a:t>© Informatica. Proprietary and Confidential.</a:t>
            </a:r>
          </a:p>
        </p:txBody>
      </p:sp>
      <p:sp>
        <p:nvSpPr>
          <p:cNvPr id="8" name="Text Placeholder 4">
            <a:extLst>
              <a:ext uri="{FF2B5EF4-FFF2-40B4-BE49-F238E27FC236}">
                <a16:creationId xmlns:a16="http://schemas.microsoft.com/office/drawing/2014/main" id="{4CF91B0E-D5A0-324C-BB42-E95DF9E10F3F}"/>
              </a:ext>
            </a:extLst>
          </p:cNvPr>
          <p:cNvSpPr>
            <a:spLocks noGrp="1"/>
          </p:cNvSpPr>
          <p:nvPr>
            <p:ph type="body" sz="quarter" idx="13" hasCustomPrompt="1"/>
          </p:nvPr>
        </p:nvSpPr>
        <p:spPr>
          <a:xfrm>
            <a:off x="488951" y="1043417"/>
            <a:ext cx="11193296" cy="331601"/>
          </a:xfrm>
        </p:spPr>
        <p:txBody>
          <a:bodyPr anchor="t"/>
          <a:lstStyle>
            <a:lvl1pPr marL="0" indent="0">
              <a:buNone/>
              <a:defRPr sz="2400" i="0">
                <a:solidFill>
                  <a:schemeClr val="bg1">
                    <a:lumMod val="50000"/>
                  </a:schemeClr>
                </a:solidFill>
              </a:defRPr>
            </a:lvl1pPr>
            <a:lvl2pPr marL="169863" indent="0">
              <a:buNone/>
              <a:defRPr/>
            </a:lvl2pPr>
            <a:lvl3pPr marL="344487" indent="0">
              <a:buNone/>
              <a:defRPr/>
            </a:lvl3pPr>
            <a:lvl4pPr marL="458788" indent="0">
              <a:buNone/>
              <a:defRPr/>
            </a:lvl4pPr>
            <a:lvl5pPr marL="630237" indent="0">
              <a:buNone/>
              <a:defRPr/>
            </a:lvl5pPr>
          </a:lstStyle>
          <a:p>
            <a:pPr lvl="0"/>
            <a:r>
              <a:rPr lang="en-US" dirty="0"/>
              <a:t>Subtitle goes here, </a:t>
            </a:r>
            <a:r>
              <a:rPr lang="en-US" dirty="0" err="1"/>
              <a:t>Roboto</a:t>
            </a:r>
            <a:r>
              <a:rPr lang="en-US" dirty="0"/>
              <a:t> Regular 24 point, no longer than one line</a:t>
            </a:r>
          </a:p>
        </p:txBody>
      </p:sp>
    </p:spTree>
    <p:extLst>
      <p:ext uri="{BB962C8B-B14F-4D97-AF65-F5344CB8AC3E}">
        <p14:creationId xmlns:p14="http://schemas.microsoft.com/office/powerpoint/2010/main" val="2155307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Statemen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CCFB0132-0FBA-4C9D-862D-7AF98DF626CB}"/>
              </a:ext>
            </a:extLst>
          </p:cNvPr>
          <p:cNvSpPr>
            <a:spLocks noGrp="1"/>
          </p:cNvSpPr>
          <p:nvPr>
            <p:ph type="title" hasCustomPrompt="1"/>
          </p:nvPr>
        </p:nvSpPr>
        <p:spPr>
          <a:xfrm>
            <a:off x="1155588" y="978954"/>
            <a:ext cx="9326943" cy="1711083"/>
          </a:xfrm>
          <a:prstGeom prst="rect">
            <a:avLst/>
          </a:prstGeom>
        </p:spPr>
        <p:txBody>
          <a:bodyPr lIns="0"/>
          <a:lstStyle>
            <a:lvl1pPr>
              <a:defRPr sz="5400" baseline="0">
                <a:solidFill>
                  <a:schemeClr val="bg1"/>
                </a:solidFill>
              </a:defRPr>
            </a:lvl1pPr>
          </a:lstStyle>
          <a:p>
            <a:r>
              <a:rPr lang="en-US" dirty="0"/>
              <a:t>Headline goes here, Roboto Light, 54 points</a:t>
            </a:r>
          </a:p>
        </p:txBody>
      </p:sp>
      <p:sp>
        <p:nvSpPr>
          <p:cNvPr id="10" name="Text Placeholder 37">
            <a:extLst>
              <a:ext uri="{FF2B5EF4-FFF2-40B4-BE49-F238E27FC236}">
                <a16:creationId xmlns:a16="http://schemas.microsoft.com/office/drawing/2014/main" id="{CF7AE493-F1DD-46C1-BCA5-1D963629098E}"/>
              </a:ext>
            </a:extLst>
          </p:cNvPr>
          <p:cNvSpPr>
            <a:spLocks noGrp="1"/>
          </p:cNvSpPr>
          <p:nvPr>
            <p:ph type="body" sz="quarter" idx="10" hasCustomPrompt="1"/>
          </p:nvPr>
        </p:nvSpPr>
        <p:spPr>
          <a:xfrm>
            <a:off x="1155588" y="2869909"/>
            <a:ext cx="6491549" cy="1528756"/>
          </a:xfrm>
        </p:spPr>
        <p:txBody>
          <a:bodyPr lIns="0"/>
          <a:lstStyle>
            <a:lvl1pPr marL="0" indent="0">
              <a:buNone/>
              <a:defRPr lang="en-US" sz="2400" baseline="0" smtClean="0">
                <a:solidFill>
                  <a:schemeClr val="bg1"/>
                </a:solidFill>
                <a:latin typeface="Roboto Lt" charset="0"/>
                <a:ea typeface="Roboto Lt" charset="0"/>
                <a:cs typeface="Roboto Lt" charset="0"/>
              </a:defRPr>
            </a:lvl1pPr>
            <a:lvl2pPr>
              <a:defRPr lang="en-US" smtClean="0"/>
            </a:lvl2pPr>
            <a:lvl3pPr>
              <a:defRPr lang="en-US" smtClean="0"/>
            </a:lvl3pPr>
            <a:lvl4pPr>
              <a:defRPr lang="en-US" smtClean="0"/>
            </a:lvl4pPr>
            <a:lvl5pPr>
              <a:defRPr lang="en-US"/>
            </a:lvl5pPr>
          </a:lstStyle>
          <a:p>
            <a:pPr marL="457200" lvl="0" indent="-457200">
              <a:lnSpc>
                <a:spcPct val="90000"/>
              </a:lnSpc>
              <a:spcBef>
                <a:spcPct val="0"/>
              </a:spcBef>
            </a:pPr>
            <a:r>
              <a:rPr lang="en-US" dirty="0"/>
              <a:t>Secondary statement</a:t>
            </a:r>
          </a:p>
        </p:txBody>
      </p:sp>
      <p:pic>
        <p:nvPicPr>
          <p:cNvPr id="11" name="Picture 10">
            <a:extLst>
              <a:ext uri="{FF2B5EF4-FFF2-40B4-BE49-F238E27FC236}">
                <a16:creationId xmlns:a16="http://schemas.microsoft.com/office/drawing/2014/main" id="{398F1D56-3D27-D54F-9E97-FBCD50BB886E}"/>
              </a:ext>
            </a:extLst>
          </p:cNvPr>
          <p:cNvPicPr>
            <a:picLocks noChangeAspect="1"/>
          </p:cNvPicPr>
          <p:nvPr userDrawn="1"/>
        </p:nvPicPr>
        <p:blipFill>
          <a:blip r:embed="rId3"/>
          <a:stretch>
            <a:fillRect/>
          </a:stretch>
        </p:blipFill>
        <p:spPr>
          <a:xfrm>
            <a:off x="9458461" y="6007608"/>
            <a:ext cx="2478024" cy="849901"/>
          </a:xfrm>
          <a:prstGeom prst="rect">
            <a:avLst/>
          </a:prstGeom>
        </p:spPr>
      </p:pic>
    </p:spTree>
    <p:extLst>
      <p:ext uri="{BB962C8B-B14F-4D97-AF65-F5344CB8AC3E}">
        <p14:creationId xmlns:p14="http://schemas.microsoft.com/office/powerpoint/2010/main" val="2573391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Demo slide">
    <p:bg>
      <p:bgPr>
        <a:blipFill>
          <a:blip r:embed="rId2"/>
          <a:stretch>
            <a:fillRect/>
          </a:stretch>
        </a:blipFill>
        <a:effectLst/>
      </p:bgPr>
    </p:bg>
    <p:spTree>
      <p:nvGrpSpPr>
        <p:cNvPr id="1" name=""/>
        <p:cNvGrpSpPr/>
        <p:nvPr/>
      </p:nvGrpSpPr>
      <p:grpSpPr>
        <a:xfrm>
          <a:off x="0" y="0"/>
          <a:ext cx="0" cy="0"/>
          <a:chOff x="0" y="0"/>
          <a:chExt cx="0" cy="0"/>
        </a:xfrm>
      </p:grpSpPr>
      <p:sp>
        <p:nvSpPr>
          <p:cNvPr id="32" name="Text Placeholder 2">
            <a:extLst>
              <a:ext uri="{FF2B5EF4-FFF2-40B4-BE49-F238E27FC236}">
                <a16:creationId xmlns:a16="http://schemas.microsoft.com/office/drawing/2014/main" id="{03D036BC-CEE4-495F-AE6C-C29B6F739424}"/>
              </a:ext>
            </a:extLst>
          </p:cNvPr>
          <p:cNvSpPr>
            <a:spLocks noGrp="1"/>
          </p:cNvSpPr>
          <p:nvPr>
            <p:ph type="body" idx="27" hasCustomPrompt="1"/>
          </p:nvPr>
        </p:nvSpPr>
        <p:spPr>
          <a:xfrm>
            <a:off x="1008872" y="4129458"/>
            <a:ext cx="5046038" cy="741664"/>
          </a:xfrm>
          <a:prstGeom prst="rect">
            <a:avLst/>
          </a:prstGeom>
        </p:spPr>
        <p:txBody>
          <a:bodyPr anchor="t"/>
          <a:lstStyle>
            <a:lvl1pPr marL="0" indent="0" algn="l">
              <a:buNone/>
              <a:defRPr sz="2400" b="0" baseline="0">
                <a:solidFill>
                  <a:schemeClr val="bg1"/>
                </a:solidFill>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2" indent="0">
              <a:buNone/>
              <a:defRPr sz="1600" b="1"/>
            </a:lvl6pPr>
            <a:lvl7pPr marL="2742651" indent="0">
              <a:buNone/>
              <a:defRPr sz="1600" b="1"/>
            </a:lvl7pPr>
            <a:lvl8pPr marL="3199760" indent="0">
              <a:buNone/>
              <a:defRPr sz="1600" b="1"/>
            </a:lvl8pPr>
            <a:lvl9pPr marL="3656869" indent="0">
              <a:buNone/>
              <a:defRPr sz="1600" b="1"/>
            </a:lvl9pPr>
          </a:lstStyle>
          <a:p>
            <a:pPr lvl="0"/>
            <a:r>
              <a:rPr lang="en-US" dirty="0"/>
              <a:t>Subtitle goes here</a:t>
            </a:r>
          </a:p>
        </p:txBody>
      </p:sp>
      <p:pic>
        <p:nvPicPr>
          <p:cNvPr id="21" name="Shape 837">
            <a:extLst>
              <a:ext uri="{FF2B5EF4-FFF2-40B4-BE49-F238E27FC236}">
                <a16:creationId xmlns:a16="http://schemas.microsoft.com/office/drawing/2014/main" id="{FCE5B30E-BD98-4A8E-AC96-A66F728F6770}"/>
              </a:ext>
            </a:extLst>
          </p:cNvPr>
          <p:cNvPicPr preferRelativeResize="0"/>
          <p:nvPr userDrawn="1"/>
        </p:nvPicPr>
        <p:blipFill rotWithShape="1">
          <a:blip r:embed="rId3" cstate="screen">
            <a:alphaModFix/>
            <a:extLst>
              <a:ext uri="{28A0092B-C50C-407E-A947-70E740481C1C}">
                <a14:useLocalDpi xmlns:a14="http://schemas.microsoft.com/office/drawing/2010/main"/>
              </a:ext>
            </a:extLst>
          </a:blip>
          <a:srcRect/>
          <a:stretch/>
        </p:blipFill>
        <p:spPr>
          <a:xfrm>
            <a:off x="5941606" y="919357"/>
            <a:ext cx="5433383" cy="4455053"/>
          </a:xfrm>
          <a:prstGeom prst="rect">
            <a:avLst/>
          </a:prstGeom>
          <a:noFill/>
          <a:ln>
            <a:noFill/>
          </a:ln>
        </p:spPr>
      </p:pic>
      <p:sp>
        <p:nvSpPr>
          <p:cNvPr id="22" name="Content Placeholder 5">
            <a:extLst>
              <a:ext uri="{FF2B5EF4-FFF2-40B4-BE49-F238E27FC236}">
                <a16:creationId xmlns:a16="http://schemas.microsoft.com/office/drawing/2014/main" id="{C6F46B91-45F9-4885-97BF-71E7C27704A6}"/>
              </a:ext>
            </a:extLst>
          </p:cNvPr>
          <p:cNvSpPr>
            <a:spLocks noGrp="1"/>
          </p:cNvSpPr>
          <p:nvPr>
            <p:ph sz="quarter" idx="14" hasCustomPrompt="1"/>
          </p:nvPr>
        </p:nvSpPr>
        <p:spPr>
          <a:xfrm>
            <a:off x="976788" y="1853877"/>
            <a:ext cx="5027455" cy="1922984"/>
          </a:xfrm>
        </p:spPr>
        <p:txBody>
          <a:bodyPr vert="horz" lIns="0" tIns="0" rIns="0" bIns="0" rtlCol="0" anchor="ctr" anchorCtr="0">
            <a:noAutofit/>
          </a:bodyPr>
          <a:lstStyle>
            <a:lvl1pPr marL="0" indent="0">
              <a:buNone/>
              <a:defRPr lang="en-US" sz="6600" baseline="0" dirty="0">
                <a:solidFill>
                  <a:schemeClr val="bg1"/>
                </a:solidFill>
                <a:latin typeface="+mj-lt"/>
              </a:defRPr>
            </a:lvl1pPr>
          </a:lstStyle>
          <a:p>
            <a:pPr marL="173038" lvl="0" indent="-173038"/>
            <a:r>
              <a:rPr lang="en-US" dirty="0"/>
              <a:t>DEMO</a:t>
            </a:r>
          </a:p>
        </p:txBody>
      </p:sp>
      <p:sp>
        <p:nvSpPr>
          <p:cNvPr id="24" name="Picture Placeholder 6">
            <a:extLst>
              <a:ext uri="{FF2B5EF4-FFF2-40B4-BE49-F238E27FC236}">
                <a16:creationId xmlns:a16="http://schemas.microsoft.com/office/drawing/2014/main" id="{278EB4C9-6423-4889-877F-CF2AB219040E}"/>
              </a:ext>
            </a:extLst>
          </p:cNvPr>
          <p:cNvSpPr>
            <a:spLocks noGrp="1"/>
          </p:cNvSpPr>
          <p:nvPr>
            <p:ph type="pic" sz="quarter" idx="15" hasCustomPrompt="1"/>
          </p:nvPr>
        </p:nvSpPr>
        <p:spPr>
          <a:xfrm>
            <a:off x="6367357" y="1169109"/>
            <a:ext cx="4617739" cy="2542488"/>
          </a:xfrm>
          <a:solidFill>
            <a:schemeClr val="bg1">
              <a:lumMod val="95000"/>
            </a:schemeClr>
          </a:solidFill>
        </p:spPr>
        <p:txBody>
          <a:bodyPr anchor="ctr"/>
          <a:lstStyle>
            <a:lvl1pPr marL="0" indent="0" algn="ctr">
              <a:buNone/>
              <a:defRPr/>
            </a:lvl1pPr>
          </a:lstStyle>
          <a:p>
            <a:r>
              <a:rPr lang="en-US" dirty="0"/>
              <a:t>CLICK TO INSERT SCREENSHOT</a:t>
            </a:r>
          </a:p>
        </p:txBody>
      </p:sp>
      <p:pic>
        <p:nvPicPr>
          <p:cNvPr id="10" name="Picture 9">
            <a:extLst>
              <a:ext uri="{FF2B5EF4-FFF2-40B4-BE49-F238E27FC236}">
                <a16:creationId xmlns:a16="http://schemas.microsoft.com/office/drawing/2014/main" id="{ABBF2312-C2F4-E64E-8B1C-09E90527A9FB}"/>
              </a:ext>
            </a:extLst>
          </p:cNvPr>
          <p:cNvPicPr>
            <a:picLocks noChangeAspect="1"/>
          </p:cNvPicPr>
          <p:nvPr userDrawn="1"/>
        </p:nvPicPr>
        <p:blipFill>
          <a:blip r:embed="rId4"/>
          <a:stretch>
            <a:fillRect/>
          </a:stretch>
        </p:blipFill>
        <p:spPr>
          <a:xfrm>
            <a:off x="9458461" y="6007608"/>
            <a:ext cx="2478024" cy="849901"/>
          </a:xfrm>
          <a:prstGeom prst="rect">
            <a:avLst/>
          </a:prstGeom>
        </p:spPr>
      </p:pic>
    </p:spTree>
    <p:extLst>
      <p:ext uri="{BB962C8B-B14F-4D97-AF65-F5344CB8AC3E}">
        <p14:creationId xmlns:p14="http://schemas.microsoft.com/office/powerpoint/2010/main" val="1118108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Content/Half-Blank 3">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7EA730E-202D-4D0A-9895-8A3DA0473740}"/>
              </a:ext>
            </a:extLst>
          </p:cNvPr>
          <p:cNvSpPr/>
          <p:nvPr userDrawn="1"/>
        </p:nvSpPr>
        <p:spPr>
          <a:xfrm>
            <a:off x="1"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9" name="Content Placeholder 5">
            <a:extLst>
              <a:ext uri="{FF2B5EF4-FFF2-40B4-BE49-F238E27FC236}">
                <a16:creationId xmlns:a16="http://schemas.microsoft.com/office/drawing/2014/main" id="{72E72F80-91EB-43D3-9057-E2DC59B75471}"/>
              </a:ext>
            </a:extLst>
          </p:cNvPr>
          <p:cNvSpPr>
            <a:spLocks noGrp="1"/>
          </p:cNvSpPr>
          <p:nvPr>
            <p:ph sz="quarter" idx="14" hasCustomPrompt="1"/>
          </p:nvPr>
        </p:nvSpPr>
        <p:spPr>
          <a:xfrm>
            <a:off x="493713" y="1854200"/>
            <a:ext cx="5424487" cy="4165600"/>
          </a:xfrm>
          <a:noFill/>
        </p:spPr>
        <p:txBody>
          <a:bodyPr/>
          <a:lstStyle>
            <a:lvl1pPr>
              <a:buClr>
                <a:schemeClr val="bg1"/>
              </a:buClr>
              <a:defRPr baseline="0">
                <a:solidFill>
                  <a:schemeClr val="bg1"/>
                </a:solidFill>
              </a:defRPr>
            </a:lvl1pPr>
            <a:lvl2pPr marL="514350" indent="-169863">
              <a:defRPr baseline="0">
                <a:solidFill>
                  <a:schemeClr val="bg1"/>
                </a:solidFill>
              </a:defRPr>
            </a:lvl2pPr>
            <a:lvl3pPr>
              <a:defRPr lang="en-US" sz="1600" b="0" i="0" kern="1200" dirty="0">
                <a:solidFill>
                  <a:schemeClr val="bg1"/>
                </a:solidFill>
                <a:latin typeface="Roboto" charset="0"/>
                <a:ea typeface="Roboto" charset="0"/>
                <a:cs typeface="Roboto" charset="0"/>
              </a:defRPr>
            </a:lvl3pPr>
          </a:lstStyle>
          <a:p>
            <a:pPr lvl="0"/>
            <a:r>
              <a:rPr lang="en-US" dirty="0"/>
              <a:t>First bullet, Roboto Regular 20 point</a:t>
            </a:r>
          </a:p>
        </p:txBody>
      </p:sp>
      <p:sp>
        <p:nvSpPr>
          <p:cNvPr id="10" name="Title 1">
            <a:extLst>
              <a:ext uri="{FF2B5EF4-FFF2-40B4-BE49-F238E27FC236}">
                <a16:creationId xmlns:a16="http://schemas.microsoft.com/office/drawing/2014/main" id="{B96418C4-B832-4880-8986-EEAA2D4D84BA}"/>
              </a:ext>
            </a:extLst>
          </p:cNvPr>
          <p:cNvSpPr>
            <a:spLocks noGrp="1"/>
          </p:cNvSpPr>
          <p:nvPr>
            <p:ph type="title" hasCustomPrompt="1"/>
          </p:nvPr>
        </p:nvSpPr>
        <p:spPr>
          <a:xfrm>
            <a:off x="482474" y="482602"/>
            <a:ext cx="5429939" cy="1066798"/>
          </a:xfrm>
          <a:prstGeom prst="rect">
            <a:avLst/>
          </a:prstGeom>
          <a:noFill/>
        </p:spPr>
        <p:txBody>
          <a:bodyPr/>
          <a:lstStyle>
            <a:lvl1pPr>
              <a:defRPr baseline="0">
                <a:solidFill>
                  <a:schemeClr val="bg1"/>
                </a:solidFill>
              </a:defRPr>
            </a:lvl1pPr>
          </a:lstStyle>
          <a:p>
            <a:r>
              <a:rPr lang="en-US" dirty="0"/>
              <a:t>Headline Goes Here, Roboto Light, 36 Points</a:t>
            </a:r>
          </a:p>
        </p:txBody>
      </p:sp>
      <p:sp>
        <p:nvSpPr>
          <p:cNvPr id="2" name="TextBox 1">
            <a:extLst>
              <a:ext uri="{FF2B5EF4-FFF2-40B4-BE49-F238E27FC236}">
                <a16:creationId xmlns:a16="http://schemas.microsoft.com/office/drawing/2014/main" id="{6C099F2A-1805-4D4C-A962-65D06960807B}"/>
              </a:ext>
            </a:extLst>
          </p:cNvPr>
          <p:cNvSpPr txBox="1"/>
          <p:nvPr userDrawn="1"/>
        </p:nvSpPr>
        <p:spPr>
          <a:xfrm>
            <a:off x="176868" y="6365106"/>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900" b="0" i="0" kern="1200" smtClean="0">
                <a:solidFill>
                  <a:schemeClr val="bg1"/>
                </a:solidFill>
                <a:latin typeface="Roboto" charset="0"/>
                <a:ea typeface="Roboto" charset="0"/>
                <a:cs typeface="Roboto" charset="0"/>
              </a:rPr>
              <a:pPr marL="0" lvl="0" algn="ctr" defTabSz="457200" rtl="0" eaLnBrk="1" latinLnBrk="0" hangingPunct="1"/>
              <a:t>‹#›</a:t>
            </a:fld>
            <a:endParaRPr lang="en-US" sz="900" b="0" i="0" kern="1200" dirty="0">
              <a:solidFill>
                <a:schemeClr val="bg1"/>
              </a:solidFill>
              <a:latin typeface="Roboto" charset="0"/>
              <a:ea typeface="Roboto" charset="0"/>
              <a:cs typeface="Roboto" charset="0"/>
            </a:endParaRPr>
          </a:p>
        </p:txBody>
      </p:sp>
      <p:sp>
        <p:nvSpPr>
          <p:cNvPr id="5" name="TextBox 4">
            <a:extLst>
              <a:ext uri="{FF2B5EF4-FFF2-40B4-BE49-F238E27FC236}">
                <a16:creationId xmlns:a16="http://schemas.microsoft.com/office/drawing/2014/main" id="{03AA5F3A-99AF-469C-A940-3C0655CBA6CC}"/>
              </a:ext>
            </a:extLst>
          </p:cNvPr>
          <p:cNvSpPr txBox="1"/>
          <p:nvPr userDrawn="1"/>
        </p:nvSpPr>
        <p:spPr>
          <a:xfrm>
            <a:off x="1023708"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dirty="0">
                <a:solidFill>
                  <a:schemeClr val="bg1"/>
                </a:solidFill>
                <a:latin typeface="Roboto" charset="0"/>
                <a:ea typeface="Roboto" charset="0"/>
                <a:cs typeface="Roboto" charset="0"/>
              </a:rPr>
              <a:t>© Informatica. Proprietary and Confidential.</a:t>
            </a:r>
          </a:p>
        </p:txBody>
      </p:sp>
    </p:spTree>
    <p:extLst>
      <p:ext uri="{BB962C8B-B14F-4D97-AF65-F5344CB8AC3E}">
        <p14:creationId xmlns:p14="http://schemas.microsoft.com/office/powerpoint/2010/main" val="850101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Content/Half-Blank 4">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7EA730E-202D-4D0A-9895-8A3DA0473740}"/>
              </a:ext>
            </a:extLst>
          </p:cNvPr>
          <p:cNvSpPr/>
          <p:nvPr userDrawn="1"/>
        </p:nvSpPr>
        <p:spPr>
          <a:xfrm>
            <a:off x="6461185" y="0"/>
            <a:ext cx="574424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9" name="Content Placeholder 5">
            <a:extLst>
              <a:ext uri="{FF2B5EF4-FFF2-40B4-BE49-F238E27FC236}">
                <a16:creationId xmlns:a16="http://schemas.microsoft.com/office/drawing/2014/main" id="{72E72F80-91EB-43D3-9057-E2DC59B75471}"/>
              </a:ext>
            </a:extLst>
          </p:cNvPr>
          <p:cNvSpPr>
            <a:spLocks noGrp="1"/>
          </p:cNvSpPr>
          <p:nvPr>
            <p:ph sz="quarter" idx="14" hasCustomPrompt="1"/>
          </p:nvPr>
        </p:nvSpPr>
        <p:spPr>
          <a:xfrm>
            <a:off x="6694098" y="1854200"/>
            <a:ext cx="4983552" cy="4165600"/>
          </a:xfrm>
        </p:spPr>
        <p:txBody>
          <a:bodyPr/>
          <a:lstStyle>
            <a:lvl1pPr>
              <a:buClr>
                <a:schemeClr val="bg1"/>
              </a:buClr>
              <a:defRPr baseline="0">
                <a:solidFill>
                  <a:schemeClr val="bg1"/>
                </a:solidFill>
              </a:defRPr>
            </a:lvl1pPr>
            <a:lvl2pPr marL="514350" indent="-169863">
              <a:defRPr baseline="0">
                <a:solidFill>
                  <a:schemeClr val="bg1"/>
                </a:solidFill>
              </a:defRPr>
            </a:lvl2pPr>
            <a:lvl3pPr>
              <a:defRPr lang="en-US" sz="1600" b="0" i="0" kern="1200" dirty="0">
                <a:solidFill>
                  <a:schemeClr val="bg1"/>
                </a:solidFill>
                <a:latin typeface="Roboto" charset="0"/>
                <a:ea typeface="Roboto" charset="0"/>
                <a:cs typeface="Roboto" charset="0"/>
              </a:defRPr>
            </a:lvl3pPr>
          </a:lstStyle>
          <a:p>
            <a:pPr lvl="0"/>
            <a:r>
              <a:rPr lang="en-US" dirty="0"/>
              <a:t>First bullet, Roboto Regular 20 point</a:t>
            </a:r>
          </a:p>
        </p:txBody>
      </p:sp>
      <p:sp>
        <p:nvSpPr>
          <p:cNvPr id="10" name="Title 1">
            <a:extLst>
              <a:ext uri="{FF2B5EF4-FFF2-40B4-BE49-F238E27FC236}">
                <a16:creationId xmlns:a16="http://schemas.microsoft.com/office/drawing/2014/main" id="{B96418C4-B832-4880-8986-EEAA2D4D84BA}"/>
              </a:ext>
            </a:extLst>
          </p:cNvPr>
          <p:cNvSpPr>
            <a:spLocks noGrp="1"/>
          </p:cNvSpPr>
          <p:nvPr>
            <p:ph type="title" hasCustomPrompt="1"/>
          </p:nvPr>
        </p:nvSpPr>
        <p:spPr>
          <a:xfrm>
            <a:off x="6683301" y="482602"/>
            <a:ext cx="4988561" cy="1066798"/>
          </a:xfrm>
          <a:prstGeom prst="rect">
            <a:avLst/>
          </a:prstGeom>
        </p:spPr>
        <p:txBody>
          <a:bodyPr/>
          <a:lstStyle>
            <a:lvl1pPr>
              <a:defRPr baseline="0">
                <a:solidFill>
                  <a:schemeClr val="bg1"/>
                </a:solidFill>
              </a:defRPr>
            </a:lvl1pPr>
          </a:lstStyle>
          <a:p>
            <a:r>
              <a:rPr lang="en-US" dirty="0"/>
              <a:t>Headline Goes Here, Roboto Light, 36 Points</a:t>
            </a:r>
          </a:p>
        </p:txBody>
      </p:sp>
      <p:sp>
        <p:nvSpPr>
          <p:cNvPr id="3" name="TextBox 2">
            <a:extLst>
              <a:ext uri="{FF2B5EF4-FFF2-40B4-BE49-F238E27FC236}">
                <a16:creationId xmlns:a16="http://schemas.microsoft.com/office/drawing/2014/main" id="{9A450B05-90D8-4F04-932F-83CD8495F832}"/>
              </a:ext>
            </a:extLst>
          </p:cNvPr>
          <p:cNvSpPr txBox="1"/>
          <p:nvPr userDrawn="1"/>
        </p:nvSpPr>
        <p:spPr>
          <a:xfrm>
            <a:off x="176868" y="6365106"/>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900" b="0" i="0" kern="1200" smtClean="0">
                <a:solidFill>
                  <a:schemeClr val="tx1"/>
                </a:solidFill>
                <a:latin typeface="Roboto" charset="0"/>
                <a:ea typeface="Roboto" charset="0"/>
                <a:cs typeface="Roboto" charset="0"/>
              </a:rPr>
              <a:pPr marL="0" lvl="0" algn="ctr" defTabSz="457200" rtl="0" eaLnBrk="1" latinLnBrk="0" hangingPunct="1"/>
              <a:t>‹#›</a:t>
            </a:fld>
            <a:endParaRPr lang="en-US" sz="900" b="0" i="0" kern="1200" dirty="0">
              <a:solidFill>
                <a:schemeClr val="tx1"/>
              </a:solidFill>
              <a:latin typeface="Roboto" charset="0"/>
              <a:ea typeface="Roboto" charset="0"/>
              <a:cs typeface="Roboto" charset="0"/>
            </a:endParaRPr>
          </a:p>
        </p:txBody>
      </p:sp>
      <p:sp>
        <p:nvSpPr>
          <p:cNvPr id="6" name="TextBox 5">
            <a:extLst>
              <a:ext uri="{FF2B5EF4-FFF2-40B4-BE49-F238E27FC236}">
                <a16:creationId xmlns:a16="http://schemas.microsoft.com/office/drawing/2014/main" id="{D04B70F9-FF2A-487C-8807-EEB5ACDB4AD2}"/>
              </a:ext>
            </a:extLst>
          </p:cNvPr>
          <p:cNvSpPr txBox="1"/>
          <p:nvPr userDrawn="1"/>
        </p:nvSpPr>
        <p:spPr>
          <a:xfrm>
            <a:off x="1023708"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dirty="0">
                <a:solidFill>
                  <a:schemeClr val="tx1"/>
                </a:solidFill>
                <a:latin typeface="Roboto" charset="0"/>
                <a:ea typeface="Roboto" charset="0"/>
                <a:cs typeface="Roboto" charset="0"/>
              </a:rPr>
              <a:t>© Informatica. Proprietary and Confidential.</a:t>
            </a:r>
          </a:p>
        </p:txBody>
      </p:sp>
    </p:spTree>
    <p:extLst>
      <p:ext uri="{BB962C8B-B14F-4D97-AF65-F5344CB8AC3E}">
        <p14:creationId xmlns:p14="http://schemas.microsoft.com/office/powerpoint/2010/main" val="4029143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 Placeholder 23"/>
          <p:cNvSpPr>
            <a:spLocks noGrp="1"/>
          </p:cNvSpPr>
          <p:nvPr>
            <p:ph type="body" sz="quarter" idx="11"/>
          </p:nvPr>
        </p:nvSpPr>
        <p:spPr>
          <a:xfrm>
            <a:off x="488950" y="2483612"/>
            <a:ext cx="9394638" cy="1292860"/>
          </a:xfrm>
          <a:prstGeom prst="rect">
            <a:avLst/>
          </a:prstGeom>
        </p:spPr>
        <p:txBody>
          <a:bodyPr anchor="b"/>
          <a:lstStyle>
            <a:lvl1pPr marL="0" indent="0">
              <a:buNone/>
              <a:defRPr sz="4800" b="0" i="0">
                <a:solidFill>
                  <a:schemeClr val="bg1"/>
                </a:solidFill>
                <a:latin typeface="+mj-lt"/>
                <a:ea typeface="Roboto Lt" charset="0"/>
                <a:cs typeface="Roboto Lt" charset="0"/>
              </a:defRPr>
            </a:lvl1pPr>
            <a:lvl2pPr marL="457108" indent="0">
              <a:buNone/>
              <a:defRPr/>
            </a:lvl2pPr>
            <a:lvl3pPr marL="914217" indent="0">
              <a:buNone/>
              <a:defRPr/>
            </a:lvl3pPr>
            <a:lvl4pPr marL="1371326" indent="0">
              <a:buNone/>
              <a:defRPr/>
            </a:lvl4pPr>
            <a:lvl5pPr marL="1828435" indent="0">
              <a:buNone/>
              <a:defRPr/>
            </a:lvl5pPr>
          </a:lstStyle>
          <a:p>
            <a:pPr lvl="0"/>
            <a:endParaRPr lang="en-US" dirty="0"/>
          </a:p>
        </p:txBody>
      </p:sp>
      <p:sp>
        <p:nvSpPr>
          <p:cNvPr id="6" name="Text Placeholder 27">
            <a:extLst>
              <a:ext uri="{FF2B5EF4-FFF2-40B4-BE49-F238E27FC236}">
                <a16:creationId xmlns:a16="http://schemas.microsoft.com/office/drawing/2014/main" id="{6D464F48-702C-470A-84C0-4DE06B9EE062}"/>
              </a:ext>
            </a:extLst>
          </p:cNvPr>
          <p:cNvSpPr>
            <a:spLocks noGrp="1"/>
          </p:cNvSpPr>
          <p:nvPr>
            <p:ph type="body" sz="quarter" idx="13"/>
          </p:nvPr>
        </p:nvSpPr>
        <p:spPr bwMode="gray">
          <a:xfrm>
            <a:off x="493712" y="3831337"/>
            <a:ext cx="6693472" cy="475487"/>
          </a:xfrm>
          <a:prstGeom prst="rect">
            <a:avLst/>
          </a:prstGeom>
        </p:spPr>
        <p:txBody>
          <a:bodyPr vert="horz" lIns="0" tIns="0" rIns="0" bIns="0" rtlCol="0">
            <a:noAutofit/>
          </a:bodyPr>
          <a:lstStyle>
            <a:lvl1pPr marL="0" indent="0">
              <a:buNone/>
              <a:defRPr lang="en-US" sz="2800" i="0" baseline="0" dirty="0">
                <a:solidFill>
                  <a:schemeClr val="bg1"/>
                </a:solidFill>
                <a:latin typeface="Roboto Lt" charset="0"/>
                <a:ea typeface="Roboto Lt" charset="0"/>
                <a:cs typeface="Roboto Lt" charset="0"/>
              </a:defRPr>
            </a:lvl1pPr>
          </a:lstStyle>
          <a:p>
            <a:pPr marL="173038" lvl="0" indent="-173038"/>
            <a:endParaRPr lang="en-US" dirty="0"/>
          </a:p>
        </p:txBody>
      </p:sp>
      <p:pic>
        <p:nvPicPr>
          <p:cNvPr id="10" name="Picture 9">
            <a:extLst>
              <a:ext uri="{FF2B5EF4-FFF2-40B4-BE49-F238E27FC236}">
                <a16:creationId xmlns:a16="http://schemas.microsoft.com/office/drawing/2014/main" id="{8F398053-DA81-7944-9113-9D62FE9382B8}"/>
              </a:ext>
            </a:extLst>
          </p:cNvPr>
          <p:cNvPicPr>
            <a:picLocks noChangeAspect="1"/>
          </p:cNvPicPr>
          <p:nvPr userDrawn="1"/>
        </p:nvPicPr>
        <p:blipFill>
          <a:blip r:embed="rId3"/>
          <a:stretch>
            <a:fillRect/>
          </a:stretch>
        </p:blipFill>
        <p:spPr>
          <a:xfrm>
            <a:off x="9458461" y="6007608"/>
            <a:ext cx="2478024" cy="849901"/>
          </a:xfrm>
          <a:prstGeom prst="rect">
            <a:avLst/>
          </a:prstGeom>
        </p:spPr>
      </p:pic>
    </p:spTree>
    <p:extLst>
      <p:ext uri="{BB962C8B-B14F-4D97-AF65-F5344CB8AC3E}">
        <p14:creationId xmlns:p14="http://schemas.microsoft.com/office/powerpoint/2010/main" val="2295910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Section Divider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 Placeholder 23"/>
          <p:cNvSpPr>
            <a:spLocks noGrp="1"/>
          </p:cNvSpPr>
          <p:nvPr>
            <p:ph type="body" sz="quarter" idx="11"/>
          </p:nvPr>
        </p:nvSpPr>
        <p:spPr>
          <a:xfrm>
            <a:off x="488950" y="2483612"/>
            <a:ext cx="7673975" cy="1292860"/>
          </a:xfrm>
          <a:prstGeom prst="rect">
            <a:avLst/>
          </a:prstGeom>
        </p:spPr>
        <p:txBody>
          <a:bodyPr anchor="b"/>
          <a:lstStyle>
            <a:lvl1pPr marL="0" indent="0">
              <a:buNone/>
              <a:defRPr sz="4800" b="0" i="0">
                <a:solidFill>
                  <a:schemeClr val="accent1"/>
                </a:solidFill>
                <a:latin typeface="+mj-lt"/>
                <a:ea typeface="Roboto Lt" charset="0"/>
                <a:cs typeface="Roboto Lt" charset="0"/>
              </a:defRPr>
            </a:lvl1pPr>
            <a:lvl2pPr marL="457108" indent="0">
              <a:buNone/>
              <a:defRPr/>
            </a:lvl2pPr>
            <a:lvl3pPr marL="914217" indent="0">
              <a:buNone/>
              <a:defRPr/>
            </a:lvl3pPr>
            <a:lvl4pPr marL="1371326" indent="0">
              <a:buNone/>
              <a:defRPr/>
            </a:lvl4pPr>
            <a:lvl5pPr marL="1828435" indent="0">
              <a:buNone/>
              <a:defRPr/>
            </a:lvl5pPr>
          </a:lstStyle>
          <a:p>
            <a:pPr lvl="0"/>
            <a:endParaRPr lang="en-US" dirty="0"/>
          </a:p>
        </p:txBody>
      </p:sp>
      <p:sp>
        <p:nvSpPr>
          <p:cNvPr id="6" name="Text Placeholder 27">
            <a:extLst>
              <a:ext uri="{FF2B5EF4-FFF2-40B4-BE49-F238E27FC236}">
                <a16:creationId xmlns:a16="http://schemas.microsoft.com/office/drawing/2014/main" id="{6D464F48-702C-470A-84C0-4DE06B9EE062}"/>
              </a:ext>
            </a:extLst>
          </p:cNvPr>
          <p:cNvSpPr>
            <a:spLocks noGrp="1"/>
          </p:cNvSpPr>
          <p:nvPr>
            <p:ph type="body" sz="quarter" idx="13"/>
          </p:nvPr>
        </p:nvSpPr>
        <p:spPr bwMode="gray">
          <a:xfrm>
            <a:off x="493712" y="3831337"/>
            <a:ext cx="6693472" cy="475487"/>
          </a:xfrm>
          <a:prstGeom prst="rect">
            <a:avLst/>
          </a:prstGeom>
        </p:spPr>
        <p:txBody>
          <a:bodyPr vert="horz" lIns="0" tIns="0" rIns="0" bIns="0" rtlCol="0">
            <a:noAutofit/>
          </a:bodyPr>
          <a:lstStyle>
            <a:lvl1pPr marL="0" indent="0">
              <a:buNone/>
              <a:defRPr lang="en-US" sz="2800" i="0" baseline="0" dirty="0">
                <a:solidFill>
                  <a:schemeClr val="tx1"/>
                </a:solidFill>
                <a:latin typeface="Roboto Lt" charset="0"/>
                <a:ea typeface="Roboto Lt" charset="0"/>
                <a:cs typeface="Roboto Lt" charset="0"/>
              </a:defRPr>
            </a:lvl1pPr>
          </a:lstStyle>
          <a:p>
            <a:pPr marL="173038" lvl="0" indent="-173038"/>
            <a:endParaRPr lang="en-US" dirty="0"/>
          </a:p>
        </p:txBody>
      </p:sp>
      <p:sp>
        <p:nvSpPr>
          <p:cNvPr id="7" name="Right Triangle 6">
            <a:extLst>
              <a:ext uri="{FF2B5EF4-FFF2-40B4-BE49-F238E27FC236}">
                <a16:creationId xmlns:a16="http://schemas.microsoft.com/office/drawing/2014/main" id="{8AEF3F98-4FF0-5844-8578-DCAA7E20BED8}"/>
              </a:ext>
            </a:extLst>
          </p:cNvPr>
          <p:cNvSpPr/>
          <p:nvPr userDrawn="1"/>
        </p:nvSpPr>
        <p:spPr>
          <a:xfrm rot="5400000">
            <a:off x="1513322" y="-1513320"/>
            <a:ext cx="1292860" cy="4319501"/>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algn="ctr"/>
            <a:endParaRPr lang="en-US" sz="1600" dirty="0">
              <a:solidFill>
                <a:schemeClr val="bg1"/>
              </a:solidFill>
              <a:latin typeface="Roboto" charset="0"/>
              <a:ea typeface="Roboto" charset="0"/>
              <a:cs typeface="Roboto" charset="0"/>
            </a:endParaRPr>
          </a:p>
        </p:txBody>
      </p:sp>
      <p:pic>
        <p:nvPicPr>
          <p:cNvPr id="16" name="Picture 15">
            <a:extLst>
              <a:ext uri="{FF2B5EF4-FFF2-40B4-BE49-F238E27FC236}">
                <a16:creationId xmlns:a16="http://schemas.microsoft.com/office/drawing/2014/main" id="{B01C1D42-6FA7-8A4F-8060-379B67E364CB}"/>
              </a:ext>
            </a:extLst>
          </p:cNvPr>
          <p:cNvPicPr>
            <a:picLocks noChangeAspect="1"/>
          </p:cNvPicPr>
          <p:nvPr userDrawn="1"/>
        </p:nvPicPr>
        <p:blipFill>
          <a:blip r:embed="rId3"/>
          <a:stretch>
            <a:fillRect/>
          </a:stretch>
        </p:blipFill>
        <p:spPr>
          <a:xfrm>
            <a:off x="9458461" y="6007608"/>
            <a:ext cx="2478024" cy="849901"/>
          </a:xfrm>
          <a:prstGeom prst="rect">
            <a:avLst/>
          </a:prstGeom>
        </p:spPr>
      </p:pic>
    </p:spTree>
    <p:extLst>
      <p:ext uri="{BB962C8B-B14F-4D97-AF65-F5344CB8AC3E}">
        <p14:creationId xmlns:p14="http://schemas.microsoft.com/office/powerpoint/2010/main" val="1947081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3_Title Slide_option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Text Placeholder 23">
            <a:extLst>
              <a:ext uri="{FF2B5EF4-FFF2-40B4-BE49-F238E27FC236}">
                <a16:creationId xmlns:a16="http://schemas.microsoft.com/office/drawing/2014/main" id="{C9672BF8-FA25-446D-806F-30385012539D}"/>
              </a:ext>
            </a:extLst>
          </p:cNvPr>
          <p:cNvSpPr>
            <a:spLocks noGrp="1"/>
          </p:cNvSpPr>
          <p:nvPr>
            <p:ph type="body" sz="quarter" idx="11"/>
          </p:nvPr>
        </p:nvSpPr>
        <p:spPr>
          <a:xfrm>
            <a:off x="488950" y="2483612"/>
            <a:ext cx="7673975" cy="1292860"/>
          </a:xfrm>
          <a:prstGeom prst="rect">
            <a:avLst/>
          </a:prstGeom>
        </p:spPr>
        <p:txBody>
          <a:bodyPr anchor="b"/>
          <a:lstStyle>
            <a:lvl1pPr marL="0" indent="0">
              <a:buNone/>
              <a:defRPr sz="4800" b="0" i="0">
                <a:solidFill>
                  <a:schemeClr val="accent1"/>
                </a:solidFill>
                <a:latin typeface="+mj-lt"/>
                <a:ea typeface="Roboto Lt" charset="0"/>
                <a:cs typeface="Roboto Lt" charset="0"/>
              </a:defRPr>
            </a:lvl1pPr>
            <a:lvl2pPr marL="457108" indent="0">
              <a:buNone/>
              <a:defRPr/>
            </a:lvl2pPr>
            <a:lvl3pPr marL="914217" indent="0">
              <a:buNone/>
              <a:defRPr/>
            </a:lvl3pPr>
            <a:lvl4pPr marL="1371326" indent="0">
              <a:buNone/>
              <a:defRPr/>
            </a:lvl4pPr>
            <a:lvl5pPr marL="1828435" indent="0">
              <a:buNone/>
              <a:defRPr/>
            </a:lvl5pPr>
          </a:lstStyle>
          <a:p>
            <a:pPr lvl="0"/>
            <a:endParaRPr lang="en-US" dirty="0"/>
          </a:p>
        </p:txBody>
      </p:sp>
      <p:sp>
        <p:nvSpPr>
          <p:cNvPr id="12" name="Text Placeholder 27">
            <a:extLst>
              <a:ext uri="{FF2B5EF4-FFF2-40B4-BE49-F238E27FC236}">
                <a16:creationId xmlns:a16="http://schemas.microsoft.com/office/drawing/2014/main" id="{C8BB3E5D-BC15-45FD-ADF0-435D2E2796C4}"/>
              </a:ext>
            </a:extLst>
          </p:cNvPr>
          <p:cNvSpPr>
            <a:spLocks noGrp="1"/>
          </p:cNvSpPr>
          <p:nvPr>
            <p:ph type="body" sz="quarter" idx="13"/>
          </p:nvPr>
        </p:nvSpPr>
        <p:spPr bwMode="gray">
          <a:xfrm>
            <a:off x="493712" y="3831337"/>
            <a:ext cx="6693472" cy="475487"/>
          </a:xfrm>
          <a:prstGeom prst="rect">
            <a:avLst/>
          </a:prstGeom>
        </p:spPr>
        <p:txBody>
          <a:bodyPr vert="horz" lIns="0" tIns="0" rIns="0" bIns="0" rtlCol="0">
            <a:noAutofit/>
          </a:bodyPr>
          <a:lstStyle>
            <a:lvl1pPr marL="0" indent="0">
              <a:buNone/>
              <a:defRPr lang="en-US" sz="2800" i="0" baseline="0" dirty="0">
                <a:solidFill>
                  <a:schemeClr val="tx1"/>
                </a:solidFill>
                <a:latin typeface="Roboto Lt" charset="0"/>
                <a:ea typeface="Roboto Lt" charset="0"/>
                <a:cs typeface="Roboto Lt" charset="0"/>
              </a:defRPr>
            </a:lvl1pPr>
          </a:lstStyle>
          <a:p>
            <a:pPr marL="173038" lvl="0" indent="-173038"/>
            <a:endParaRPr lang="en-US" dirty="0"/>
          </a:p>
        </p:txBody>
      </p:sp>
      <p:pic>
        <p:nvPicPr>
          <p:cNvPr id="6" name="Picture 5">
            <a:extLst>
              <a:ext uri="{FF2B5EF4-FFF2-40B4-BE49-F238E27FC236}">
                <a16:creationId xmlns:a16="http://schemas.microsoft.com/office/drawing/2014/main" id="{AAC3CA8E-B47E-084A-9F1F-2B81929AA949}"/>
              </a:ext>
            </a:extLst>
          </p:cNvPr>
          <p:cNvPicPr>
            <a:picLocks noChangeAspect="1"/>
          </p:cNvPicPr>
          <p:nvPr userDrawn="1"/>
        </p:nvPicPr>
        <p:blipFill>
          <a:blip r:embed="rId3"/>
          <a:stretch>
            <a:fillRect/>
          </a:stretch>
        </p:blipFill>
        <p:spPr>
          <a:xfrm>
            <a:off x="393192" y="216483"/>
            <a:ext cx="2478024" cy="849901"/>
          </a:xfrm>
          <a:prstGeom prst="rect">
            <a:avLst/>
          </a:prstGeom>
        </p:spPr>
      </p:pic>
    </p:spTree>
    <p:extLst>
      <p:ext uri="{BB962C8B-B14F-4D97-AF65-F5344CB8AC3E}">
        <p14:creationId xmlns:p14="http://schemas.microsoft.com/office/powerpoint/2010/main" val="43642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hank you slide w/ clouds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81130DC4-7481-FE4D-A048-88FBE7BF7540}"/>
              </a:ext>
            </a:extLst>
          </p:cNvPr>
          <p:cNvPicPr>
            <a:picLocks noChangeAspect="1"/>
          </p:cNvPicPr>
          <p:nvPr userDrawn="1"/>
        </p:nvPicPr>
        <p:blipFill>
          <a:blip r:embed="rId3"/>
          <a:stretch>
            <a:fillRect/>
          </a:stretch>
        </p:blipFill>
        <p:spPr>
          <a:xfrm>
            <a:off x="9458461" y="6007608"/>
            <a:ext cx="2478024" cy="849901"/>
          </a:xfrm>
          <a:prstGeom prst="rect">
            <a:avLst/>
          </a:prstGeom>
        </p:spPr>
      </p:pic>
      <p:sp>
        <p:nvSpPr>
          <p:cNvPr id="14" name="Text Placeholder 23">
            <a:extLst>
              <a:ext uri="{FF2B5EF4-FFF2-40B4-BE49-F238E27FC236}">
                <a16:creationId xmlns:a16="http://schemas.microsoft.com/office/drawing/2014/main" id="{9C78630A-9344-1842-941A-F1330E812C87}"/>
              </a:ext>
            </a:extLst>
          </p:cNvPr>
          <p:cNvSpPr>
            <a:spLocks noGrp="1"/>
          </p:cNvSpPr>
          <p:nvPr>
            <p:ph type="body" sz="quarter" idx="11" hasCustomPrompt="1"/>
          </p:nvPr>
        </p:nvSpPr>
        <p:spPr>
          <a:xfrm>
            <a:off x="488950" y="2171830"/>
            <a:ext cx="7059930" cy="1292860"/>
          </a:xfrm>
          <a:prstGeom prst="rect">
            <a:avLst/>
          </a:prstGeom>
        </p:spPr>
        <p:txBody>
          <a:bodyPr/>
          <a:lstStyle>
            <a:lvl1pPr marL="0" indent="0">
              <a:buNone/>
              <a:defRPr sz="6000" b="0" i="0">
                <a:solidFill>
                  <a:schemeClr val="accent2"/>
                </a:solidFill>
                <a:latin typeface="+mj-lt"/>
                <a:ea typeface="Roboto Lt" charset="0"/>
                <a:cs typeface="Roboto Lt" charset="0"/>
              </a:defRPr>
            </a:lvl1pPr>
            <a:lvl2pPr marL="457108" indent="0">
              <a:buNone/>
              <a:defRPr/>
            </a:lvl2pPr>
            <a:lvl3pPr marL="914217" indent="0">
              <a:buNone/>
              <a:defRPr/>
            </a:lvl3pPr>
            <a:lvl4pPr marL="1371326" indent="0">
              <a:buNone/>
              <a:defRPr/>
            </a:lvl4pPr>
            <a:lvl5pPr marL="1828435" indent="0">
              <a:buNone/>
              <a:defRPr/>
            </a:lvl5pPr>
          </a:lstStyle>
          <a:p>
            <a:pPr lvl="0"/>
            <a:r>
              <a:rPr lang="en-US" dirty="0"/>
              <a:t>Thank you</a:t>
            </a:r>
          </a:p>
        </p:txBody>
      </p:sp>
      <p:sp>
        <p:nvSpPr>
          <p:cNvPr id="9" name="Text Placeholder 27">
            <a:extLst>
              <a:ext uri="{FF2B5EF4-FFF2-40B4-BE49-F238E27FC236}">
                <a16:creationId xmlns:a16="http://schemas.microsoft.com/office/drawing/2014/main" id="{9DA5496E-EE8E-5B45-8816-D5EA3D93B91A}"/>
              </a:ext>
            </a:extLst>
          </p:cNvPr>
          <p:cNvSpPr>
            <a:spLocks noGrp="1"/>
          </p:cNvSpPr>
          <p:nvPr>
            <p:ph type="body" sz="quarter" idx="14" hasCustomPrompt="1"/>
          </p:nvPr>
        </p:nvSpPr>
        <p:spPr bwMode="gray">
          <a:xfrm>
            <a:off x="515746" y="3831337"/>
            <a:ext cx="5754688" cy="475487"/>
          </a:xfrm>
          <a:prstGeom prst="rect">
            <a:avLst/>
          </a:prstGeom>
        </p:spPr>
        <p:txBody>
          <a:bodyPr vert="horz" lIns="0" tIns="0" rIns="0" bIns="0" rtlCol="0">
            <a:noAutofit/>
          </a:bodyPr>
          <a:lstStyle>
            <a:lvl1pPr marL="0" indent="0">
              <a:buNone/>
              <a:defRPr lang="en-US" sz="2400" i="0" baseline="0" dirty="0">
                <a:solidFill>
                  <a:schemeClr val="tx1"/>
                </a:solidFill>
                <a:latin typeface="Roboto Lt" charset="0"/>
                <a:ea typeface="Roboto Lt" charset="0"/>
                <a:cs typeface="Roboto Lt" charset="0"/>
              </a:defRPr>
            </a:lvl1pPr>
          </a:lstStyle>
          <a:p>
            <a:pPr marL="173038" lvl="0" indent="-173038"/>
            <a:r>
              <a:rPr lang="en-US" dirty="0"/>
              <a:t>Contact information</a:t>
            </a:r>
          </a:p>
        </p:txBody>
      </p:sp>
    </p:spTree>
    <p:extLst>
      <p:ext uri="{BB962C8B-B14F-4D97-AF65-F5344CB8AC3E}">
        <p14:creationId xmlns:p14="http://schemas.microsoft.com/office/powerpoint/2010/main" val="3574340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B7850671-E4BC-1447-A704-D7A765681A62}"/>
              </a:ext>
            </a:extLst>
          </p:cNvPr>
          <p:cNvPicPr>
            <a:picLocks noChangeAspect="1"/>
          </p:cNvPicPr>
          <p:nvPr userDrawn="1"/>
        </p:nvPicPr>
        <p:blipFill>
          <a:blip r:embed="rId3"/>
          <a:stretch>
            <a:fillRect/>
          </a:stretch>
        </p:blipFill>
        <p:spPr>
          <a:xfrm>
            <a:off x="9458461" y="6007608"/>
            <a:ext cx="2478024" cy="849901"/>
          </a:xfrm>
          <a:prstGeom prst="rect">
            <a:avLst/>
          </a:prstGeom>
        </p:spPr>
      </p:pic>
      <p:sp>
        <p:nvSpPr>
          <p:cNvPr id="12" name="Text Placeholder 23">
            <a:extLst>
              <a:ext uri="{FF2B5EF4-FFF2-40B4-BE49-F238E27FC236}">
                <a16:creationId xmlns:a16="http://schemas.microsoft.com/office/drawing/2014/main" id="{89D6FEBC-CA67-6F4A-8130-7A6992B5C22C}"/>
              </a:ext>
            </a:extLst>
          </p:cNvPr>
          <p:cNvSpPr>
            <a:spLocks noGrp="1"/>
          </p:cNvSpPr>
          <p:nvPr>
            <p:ph type="body" sz="quarter" idx="11" hasCustomPrompt="1"/>
          </p:nvPr>
        </p:nvSpPr>
        <p:spPr>
          <a:xfrm>
            <a:off x="488950" y="2171830"/>
            <a:ext cx="7065736" cy="1292860"/>
          </a:xfrm>
          <a:prstGeom prst="rect">
            <a:avLst/>
          </a:prstGeom>
        </p:spPr>
        <p:txBody>
          <a:bodyPr/>
          <a:lstStyle>
            <a:lvl1pPr marL="0" indent="0">
              <a:buNone/>
              <a:defRPr sz="6000" b="0" i="0">
                <a:solidFill>
                  <a:schemeClr val="bg1"/>
                </a:solidFill>
                <a:latin typeface="+mj-lt"/>
                <a:ea typeface="Roboto Lt" charset="0"/>
                <a:cs typeface="Roboto Lt" charset="0"/>
              </a:defRPr>
            </a:lvl1pPr>
            <a:lvl2pPr marL="457108" indent="0">
              <a:buNone/>
              <a:defRPr/>
            </a:lvl2pPr>
            <a:lvl3pPr marL="914217" indent="0">
              <a:buNone/>
              <a:defRPr/>
            </a:lvl3pPr>
            <a:lvl4pPr marL="1371326" indent="0">
              <a:buNone/>
              <a:defRPr/>
            </a:lvl4pPr>
            <a:lvl5pPr marL="1828435" indent="0">
              <a:buNone/>
              <a:defRPr/>
            </a:lvl5pPr>
          </a:lstStyle>
          <a:p>
            <a:pPr lvl="0"/>
            <a:r>
              <a:rPr lang="en-US" dirty="0"/>
              <a:t>Thank you</a:t>
            </a:r>
          </a:p>
        </p:txBody>
      </p:sp>
      <p:sp>
        <p:nvSpPr>
          <p:cNvPr id="13" name="Text Placeholder 27">
            <a:extLst>
              <a:ext uri="{FF2B5EF4-FFF2-40B4-BE49-F238E27FC236}">
                <a16:creationId xmlns:a16="http://schemas.microsoft.com/office/drawing/2014/main" id="{1B12E1C0-BCC5-9647-BBB9-472877369041}"/>
              </a:ext>
            </a:extLst>
          </p:cNvPr>
          <p:cNvSpPr>
            <a:spLocks noGrp="1"/>
          </p:cNvSpPr>
          <p:nvPr>
            <p:ph type="body" sz="quarter" idx="13" hasCustomPrompt="1"/>
          </p:nvPr>
        </p:nvSpPr>
        <p:spPr bwMode="gray">
          <a:xfrm>
            <a:off x="515746" y="3831337"/>
            <a:ext cx="5754688" cy="475487"/>
          </a:xfrm>
          <a:prstGeom prst="rect">
            <a:avLst/>
          </a:prstGeom>
        </p:spPr>
        <p:txBody>
          <a:bodyPr vert="horz" lIns="0" tIns="0" rIns="0" bIns="0" rtlCol="0">
            <a:noAutofit/>
          </a:bodyPr>
          <a:lstStyle>
            <a:lvl1pPr marL="0" indent="0">
              <a:buNone/>
              <a:defRPr lang="en-US" sz="2400" i="0" baseline="0" dirty="0">
                <a:solidFill>
                  <a:schemeClr val="bg1"/>
                </a:solidFill>
                <a:latin typeface="Roboto Lt" charset="0"/>
                <a:ea typeface="Roboto Lt" charset="0"/>
                <a:cs typeface="Roboto Lt" charset="0"/>
              </a:defRPr>
            </a:lvl1pPr>
          </a:lstStyle>
          <a:p>
            <a:pPr marL="173038" lvl="0" indent="-173038"/>
            <a:r>
              <a:rPr lang="en-US" dirty="0"/>
              <a:t>Contact information</a:t>
            </a:r>
          </a:p>
        </p:txBody>
      </p:sp>
    </p:spTree>
    <p:extLst>
      <p:ext uri="{BB962C8B-B14F-4D97-AF65-F5344CB8AC3E}">
        <p14:creationId xmlns:p14="http://schemas.microsoft.com/office/powerpoint/2010/main" val="3807592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Slide_option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ext Placeholder 16">
            <a:extLst>
              <a:ext uri="{FF2B5EF4-FFF2-40B4-BE49-F238E27FC236}">
                <a16:creationId xmlns:a16="http://schemas.microsoft.com/office/drawing/2014/main" id="{6253D099-6F45-4C8B-9E60-07B7DBC6D796}"/>
              </a:ext>
            </a:extLst>
          </p:cNvPr>
          <p:cNvSpPr>
            <a:spLocks noGrp="1"/>
          </p:cNvSpPr>
          <p:nvPr userDrawn="1">
            <p:ph type="body" sz="quarter" idx="10" hasCustomPrompt="1"/>
          </p:nvPr>
        </p:nvSpPr>
        <p:spPr bwMode="gray">
          <a:xfrm>
            <a:off x="1161225" y="1251522"/>
            <a:ext cx="6369780" cy="648398"/>
          </a:xfrm>
          <a:prstGeom prst="rect">
            <a:avLst/>
          </a:prstGeom>
        </p:spPr>
        <p:txBody>
          <a:bodyPr anchor="b" anchorCtr="0"/>
          <a:lstStyle>
            <a:lvl1pPr marL="0" indent="0">
              <a:lnSpc>
                <a:spcPct val="95000"/>
              </a:lnSpc>
              <a:spcBef>
                <a:spcPts val="0"/>
              </a:spcBef>
              <a:spcAft>
                <a:spcPts val="0"/>
              </a:spcAft>
              <a:buNone/>
              <a:defRPr sz="2400" b="0" i="0">
                <a:solidFill>
                  <a:schemeClr val="tx1"/>
                </a:solidFill>
                <a:latin typeface="+mj-lt"/>
                <a:ea typeface="Roboto" charset="0"/>
                <a:cs typeface="Roboto" charset="0"/>
              </a:defRPr>
            </a:lvl1pPr>
            <a:lvl2pPr marL="457108" indent="0">
              <a:buNone/>
              <a:defRPr/>
            </a:lvl2pPr>
            <a:lvl3pPr marL="914217" indent="0">
              <a:buNone/>
              <a:defRPr/>
            </a:lvl3pPr>
            <a:lvl4pPr marL="1371326" indent="0">
              <a:buNone/>
              <a:defRPr/>
            </a:lvl4pPr>
            <a:lvl5pPr marL="1828435" indent="0">
              <a:buNone/>
              <a:defRPr/>
            </a:lvl5pPr>
          </a:lstStyle>
          <a:p>
            <a:pPr lvl="0"/>
            <a:r>
              <a:rPr lang="en-US" dirty="0"/>
              <a:t>Date Roboto Light 20 Point</a:t>
            </a:r>
          </a:p>
        </p:txBody>
      </p:sp>
      <p:sp>
        <p:nvSpPr>
          <p:cNvPr id="6" name="Text Placeholder 23">
            <a:extLst>
              <a:ext uri="{FF2B5EF4-FFF2-40B4-BE49-F238E27FC236}">
                <a16:creationId xmlns:a16="http://schemas.microsoft.com/office/drawing/2014/main" id="{DD308AA3-29BC-4C59-ABCE-F77972B458B0}"/>
              </a:ext>
            </a:extLst>
          </p:cNvPr>
          <p:cNvSpPr>
            <a:spLocks noGrp="1"/>
          </p:cNvSpPr>
          <p:nvPr userDrawn="1">
            <p:ph type="body" sz="quarter" idx="11" hasCustomPrompt="1"/>
          </p:nvPr>
        </p:nvSpPr>
        <p:spPr bwMode="gray">
          <a:xfrm>
            <a:off x="1161224" y="2629671"/>
            <a:ext cx="7363651" cy="2102713"/>
          </a:xfrm>
          <a:prstGeom prst="rect">
            <a:avLst/>
          </a:prstGeom>
        </p:spPr>
        <p:txBody>
          <a:bodyPr anchor="ctr" anchorCtr="0"/>
          <a:lstStyle>
            <a:lvl1pPr marL="0" indent="0">
              <a:spcBef>
                <a:spcPts val="600"/>
              </a:spcBef>
              <a:buNone/>
              <a:defRPr sz="5400" b="0" i="0">
                <a:solidFill>
                  <a:schemeClr val="accent2"/>
                </a:solidFill>
                <a:latin typeface="+mj-lt"/>
                <a:ea typeface="Roboto Lt" charset="0"/>
                <a:cs typeface="Roboto Lt" charset="0"/>
              </a:defRPr>
            </a:lvl1pPr>
            <a:lvl2pPr marL="457108" indent="0">
              <a:buNone/>
              <a:defRPr/>
            </a:lvl2pPr>
            <a:lvl3pPr marL="914217" indent="0">
              <a:buNone/>
              <a:defRPr/>
            </a:lvl3pPr>
            <a:lvl4pPr marL="1371326" indent="0">
              <a:buNone/>
              <a:defRPr/>
            </a:lvl4pPr>
            <a:lvl5pPr marL="1828435" indent="0">
              <a:buNone/>
              <a:defRPr/>
            </a:lvl5pPr>
          </a:lstStyle>
          <a:p>
            <a:r>
              <a:rPr lang="en-US" dirty="0"/>
              <a:t>Title Goes Here Roboto Light 54 Point</a:t>
            </a:r>
          </a:p>
        </p:txBody>
      </p:sp>
      <p:sp>
        <p:nvSpPr>
          <p:cNvPr id="12" name="Text Placeholder 25">
            <a:extLst>
              <a:ext uri="{FF2B5EF4-FFF2-40B4-BE49-F238E27FC236}">
                <a16:creationId xmlns:a16="http://schemas.microsoft.com/office/drawing/2014/main" id="{E6B607EF-44E3-6A44-A77F-C2ECF3812632}"/>
              </a:ext>
            </a:extLst>
          </p:cNvPr>
          <p:cNvSpPr>
            <a:spLocks noGrp="1"/>
          </p:cNvSpPr>
          <p:nvPr>
            <p:ph type="body" sz="quarter" idx="12" hasCustomPrompt="1"/>
          </p:nvPr>
        </p:nvSpPr>
        <p:spPr bwMode="gray">
          <a:xfrm>
            <a:off x="1161225" y="4908299"/>
            <a:ext cx="5679524" cy="289576"/>
          </a:xfrm>
          <a:prstGeom prst="rect">
            <a:avLst/>
          </a:prstGeom>
        </p:spPr>
        <p:txBody>
          <a:bodyPr/>
          <a:lstStyle>
            <a:lvl1pPr marL="0" indent="0">
              <a:buNone/>
              <a:defRPr b="0" i="0" baseline="0">
                <a:solidFill>
                  <a:schemeClr val="tx1"/>
                </a:solidFill>
                <a:latin typeface="Roboto" charset="0"/>
                <a:ea typeface="Roboto" charset="0"/>
                <a:cs typeface="Roboto" charset="0"/>
              </a:defRPr>
            </a:lvl1pPr>
            <a:lvl2pPr marL="457108" indent="0">
              <a:buNone/>
              <a:defRPr/>
            </a:lvl2pPr>
            <a:lvl3pPr marL="914217" indent="0">
              <a:buNone/>
              <a:defRPr/>
            </a:lvl3pPr>
            <a:lvl4pPr marL="1371326" indent="0">
              <a:buNone/>
              <a:defRPr/>
            </a:lvl4pPr>
            <a:lvl5pPr marL="1828435" indent="0">
              <a:buNone/>
              <a:defRPr/>
            </a:lvl5pPr>
          </a:lstStyle>
          <a:p>
            <a:pPr lvl="0"/>
            <a:r>
              <a:rPr lang="en-US" dirty="0"/>
              <a:t>Speaker Name, Roboto Regular 20 Point</a:t>
            </a:r>
          </a:p>
        </p:txBody>
      </p:sp>
      <p:sp>
        <p:nvSpPr>
          <p:cNvPr id="13" name="Text Placeholder 27">
            <a:extLst>
              <a:ext uri="{FF2B5EF4-FFF2-40B4-BE49-F238E27FC236}">
                <a16:creationId xmlns:a16="http://schemas.microsoft.com/office/drawing/2014/main" id="{051CBD00-2871-F644-8165-064DBA426E8C}"/>
              </a:ext>
            </a:extLst>
          </p:cNvPr>
          <p:cNvSpPr>
            <a:spLocks noGrp="1"/>
          </p:cNvSpPr>
          <p:nvPr>
            <p:ph type="body" sz="quarter" idx="13" hasCustomPrompt="1"/>
          </p:nvPr>
        </p:nvSpPr>
        <p:spPr bwMode="gray">
          <a:xfrm>
            <a:off x="1161225" y="5294969"/>
            <a:ext cx="5679524" cy="291041"/>
          </a:xfrm>
          <a:prstGeom prst="rect">
            <a:avLst/>
          </a:prstGeom>
        </p:spPr>
        <p:txBody>
          <a:bodyPr/>
          <a:lstStyle>
            <a:lvl1pPr marL="0" indent="0">
              <a:buNone/>
              <a:defRPr i="1" baseline="0">
                <a:solidFill>
                  <a:schemeClr val="tx1"/>
                </a:solidFill>
              </a:defRPr>
            </a:lvl1pPr>
            <a:lvl2pPr marL="457108" indent="0">
              <a:buNone/>
              <a:defRPr/>
            </a:lvl2pPr>
            <a:lvl3pPr marL="914217" indent="0">
              <a:buNone/>
              <a:defRPr/>
            </a:lvl3pPr>
            <a:lvl4pPr marL="1371326" indent="0">
              <a:buNone/>
              <a:defRPr/>
            </a:lvl4pPr>
            <a:lvl5pPr marL="1828435" indent="0">
              <a:buNone/>
              <a:defRPr/>
            </a:lvl5pPr>
          </a:lstStyle>
          <a:p>
            <a:pPr lvl="0"/>
            <a:r>
              <a:rPr lang="en-US" dirty="0"/>
              <a:t>Speaker Title or Email, Roboto Italic 20 Point</a:t>
            </a:r>
          </a:p>
        </p:txBody>
      </p:sp>
      <p:pic>
        <p:nvPicPr>
          <p:cNvPr id="15" name="Picture 14">
            <a:extLst>
              <a:ext uri="{FF2B5EF4-FFF2-40B4-BE49-F238E27FC236}">
                <a16:creationId xmlns:a16="http://schemas.microsoft.com/office/drawing/2014/main" id="{81130DC4-7481-FE4D-A048-88FBE7BF7540}"/>
              </a:ext>
            </a:extLst>
          </p:cNvPr>
          <p:cNvPicPr>
            <a:picLocks noChangeAspect="1"/>
          </p:cNvPicPr>
          <p:nvPr userDrawn="1"/>
        </p:nvPicPr>
        <p:blipFill>
          <a:blip r:embed="rId3"/>
          <a:stretch>
            <a:fillRect/>
          </a:stretch>
        </p:blipFill>
        <p:spPr>
          <a:xfrm>
            <a:off x="9458461" y="6007608"/>
            <a:ext cx="2478024" cy="849901"/>
          </a:xfrm>
          <a:prstGeom prst="rect">
            <a:avLst/>
          </a:prstGeom>
        </p:spPr>
      </p:pic>
    </p:spTree>
    <p:extLst>
      <p:ext uri="{BB962C8B-B14F-4D97-AF65-F5344CB8AC3E}">
        <p14:creationId xmlns:p14="http://schemas.microsoft.com/office/powerpoint/2010/main" val="1183093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hank you slide w/ imag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33309DE-31FB-0A42-8BD0-D3F146F8EA65}"/>
              </a:ext>
            </a:extLst>
          </p:cNvPr>
          <p:cNvPicPr>
            <a:picLocks noChangeAspect="1"/>
          </p:cNvPicPr>
          <p:nvPr userDrawn="1"/>
        </p:nvPicPr>
        <p:blipFill>
          <a:blip r:embed="rId2"/>
          <a:srcRect/>
          <a:stretch/>
        </p:blipFill>
        <p:spPr>
          <a:xfrm>
            <a:off x="0" y="893"/>
            <a:ext cx="12188824" cy="6856214"/>
          </a:xfrm>
          <a:prstGeom prst="rect">
            <a:avLst/>
          </a:prstGeom>
        </p:spPr>
      </p:pic>
      <p:sp>
        <p:nvSpPr>
          <p:cNvPr id="20" name="Picture Placeholder 19">
            <a:extLst>
              <a:ext uri="{FF2B5EF4-FFF2-40B4-BE49-F238E27FC236}">
                <a16:creationId xmlns:a16="http://schemas.microsoft.com/office/drawing/2014/main" id="{F2DC5E9E-D7F6-9B4D-9850-071AC0859FDE}"/>
              </a:ext>
            </a:extLst>
          </p:cNvPr>
          <p:cNvSpPr>
            <a:spLocks noGrp="1"/>
          </p:cNvSpPr>
          <p:nvPr>
            <p:ph type="pic" sz="quarter" idx="17" hasCustomPrompt="1"/>
          </p:nvPr>
        </p:nvSpPr>
        <p:spPr>
          <a:xfrm>
            <a:off x="3908635" y="884794"/>
            <a:ext cx="8295966" cy="5994250"/>
          </a:xfrm>
          <a:custGeom>
            <a:avLst/>
            <a:gdLst>
              <a:gd name="connsiteX0" fmla="*/ 6694975 w 8249900"/>
              <a:gd name="connsiteY0" fmla="*/ 0 h 5965245"/>
              <a:gd name="connsiteX1" fmla="*/ 8249900 w 8249900"/>
              <a:gd name="connsiteY1" fmla="*/ 1324664 h 5965245"/>
              <a:gd name="connsiteX2" fmla="*/ 8249900 w 8249900"/>
              <a:gd name="connsiteY2" fmla="*/ 5965245 h 5965245"/>
              <a:gd name="connsiteX3" fmla="*/ 0 w 8249900"/>
              <a:gd name="connsiteY3" fmla="*/ 5965245 h 5965245"/>
              <a:gd name="connsiteX0" fmla="*/ 6694975 w 8249900"/>
              <a:gd name="connsiteY0" fmla="*/ 0 h 5962070"/>
              <a:gd name="connsiteX1" fmla="*/ 8249900 w 8249900"/>
              <a:gd name="connsiteY1" fmla="*/ 1321489 h 5962070"/>
              <a:gd name="connsiteX2" fmla="*/ 8249900 w 8249900"/>
              <a:gd name="connsiteY2" fmla="*/ 5962070 h 5962070"/>
              <a:gd name="connsiteX3" fmla="*/ 0 w 8249900"/>
              <a:gd name="connsiteY3" fmla="*/ 5962070 h 5962070"/>
              <a:gd name="connsiteX4" fmla="*/ 6694975 w 8249900"/>
              <a:gd name="connsiteY4" fmla="*/ 0 h 5962070"/>
              <a:gd name="connsiteX0" fmla="*/ 6691800 w 8249900"/>
              <a:gd name="connsiteY0" fmla="*/ 0 h 5965245"/>
              <a:gd name="connsiteX1" fmla="*/ 8249900 w 8249900"/>
              <a:gd name="connsiteY1" fmla="*/ 1324664 h 5965245"/>
              <a:gd name="connsiteX2" fmla="*/ 8249900 w 8249900"/>
              <a:gd name="connsiteY2" fmla="*/ 5965245 h 5965245"/>
              <a:gd name="connsiteX3" fmla="*/ 0 w 8249900"/>
              <a:gd name="connsiteY3" fmla="*/ 5965245 h 5965245"/>
              <a:gd name="connsiteX4" fmla="*/ 6691800 w 8249900"/>
              <a:gd name="connsiteY4" fmla="*/ 0 h 5965245"/>
              <a:gd name="connsiteX0" fmla="*/ 6694975 w 8253075"/>
              <a:gd name="connsiteY0" fmla="*/ 0 h 5968420"/>
              <a:gd name="connsiteX1" fmla="*/ 8253075 w 8253075"/>
              <a:gd name="connsiteY1" fmla="*/ 1324664 h 5968420"/>
              <a:gd name="connsiteX2" fmla="*/ 8253075 w 8253075"/>
              <a:gd name="connsiteY2" fmla="*/ 5965245 h 5968420"/>
              <a:gd name="connsiteX3" fmla="*/ 0 w 8253075"/>
              <a:gd name="connsiteY3" fmla="*/ 5968420 h 5968420"/>
              <a:gd name="connsiteX4" fmla="*/ 6694975 w 8253075"/>
              <a:gd name="connsiteY4" fmla="*/ 0 h 5968420"/>
              <a:gd name="connsiteX0" fmla="*/ 6701325 w 8259425"/>
              <a:gd name="connsiteY0" fmla="*/ 0 h 5971595"/>
              <a:gd name="connsiteX1" fmla="*/ 8259425 w 8259425"/>
              <a:gd name="connsiteY1" fmla="*/ 1324664 h 5971595"/>
              <a:gd name="connsiteX2" fmla="*/ 8259425 w 8259425"/>
              <a:gd name="connsiteY2" fmla="*/ 5965245 h 5971595"/>
              <a:gd name="connsiteX3" fmla="*/ 0 w 8259425"/>
              <a:gd name="connsiteY3" fmla="*/ 5971595 h 5971595"/>
              <a:gd name="connsiteX4" fmla="*/ 6701325 w 8259425"/>
              <a:gd name="connsiteY4" fmla="*/ 0 h 5971595"/>
              <a:gd name="connsiteX0" fmla="*/ 6717200 w 8275300"/>
              <a:gd name="connsiteY0" fmla="*/ 0 h 5981120"/>
              <a:gd name="connsiteX1" fmla="*/ 8275300 w 8275300"/>
              <a:gd name="connsiteY1" fmla="*/ 1324664 h 5981120"/>
              <a:gd name="connsiteX2" fmla="*/ 8275300 w 8275300"/>
              <a:gd name="connsiteY2" fmla="*/ 5965245 h 5981120"/>
              <a:gd name="connsiteX3" fmla="*/ 0 w 8275300"/>
              <a:gd name="connsiteY3" fmla="*/ 5981120 h 5981120"/>
              <a:gd name="connsiteX4" fmla="*/ 6717200 w 8275300"/>
              <a:gd name="connsiteY4" fmla="*/ 0 h 5981120"/>
              <a:gd name="connsiteX0" fmla="*/ 6717200 w 8275300"/>
              <a:gd name="connsiteY0" fmla="*/ 0 h 5981120"/>
              <a:gd name="connsiteX1" fmla="*/ 8275300 w 8275300"/>
              <a:gd name="connsiteY1" fmla="*/ 1311964 h 5981120"/>
              <a:gd name="connsiteX2" fmla="*/ 8275300 w 8275300"/>
              <a:gd name="connsiteY2" fmla="*/ 5965245 h 5981120"/>
              <a:gd name="connsiteX3" fmla="*/ 0 w 8275300"/>
              <a:gd name="connsiteY3" fmla="*/ 5981120 h 5981120"/>
              <a:gd name="connsiteX4" fmla="*/ 6717200 w 8275300"/>
              <a:gd name="connsiteY4" fmla="*/ 0 h 5981120"/>
              <a:gd name="connsiteX0" fmla="*/ 6720375 w 8275300"/>
              <a:gd name="connsiteY0" fmla="*/ 0 h 5984295"/>
              <a:gd name="connsiteX1" fmla="*/ 8275300 w 8275300"/>
              <a:gd name="connsiteY1" fmla="*/ 1315139 h 5984295"/>
              <a:gd name="connsiteX2" fmla="*/ 8275300 w 8275300"/>
              <a:gd name="connsiteY2" fmla="*/ 5968420 h 5984295"/>
              <a:gd name="connsiteX3" fmla="*/ 0 w 8275300"/>
              <a:gd name="connsiteY3" fmla="*/ 5984295 h 5984295"/>
              <a:gd name="connsiteX4" fmla="*/ 6720375 w 8275300"/>
              <a:gd name="connsiteY4" fmla="*/ 0 h 5984295"/>
              <a:gd name="connsiteX0" fmla="*/ 6720375 w 8275300"/>
              <a:gd name="connsiteY0" fmla="*/ 0 h 5999793"/>
              <a:gd name="connsiteX1" fmla="*/ 8275300 w 8275300"/>
              <a:gd name="connsiteY1" fmla="*/ 1330637 h 5999793"/>
              <a:gd name="connsiteX2" fmla="*/ 8275300 w 8275300"/>
              <a:gd name="connsiteY2" fmla="*/ 5983918 h 5999793"/>
              <a:gd name="connsiteX3" fmla="*/ 0 w 8275300"/>
              <a:gd name="connsiteY3" fmla="*/ 5999793 h 5999793"/>
              <a:gd name="connsiteX4" fmla="*/ 6720375 w 8275300"/>
              <a:gd name="connsiteY4" fmla="*/ 0 h 5999793"/>
              <a:gd name="connsiteX0" fmla="*/ 6720375 w 8275300"/>
              <a:gd name="connsiteY0" fmla="*/ 0 h 5999793"/>
              <a:gd name="connsiteX1" fmla="*/ 8275300 w 8275300"/>
              <a:gd name="connsiteY1" fmla="*/ 1330637 h 5999793"/>
              <a:gd name="connsiteX2" fmla="*/ 8275300 w 8275300"/>
              <a:gd name="connsiteY2" fmla="*/ 5999416 h 5999793"/>
              <a:gd name="connsiteX3" fmla="*/ 0 w 8275300"/>
              <a:gd name="connsiteY3" fmla="*/ 5999793 h 5999793"/>
              <a:gd name="connsiteX4" fmla="*/ 6720375 w 8275300"/>
              <a:gd name="connsiteY4" fmla="*/ 0 h 5999793"/>
              <a:gd name="connsiteX0" fmla="*/ 6741039 w 8295964"/>
              <a:gd name="connsiteY0" fmla="*/ 0 h 6004959"/>
              <a:gd name="connsiteX1" fmla="*/ 8295964 w 8295964"/>
              <a:gd name="connsiteY1" fmla="*/ 1330637 h 6004959"/>
              <a:gd name="connsiteX2" fmla="*/ 8295964 w 8295964"/>
              <a:gd name="connsiteY2" fmla="*/ 5999416 h 6004959"/>
              <a:gd name="connsiteX3" fmla="*/ 0 w 8295964"/>
              <a:gd name="connsiteY3" fmla="*/ 6004959 h 6004959"/>
              <a:gd name="connsiteX4" fmla="*/ 6741039 w 8295964"/>
              <a:gd name="connsiteY4" fmla="*/ 0 h 6004959"/>
              <a:gd name="connsiteX0" fmla="*/ 6741039 w 8295964"/>
              <a:gd name="connsiteY0" fmla="*/ 0 h 6010125"/>
              <a:gd name="connsiteX1" fmla="*/ 8295964 w 8295964"/>
              <a:gd name="connsiteY1" fmla="*/ 1335803 h 6010125"/>
              <a:gd name="connsiteX2" fmla="*/ 8295964 w 8295964"/>
              <a:gd name="connsiteY2" fmla="*/ 6004582 h 6010125"/>
              <a:gd name="connsiteX3" fmla="*/ 0 w 8295964"/>
              <a:gd name="connsiteY3" fmla="*/ 6010125 h 6010125"/>
              <a:gd name="connsiteX4" fmla="*/ 6741039 w 8295964"/>
              <a:gd name="connsiteY4" fmla="*/ 0 h 6010125"/>
              <a:gd name="connsiteX0" fmla="*/ 6731514 w 8295964"/>
              <a:gd name="connsiteY0" fmla="*/ 0 h 5994250"/>
              <a:gd name="connsiteX1" fmla="*/ 8295964 w 8295964"/>
              <a:gd name="connsiteY1" fmla="*/ 1319928 h 5994250"/>
              <a:gd name="connsiteX2" fmla="*/ 8295964 w 8295964"/>
              <a:gd name="connsiteY2" fmla="*/ 5988707 h 5994250"/>
              <a:gd name="connsiteX3" fmla="*/ 0 w 8295964"/>
              <a:gd name="connsiteY3" fmla="*/ 5994250 h 5994250"/>
              <a:gd name="connsiteX4" fmla="*/ 6731514 w 8295964"/>
              <a:gd name="connsiteY4" fmla="*/ 0 h 5994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95964" h="5994250">
                <a:moveTo>
                  <a:pt x="6731514" y="0"/>
                </a:moveTo>
                <a:lnTo>
                  <a:pt x="8295964" y="1319928"/>
                </a:lnTo>
                <a:lnTo>
                  <a:pt x="8295964" y="5988707"/>
                </a:lnTo>
                <a:lnTo>
                  <a:pt x="0" y="5994250"/>
                </a:lnTo>
                <a:lnTo>
                  <a:pt x="6731514" y="0"/>
                </a:lnTo>
                <a:close/>
              </a:path>
            </a:pathLst>
          </a:custGeom>
          <a:solidFill>
            <a:schemeClr val="bg1">
              <a:lumMod val="95000"/>
            </a:schemeClr>
          </a:solidFill>
        </p:spPr>
        <p:txBody>
          <a:bodyPr wrap="square" anchor="ctr">
            <a:noAutofit/>
          </a:bodyPr>
          <a:lstStyle>
            <a:lvl1pPr marL="0" indent="0" algn="ctr">
              <a:buNone/>
              <a:defRPr/>
            </a:lvl1pPr>
          </a:lstStyle>
          <a:p>
            <a:r>
              <a:rPr lang="en-US" dirty="0"/>
              <a:t>                                                    CLICK TO INSERT IMAGE</a:t>
            </a:r>
          </a:p>
        </p:txBody>
      </p:sp>
      <p:pic>
        <p:nvPicPr>
          <p:cNvPr id="17" name="Picture 16">
            <a:extLst>
              <a:ext uri="{FF2B5EF4-FFF2-40B4-BE49-F238E27FC236}">
                <a16:creationId xmlns:a16="http://schemas.microsoft.com/office/drawing/2014/main" id="{01572B8A-3E9A-9F41-B79E-0463DD4D0655}"/>
              </a:ext>
            </a:extLst>
          </p:cNvPr>
          <p:cNvPicPr>
            <a:picLocks noChangeAspect="1"/>
          </p:cNvPicPr>
          <p:nvPr userDrawn="1"/>
        </p:nvPicPr>
        <p:blipFill>
          <a:blip r:embed="rId3"/>
          <a:stretch>
            <a:fillRect/>
          </a:stretch>
        </p:blipFill>
        <p:spPr>
          <a:xfrm>
            <a:off x="9458461" y="6007608"/>
            <a:ext cx="2478024" cy="849901"/>
          </a:xfrm>
          <a:prstGeom prst="rect">
            <a:avLst/>
          </a:prstGeom>
        </p:spPr>
      </p:pic>
      <p:sp>
        <p:nvSpPr>
          <p:cNvPr id="16" name="Text Placeholder 23">
            <a:extLst>
              <a:ext uri="{FF2B5EF4-FFF2-40B4-BE49-F238E27FC236}">
                <a16:creationId xmlns:a16="http://schemas.microsoft.com/office/drawing/2014/main" id="{45569E62-86F6-4531-9D5B-C2509C76A642}"/>
              </a:ext>
            </a:extLst>
          </p:cNvPr>
          <p:cNvSpPr>
            <a:spLocks noGrp="1"/>
          </p:cNvSpPr>
          <p:nvPr>
            <p:ph type="body" sz="quarter" idx="11" hasCustomPrompt="1"/>
          </p:nvPr>
        </p:nvSpPr>
        <p:spPr>
          <a:xfrm>
            <a:off x="488950" y="2171830"/>
            <a:ext cx="7065736" cy="1292860"/>
          </a:xfrm>
          <a:prstGeom prst="rect">
            <a:avLst/>
          </a:prstGeom>
        </p:spPr>
        <p:txBody>
          <a:bodyPr/>
          <a:lstStyle>
            <a:lvl1pPr marL="0" indent="0">
              <a:buNone/>
              <a:defRPr sz="6000" b="0" i="0">
                <a:solidFill>
                  <a:schemeClr val="bg1"/>
                </a:solidFill>
                <a:latin typeface="+mj-lt"/>
                <a:ea typeface="Roboto Lt" charset="0"/>
                <a:cs typeface="Roboto Lt" charset="0"/>
              </a:defRPr>
            </a:lvl1pPr>
            <a:lvl2pPr marL="457108" indent="0">
              <a:buNone/>
              <a:defRPr/>
            </a:lvl2pPr>
            <a:lvl3pPr marL="914217" indent="0">
              <a:buNone/>
              <a:defRPr/>
            </a:lvl3pPr>
            <a:lvl4pPr marL="1371326" indent="0">
              <a:buNone/>
              <a:defRPr/>
            </a:lvl4pPr>
            <a:lvl5pPr marL="1828435" indent="0">
              <a:buNone/>
              <a:defRPr/>
            </a:lvl5pPr>
          </a:lstStyle>
          <a:p>
            <a:pPr lvl="0"/>
            <a:r>
              <a:rPr lang="en-US" dirty="0"/>
              <a:t>Thank you</a:t>
            </a:r>
          </a:p>
        </p:txBody>
      </p:sp>
      <p:sp>
        <p:nvSpPr>
          <p:cNvPr id="24" name="Text Placeholder 27">
            <a:extLst>
              <a:ext uri="{FF2B5EF4-FFF2-40B4-BE49-F238E27FC236}">
                <a16:creationId xmlns:a16="http://schemas.microsoft.com/office/drawing/2014/main" id="{C7903C58-B9D8-4A90-8FB0-DF22CEFDE72F}"/>
              </a:ext>
            </a:extLst>
          </p:cNvPr>
          <p:cNvSpPr>
            <a:spLocks noGrp="1"/>
          </p:cNvSpPr>
          <p:nvPr>
            <p:ph type="body" sz="quarter" idx="13" hasCustomPrompt="1"/>
          </p:nvPr>
        </p:nvSpPr>
        <p:spPr bwMode="gray">
          <a:xfrm>
            <a:off x="515746" y="3831337"/>
            <a:ext cx="5754688" cy="475487"/>
          </a:xfrm>
          <a:prstGeom prst="rect">
            <a:avLst/>
          </a:prstGeom>
        </p:spPr>
        <p:txBody>
          <a:bodyPr vert="horz" lIns="0" tIns="0" rIns="0" bIns="0" rtlCol="0">
            <a:noAutofit/>
          </a:bodyPr>
          <a:lstStyle>
            <a:lvl1pPr marL="0" indent="0">
              <a:buNone/>
              <a:defRPr lang="en-US" sz="2400" i="0" baseline="0" dirty="0">
                <a:solidFill>
                  <a:schemeClr val="bg1"/>
                </a:solidFill>
                <a:latin typeface="Roboto Lt" charset="0"/>
                <a:ea typeface="Roboto Lt" charset="0"/>
                <a:cs typeface="Roboto Lt" charset="0"/>
              </a:defRPr>
            </a:lvl1pPr>
          </a:lstStyle>
          <a:p>
            <a:pPr marL="173038" lvl="0" indent="-173038"/>
            <a:r>
              <a:rPr lang="en-US" dirty="0"/>
              <a:t>Contact information</a:t>
            </a:r>
          </a:p>
        </p:txBody>
      </p:sp>
    </p:spTree>
    <p:extLst>
      <p:ext uri="{BB962C8B-B14F-4D97-AF65-F5344CB8AC3E}">
        <p14:creationId xmlns:p14="http://schemas.microsoft.com/office/powerpoint/2010/main" val="669785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Follow U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 Placeholder 23"/>
          <p:cNvSpPr>
            <a:spLocks noGrp="1"/>
          </p:cNvSpPr>
          <p:nvPr>
            <p:ph type="body" sz="quarter" idx="11" hasCustomPrompt="1"/>
          </p:nvPr>
        </p:nvSpPr>
        <p:spPr>
          <a:xfrm>
            <a:off x="488950" y="2202258"/>
            <a:ext cx="9394638" cy="1292860"/>
          </a:xfrm>
          <a:prstGeom prst="rect">
            <a:avLst/>
          </a:prstGeom>
        </p:spPr>
        <p:txBody>
          <a:bodyPr anchor="b"/>
          <a:lstStyle>
            <a:lvl1pPr marL="0" indent="0">
              <a:buNone/>
              <a:defRPr sz="4800" b="0" i="0">
                <a:solidFill>
                  <a:schemeClr val="bg1"/>
                </a:solidFill>
                <a:latin typeface="+mj-lt"/>
                <a:ea typeface="Roboto Lt" charset="0"/>
                <a:cs typeface="Roboto Lt" charset="0"/>
              </a:defRPr>
            </a:lvl1pPr>
            <a:lvl2pPr marL="457108" indent="0">
              <a:buNone/>
              <a:defRPr/>
            </a:lvl2pPr>
            <a:lvl3pPr marL="914217" indent="0">
              <a:buNone/>
              <a:defRPr/>
            </a:lvl3pPr>
            <a:lvl4pPr marL="1371326" indent="0">
              <a:buNone/>
              <a:defRPr/>
            </a:lvl4pPr>
            <a:lvl5pPr marL="1828435" indent="0">
              <a:buNone/>
              <a:defRPr/>
            </a:lvl5pPr>
          </a:lstStyle>
          <a:p>
            <a:pPr lvl="0"/>
            <a:r>
              <a:rPr lang="en-US" dirty="0"/>
              <a:t>Let’s Connect</a:t>
            </a:r>
          </a:p>
        </p:txBody>
      </p:sp>
      <p:sp>
        <p:nvSpPr>
          <p:cNvPr id="6" name="Text Placeholder 27">
            <a:extLst>
              <a:ext uri="{FF2B5EF4-FFF2-40B4-BE49-F238E27FC236}">
                <a16:creationId xmlns:a16="http://schemas.microsoft.com/office/drawing/2014/main" id="{6D464F48-702C-470A-84C0-4DE06B9EE062}"/>
              </a:ext>
            </a:extLst>
          </p:cNvPr>
          <p:cNvSpPr>
            <a:spLocks noGrp="1"/>
          </p:cNvSpPr>
          <p:nvPr>
            <p:ph type="body" sz="quarter" idx="13" hasCustomPrompt="1"/>
          </p:nvPr>
        </p:nvSpPr>
        <p:spPr bwMode="gray">
          <a:xfrm>
            <a:off x="493711" y="3549983"/>
            <a:ext cx="10118603" cy="475487"/>
          </a:xfrm>
          <a:prstGeom prst="rect">
            <a:avLst/>
          </a:prstGeom>
        </p:spPr>
        <p:txBody>
          <a:bodyPr vert="horz" lIns="0" tIns="0" rIns="0" bIns="0" rtlCol="0">
            <a:noAutofit/>
          </a:bodyPr>
          <a:lstStyle>
            <a:lvl1pPr marL="7938" indent="-7938">
              <a:buNone/>
              <a:tabLst/>
              <a:defRPr lang="en-US" sz="2800" i="0" baseline="0" dirty="0">
                <a:solidFill>
                  <a:schemeClr val="bg1"/>
                </a:solidFill>
                <a:latin typeface="Roboto Lt" charset="0"/>
                <a:ea typeface="Roboto Lt" charset="0"/>
                <a:cs typeface="Roboto Lt" charset="0"/>
              </a:defRPr>
            </a:lvl1pPr>
          </a:lstStyle>
          <a:p>
            <a:pPr marL="173038" lvl="0" indent="-173038"/>
            <a:r>
              <a:rPr lang="en-US" dirty="0"/>
              <a:t>If you enjoyed our presentation, then follow us on social media</a:t>
            </a:r>
          </a:p>
        </p:txBody>
      </p:sp>
      <p:pic>
        <p:nvPicPr>
          <p:cNvPr id="10" name="Picture 9">
            <a:extLst>
              <a:ext uri="{FF2B5EF4-FFF2-40B4-BE49-F238E27FC236}">
                <a16:creationId xmlns:a16="http://schemas.microsoft.com/office/drawing/2014/main" id="{8F398053-DA81-7944-9113-9D62FE9382B8}"/>
              </a:ext>
            </a:extLst>
          </p:cNvPr>
          <p:cNvPicPr>
            <a:picLocks noChangeAspect="1"/>
          </p:cNvPicPr>
          <p:nvPr userDrawn="1"/>
        </p:nvPicPr>
        <p:blipFill>
          <a:blip r:embed="rId3"/>
          <a:stretch>
            <a:fillRect/>
          </a:stretch>
        </p:blipFill>
        <p:spPr>
          <a:xfrm>
            <a:off x="9458461" y="6007608"/>
            <a:ext cx="2478024" cy="849901"/>
          </a:xfrm>
          <a:prstGeom prst="rect">
            <a:avLst/>
          </a:prstGeom>
        </p:spPr>
      </p:pic>
      <p:pic>
        <p:nvPicPr>
          <p:cNvPr id="11" name="Picture 10" descr="Icon&#10;&#10;Description automatically generated">
            <a:hlinkClick r:id="rId4"/>
            <a:extLst>
              <a:ext uri="{FF2B5EF4-FFF2-40B4-BE49-F238E27FC236}">
                <a16:creationId xmlns:a16="http://schemas.microsoft.com/office/drawing/2014/main" id="{E1976F4B-3A41-1548-A994-5E85FF788D6E}"/>
              </a:ext>
            </a:extLst>
          </p:cNvPr>
          <p:cNvPicPr>
            <a:picLocks noChangeAspect="1"/>
          </p:cNvPicPr>
          <p:nvPr userDrawn="1"/>
        </p:nvPicPr>
        <p:blipFill>
          <a:blip r:embed="rId5"/>
          <a:stretch>
            <a:fillRect/>
          </a:stretch>
        </p:blipFill>
        <p:spPr>
          <a:xfrm>
            <a:off x="2071810" y="4193104"/>
            <a:ext cx="535905" cy="535905"/>
          </a:xfrm>
          <a:prstGeom prst="rect">
            <a:avLst/>
          </a:prstGeom>
        </p:spPr>
      </p:pic>
      <p:pic>
        <p:nvPicPr>
          <p:cNvPr id="13" name="Picture 12" descr="Icon&#10;&#10;Description automatically generated">
            <a:hlinkClick r:id="rId6"/>
            <a:extLst>
              <a:ext uri="{FF2B5EF4-FFF2-40B4-BE49-F238E27FC236}">
                <a16:creationId xmlns:a16="http://schemas.microsoft.com/office/drawing/2014/main" id="{D25C4296-F396-7C44-8CD0-64107EC2C081}"/>
              </a:ext>
            </a:extLst>
          </p:cNvPr>
          <p:cNvPicPr>
            <a:picLocks noChangeAspect="1"/>
          </p:cNvPicPr>
          <p:nvPr userDrawn="1"/>
        </p:nvPicPr>
        <p:blipFill>
          <a:blip r:embed="rId7"/>
          <a:stretch>
            <a:fillRect/>
          </a:stretch>
        </p:blipFill>
        <p:spPr>
          <a:xfrm>
            <a:off x="488950" y="4193104"/>
            <a:ext cx="535905" cy="535905"/>
          </a:xfrm>
          <a:prstGeom prst="rect">
            <a:avLst/>
          </a:prstGeom>
        </p:spPr>
      </p:pic>
      <p:pic>
        <p:nvPicPr>
          <p:cNvPr id="17" name="Picture 16" descr="A white circle with a black background&#10;&#10;Description automatically generated with low confidence">
            <a:hlinkClick r:id="rId8"/>
            <a:extLst>
              <a:ext uri="{FF2B5EF4-FFF2-40B4-BE49-F238E27FC236}">
                <a16:creationId xmlns:a16="http://schemas.microsoft.com/office/drawing/2014/main" id="{0B3B1E95-2C3B-064A-ACEB-ABA4445CCDDF}"/>
              </a:ext>
            </a:extLst>
          </p:cNvPr>
          <p:cNvPicPr>
            <a:picLocks noChangeAspect="1"/>
          </p:cNvPicPr>
          <p:nvPr userDrawn="1"/>
        </p:nvPicPr>
        <p:blipFill>
          <a:blip r:embed="rId9"/>
          <a:stretch>
            <a:fillRect/>
          </a:stretch>
        </p:blipFill>
        <p:spPr>
          <a:xfrm>
            <a:off x="1280380" y="4193104"/>
            <a:ext cx="535905" cy="535905"/>
          </a:xfrm>
          <a:prstGeom prst="rect">
            <a:avLst/>
          </a:prstGeom>
        </p:spPr>
      </p:pic>
    </p:spTree>
    <p:extLst>
      <p:ext uri="{BB962C8B-B14F-4D97-AF65-F5344CB8AC3E}">
        <p14:creationId xmlns:p14="http://schemas.microsoft.com/office/powerpoint/2010/main" val="1405191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YouTube &quot;Subscribe&quo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F398053-DA81-7944-9113-9D62FE9382B8}"/>
              </a:ext>
            </a:extLst>
          </p:cNvPr>
          <p:cNvPicPr>
            <a:picLocks noChangeAspect="1"/>
          </p:cNvPicPr>
          <p:nvPr userDrawn="1"/>
        </p:nvPicPr>
        <p:blipFill>
          <a:blip r:embed="rId3"/>
          <a:stretch>
            <a:fillRect/>
          </a:stretch>
        </p:blipFill>
        <p:spPr>
          <a:xfrm>
            <a:off x="9458461" y="6007608"/>
            <a:ext cx="2478024" cy="849901"/>
          </a:xfrm>
          <a:prstGeom prst="rect">
            <a:avLst/>
          </a:prstGeom>
        </p:spPr>
      </p:pic>
      <p:sp>
        <p:nvSpPr>
          <p:cNvPr id="9" name="Text Placeholder 23">
            <a:extLst>
              <a:ext uri="{FF2B5EF4-FFF2-40B4-BE49-F238E27FC236}">
                <a16:creationId xmlns:a16="http://schemas.microsoft.com/office/drawing/2014/main" id="{93E35B1E-8510-FC44-9479-E3037A350182}"/>
              </a:ext>
            </a:extLst>
          </p:cNvPr>
          <p:cNvSpPr>
            <a:spLocks noGrp="1"/>
          </p:cNvSpPr>
          <p:nvPr>
            <p:ph type="body" sz="quarter" idx="14" hasCustomPrompt="1"/>
          </p:nvPr>
        </p:nvSpPr>
        <p:spPr>
          <a:xfrm>
            <a:off x="488950" y="2202258"/>
            <a:ext cx="9394638" cy="1292860"/>
          </a:xfrm>
          <a:prstGeom prst="rect">
            <a:avLst/>
          </a:prstGeom>
        </p:spPr>
        <p:txBody>
          <a:bodyPr anchor="b"/>
          <a:lstStyle>
            <a:lvl1pPr marL="0" indent="0">
              <a:buNone/>
              <a:defRPr sz="4800" b="0" i="0">
                <a:solidFill>
                  <a:schemeClr val="bg1"/>
                </a:solidFill>
                <a:latin typeface="+mj-lt"/>
                <a:ea typeface="Roboto Lt" charset="0"/>
                <a:cs typeface="Roboto Lt" charset="0"/>
              </a:defRPr>
            </a:lvl1pPr>
            <a:lvl2pPr marL="457108" indent="0">
              <a:buNone/>
              <a:defRPr/>
            </a:lvl2pPr>
            <a:lvl3pPr marL="914217" indent="0">
              <a:buNone/>
              <a:defRPr/>
            </a:lvl3pPr>
            <a:lvl4pPr marL="1371326" indent="0">
              <a:buNone/>
              <a:defRPr/>
            </a:lvl4pPr>
            <a:lvl5pPr marL="1828435" indent="0">
              <a:buNone/>
              <a:defRPr/>
            </a:lvl5pPr>
          </a:lstStyle>
          <a:p>
            <a:pPr lvl="0"/>
            <a:r>
              <a:rPr lang="en-US" dirty="0"/>
              <a:t>Thank You for Watching</a:t>
            </a:r>
          </a:p>
        </p:txBody>
      </p:sp>
      <p:sp>
        <p:nvSpPr>
          <p:cNvPr id="11" name="Text Placeholder 27">
            <a:extLst>
              <a:ext uri="{FF2B5EF4-FFF2-40B4-BE49-F238E27FC236}">
                <a16:creationId xmlns:a16="http://schemas.microsoft.com/office/drawing/2014/main" id="{8D98E012-F822-A342-BDB9-47BC091214CB}"/>
              </a:ext>
            </a:extLst>
          </p:cNvPr>
          <p:cNvSpPr>
            <a:spLocks noGrp="1"/>
          </p:cNvSpPr>
          <p:nvPr>
            <p:ph type="body" sz="quarter" idx="15" hasCustomPrompt="1"/>
          </p:nvPr>
        </p:nvSpPr>
        <p:spPr bwMode="gray">
          <a:xfrm>
            <a:off x="493711" y="3549983"/>
            <a:ext cx="10118603" cy="475487"/>
          </a:xfrm>
          <a:prstGeom prst="rect">
            <a:avLst/>
          </a:prstGeom>
        </p:spPr>
        <p:txBody>
          <a:bodyPr vert="horz" lIns="0" tIns="0" rIns="0" bIns="0" rtlCol="0">
            <a:noAutofit/>
          </a:bodyPr>
          <a:lstStyle>
            <a:lvl1pPr marL="7938" indent="-7938">
              <a:buNone/>
              <a:tabLst/>
              <a:defRPr lang="en-US" sz="2800" i="0" baseline="0" dirty="0">
                <a:solidFill>
                  <a:schemeClr val="bg1"/>
                </a:solidFill>
                <a:latin typeface="Roboto Lt" charset="0"/>
                <a:ea typeface="Roboto Lt" charset="0"/>
                <a:cs typeface="Roboto Lt" charset="0"/>
              </a:defRPr>
            </a:lvl1pPr>
          </a:lstStyle>
          <a:p>
            <a:pPr marL="173038" lvl="0" indent="-173038"/>
            <a:r>
              <a:rPr lang="en-US" dirty="0"/>
              <a:t>Don’t forget to subscribe</a:t>
            </a:r>
          </a:p>
        </p:txBody>
      </p:sp>
      <p:pic>
        <p:nvPicPr>
          <p:cNvPr id="13" name="Picture 12" descr="Icon&#10;&#10;Description automatically generated">
            <a:hlinkClick r:id="rId4"/>
            <a:extLst>
              <a:ext uri="{FF2B5EF4-FFF2-40B4-BE49-F238E27FC236}">
                <a16:creationId xmlns:a16="http://schemas.microsoft.com/office/drawing/2014/main" id="{1E6FF8B8-8694-7B4F-8990-1D0852D8ACDD}"/>
              </a:ext>
            </a:extLst>
          </p:cNvPr>
          <p:cNvPicPr>
            <a:picLocks noChangeAspect="1"/>
          </p:cNvPicPr>
          <p:nvPr userDrawn="1"/>
        </p:nvPicPr>
        <p:blipFill>
          <a:blip r:embed="rId5"/>
          <a:stretch>
            <a:fillRect/>
          </a:stretch>
        </p:blipFill>
        <p:spPr>
          <a:xfrm>
            <a:off x="488950" y="4193103"/>
            <a:ext cx="535905" cy="535905"/>
          </a:xfrm>
          <a:prstGeom prst="rect">
            <a:avLst/>
          </a:prstGeom>
        </p:spPr>
      </p:pic>
    </p:spTree>
    <p:extLst>
      <p:ext uri="{BB962C8B-B14F-4D97-AF65-F5344CB8AC3E}">
        <p14:creationId xmlns:p14="http://schemas.microsoft.com/office/powerpoint/2010/main" val="2516088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179161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2_Title/Subtitle">
    <p:spTree>
      <p:nvGrpSpPr>
        <p:cNvPr id="1" name=""/>
        <p:cNvGrpSpPr/>
        <p:nvPr/>
      </p:nvGrpSpPr>
      <p:grpSpPr>
        <a:xfrm>
          <a:off x="0" y="0"/>
          <a:ext cx="0" cy="0"/>
          <a:chOff x="0" y="0"/>
          <a:chExt cx="0" cy="0"/>
        </a:xfrm>
      </p:grpSpPr>
      <p:sp>
        <p:nvSpPr>
          <p:cNvPr id="9" name="Right Triangle 8"/>
          <p:cNvSpPr/>
          <p:nvPr/>
        </p:nvSpPr>
        <p:spPr>
          <a:xfrm flipH="1" flipV="1">
            <a:off x="11603699" y="-1"/>
            <a:ext cx="585127" cy="1575171"/>
          </a:xfrm>
          <a:prstGeom prst="r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p:cNvSpPr>
            <a:spLocks noGrp="1"/>
          </p:cNvSpPr>
          <p:nvPr>
            <p:ph type="title" hasCustomPrompt="1"/>
          </p:nvPr>
        </p:nvSpPr>
        <p:spPr>
          <a:xfrm>
            <a:off x="482475" y="482604"/>
            <a:ext cx="11195177" cy="562427"/>
          </a:xfrm>
        </p:spPr>
        <p:txBody>
          <a:bodyPr/>
          <a:lstStyle>
            <a:lvl1pPr>
              <a:defRPr baseline="0"/>
            </a:lvl1pPr>
          </a:lstStyle>
          <a:p>
            <a:r>
              <a:rPr lang="en-US"/>
              <a:t>Headline goes here, Roboto Light, 36 points, 1 Line</a:t>
            </a:r>
          </a:p>
        </p:txBody>
      </p:sp>
      <p:sp>
        <p:nvSpPr>
          <p:cNvPr id="10" name="Text Placeholder 4">
            <a:extLst>
              <a:ext uri="{FF2B5EF4-FFF2-40B4-BE49-F238E27FC236}">
                <a16:creationId xmlns:a16="http://schemas.microsoft.com/office/drawing/2014/main" id="{D5BDB60F-DCDA-4FA8-AFD2-4EF745C79259}"/>
              </a:ext>
            </a:extLst>
          </p:cNvPr>
          <p:cNvSpPr>
            <a:spLocks noGrp="1"/>
          </p:cNvSpPr>
          <p:nvPr>
            <p:ph type="body" sz="quarter" idx="13" hasCustomPrompt="1"/>
          </p:nvPr>
        </p:nvSpPr>
        <p:spPr>
          <a:xfrm>
            <a:off x="498308" y="1147983"/>
            <a:ext cx="11183937" cy="331601"/>
          </a:xfrm>
        </p:spPr>
        <p:txBody>
          <a:bodyPr anchor="t"/>
          <a:lstStyle>
            <a:lvl1pPr marL="0" indent="0">
              <a:buNone/>
              <a:defRPr sz="2399" i="0">
                <a:solidFill>
                  <a:schemeClr val="bg1">
                    <a:lumMod val="50000"/>
                  </a:schemeClr>
                </a:solidFill>
              </a:defRPr>
            </a:lvl1pPr>
            <a:lvl2pPr marL="169812" indent="0">
              <a:buNone/>
              <a:defRPr/>
            </a:lvl2pPr>
            <a:lvl3pPr marL="344384" indent="0">
              <a:buNone/>
              <a:defRPr/>
            </a:lvl3pPr>
            <a:lvl4pPr marL="458650" indent="0">
              <a:buNone/>
              <a:defRPr/>
            </a:lvl4pPr>
            <a:lvl5pPr marL="630048" indent="0">
              <a:buNone/>
              <a:defRPr/>
            </a:lvl5pPr>
          </a:lstStyle>
          <a:p>
            <a:pPr lvl="0"/>
            <a:r>
              <a:rPr lang="en-US"/>
              <a:t>Subtitle goes here, </a:t>
            </a:r>
            <a:r>
              <a:rPr lang="en-US" err="1"/>
              <a:t>Roboto</a:t>
            </a:r>
            <a:r>
              <a:rPr lang="en-US"/>
              <a:t> Regular 24 point, no longer than one line</a:t>
            </a:r>
          </a:p>
        </p:txBody>
      </p:sp>
      <p:sp>
        <p:nvSpPr>
          <p:cNvPr id="14" name="TextBox 13">
            <a:extLst>
              <a:ext uri="{FF2B5EF4-FFF2-40B4-BE49-F238E27FC236}">
                <a16:creationId xmlns:a16="http://schemas.microsoft.com/office/drawing/2014/main" id="{5C2FE5ED-33CE-45A5-BBFB-1B48835C749E}"/>
              </a:ext>
            </a:extLst>
          </p:cNvPr>
          <p:cNvSpPr txBox="1"/>
          <p:nvPr/>
        </p:nvSpPr>
        <p:spPr>
          <a:xfrm>
            <a:off x="502034" y="6359526"/>
            <a:ext cx="413896" cy="208701"/>
          </a:xfrm>
          <a:prstGeom prst="rect">
            <a:avLst/>
          </a:prstGeom>
        </p:spPr>
        <p:txBody>
          <a:bodyPr lIns="0" tIns="0" rIns="0" bIns="91416"/>
          <a:lstStyle>
            <a:defPPr>
              <a:defRPr lang="en-US"/>
            </a:defPPr>
            <a:lvl1pPr>
              <a:defRPr sz="1100">
                <a:solidFill>
                  <a:schemeClr val="tx2">
                    <a:lumMod val="50000"/>
                    <a:lumOff val="50000"/>
                  </a:schemeClr>
                </a:solidFill>
              </a:defRPr>
            </a:lvl1pPr>
          </a:lstStyle>
          <a:p>
            <a:pPr marL="0" lvl="0" algn="l" defTabSz="457063" rtl="0" eaLnBrk="1" latinLnBrk="0" hangingPunct="1"/>
            <a:fld id="{64202F7F-356F-46E2-8791-88745C87F5D9}" type="slidenum">
              <a:rPr lang="en-US" sz="1100" b="0" i="0" kern="1200" smtClean="0">
                <a:solidFill>
                  <a:schemeClr val="bg1"/>
                </a:solidFill>
                <a:latin typeface="Roboto" charset="0"/>
                <a:ea typeface="Roboto" charset="0"/>
                <a:cs typeface="Roboto" charset="0"/>
              </a:rPr>
              <a:pPr marL="0" lvl="0" algn="l" defTabSz="457063" rtl="0" eaLnBrk="1" latinLnBrk="0" hangingPunct="1"/>
              <a:t>‹#›</a:t>
            </a:fld>
            <a:endParaRPr lang="en-US" sz="1100" b="0" i="0" kern="1200">
              <a:solidFill>
                <a:schemeClr val="bg1"/>
              </a:solidFill>
              <a:latin typeface="Roboto" charset="0"/>
              <a:ea typeface="Roboto" charset="0"/>
              <a:cs typeface="Roboto" charset="0"/>
            </a:endParaRPr>
          </a:p>
        </p:txBody>
      </p:sp>
      <p:sp>
        <p:nvSpPr>
          <p:cNvPr id="15" name="TextBox 14">
            <a:extLst>
              <a:ext uri="{FF2B5EF4-FFF2-40B4-BE49-F238E27FC236}">
                <a16:creationId xmlns:a16="http://schemas.microsoft.com/office/drawing/2014/main" id="{AB449CFA-BAC5-4286-B884-41BD0CB159A5}"/>
              </a:ext>
            </a:extLst>
          </p:cNvPr>
          <p:cNvSpPr txBox="1"/>
          <p:nvPr/>
        </p:nvSpPr>
        <p:spPr>
          <a:xfrm>
            <a:off x="1017531" y="6359524"/>
            <a:ext cx="3117657" cy="179070"/>
          </a:xfrm>
          <a:prstGeom prst="rect">
            <a:avLst/>
          </a:prstGeom>
        </p:spPr>
        <p:txBody>
          <a:bodyPr lIns="0" tIns="0" rIns="0" bIns="0"/>
          <a:lstStyle>
            <a:defPPr>
              <a:defRPr lang="en-US"/>
            </a:defPPr>
            <a:lvl1pPr>
              <a:defRPr sz="1050">
                <a:solidFill>
                  <a:schemeClr val="tx2">
                    <a:lumMod val="50000"/>
                    <a:lumOff val="50000"/>
                  </a:schemeClr>
                </a:solidFill>
                <a:ea typeface="Arial" charset="0"/>
                <a:cs typeface="Arial" charset="0"/>
              </a:defRPr>
            </a:lvl1pPr>
          </a:lstStyle>
          <a:p>
            <a:pPr lvl="0"/>
            <a:r>
              <a:rPr lang="en-US" sz="1100" b="0" i="0">
                <a:solidFill>
                  <a:schemeClr val="tx1"/>
                </a:solidFill>
                <a:latin typeface="Roboto" charset="0"/>
                <a:ea typeface="Roboto" charset="0"/>
                <a:cs typeface="Roboto" charset="0"/>
              </a:rPr>
              <a:t>© Informatica. Proprietary and Confidential.</a:t>
            </a:r>
          </a:p>
        </p:txBody>
      </p:sp>
      <p:sp>
        <p:nvSpPr>
          <p:cNvPr id="22" name="TextBox 21">
            <a:extLst>
              <a:ext uri="{FF2B5EF4-FFF2-40B4-BE49-F238E27FC236}">
                <a16:creationId xmlns:a16="http://schemas.microsoft.com/office/drawing/2014/main" id="{B2937F8F-03BA-4FBE-B58F-F0075F9D7035}"/>
              </a:ext>
            </a:extLst>
          </p:cNvPr>
          <p:cNvSpPr txBox="1"/>
          <p:nvPr/>
        </p:nvSpPr>
        <p:spPr>
          <a:xfrm>
            <a:off x="502034" y="6359526"/>
            <a:ext cx="413896" cy="208701"/>
          </a:xfrm>
          <a:prstGeom prst="rect">
            <a:avLst/>
          </a:prstGeom>
        </p:spPr>
        <p:txBody>
          <a:bodyPr lIns="0" tIns="0" rIns="0" bIns="91416"/>
          <a:lstStyle>
            <a:defPPr>
              <a:defRPr lang="en-US"/>
            </a:defPPr>
            <a:lvl1pPr>
              <a:defRPr sz="1100">
                <a:solidFill>
                  <a:schemeClr val="tx2">
                    <a:lumMod val="50000"/>
                    <a:lumOff val="50000"/>
                  </a:schemeClr>
                </a:solidFill>
              </a:defRPr>
            </a:lvl1pPr>
          </a:lstStyle>
          <a:p>
            <a:pPr marL="0" lvl="0" algn="l" defTabSz="457063" rtl="0" eaLnBrk="1" latinLnBrk="0" hangingPunct="1"/>
            <a:fld id="{64202F7F-356F-46E2-8791-88745C87F5D9}" type="slidenum">
              <a:rPr lang="en-US" sz="1100" b="0" i="0" kern="1200" smtClean="0">
                <a:solidFill>
                  <a:schemeClr val="bg1"/>
                </a:solidFill>
                <a:latin typeface="Roboto" charset="0"/>
                <a:ea typeface="Roboto" charset="0"/>
                <a:cs typeface="Roboto" charset="0"/>
              </a:rPr>
              <a:pPr marL="0" lvl="0" algn="l" defTabSz="457063" rtl="0" eaLnBrk="1" latinLnBrk="0" hangingPunct="1"/>
              <a:t>‹#›</a:t>
            </a:fld>
            <a:endParaRPr lang="en-US" sz="1100" b="0" i="0" kern="1200">
              <a:solidFill>
                <a:schemeClr val="bg1"/>
              </a:solidFill>
              <a:latin typeface="Roboto" charset="0"/>
              <a:ea typeface="Roboto" charset="0"/>
              <a:cs typeface="Roboto" charset="0"/>
            </a:endParaRPr>
          </a:p>
        </p:txBody>
      </p:sp>
      <p:pic>
        <p:nvPicPr>
          <p:cNvPr id="17" name="Picture 16">
            <a:extLst>
              <a:ext uri="{FF2B5EF4-FFF2-40B4-BE49-F238E27FC236}">
                <a16:creationId xmlns:a16="http://schemas.microsoft.com/office/drawing/2014/main" id="{321C7625-78B4-42A5-ADB8-F4DCBAFFAEB3}"/>
              </a:ext>
            </a:extLst>
          </p:cNvPr>
          <p:cNvPicPr>
            <a:picLocks noChangeAspect="1"/>
          </p:cNvPicPr>
          <p:nvPr/>
        </p:nvPicPr>
        <p:blipFill>
          <a:blip r:embed="rId3"/>
          <a:stretch>
            <a:fillRect/>
          </a:stretch>
        </p:blipFill>
        <p:spPr>
          <a:xfrm>
            <a:off x="10048671" y="6090992"/>
            <a:ext cx="2066155" cy="708640"/>
          </a:xfrm>
          <a:prstGeom prst="rect">
            <a:avLst/>
          </a:prstGeom>
        </p:spPr>
      </p:pic>
    </p:spTree>
    <p:custDataLst>
      <p:tags r:id="rId1"/>
    </p:custDataLst>
    <p:extLst>
      <p:ext uri="{BB962C8B-B14F-4D97-AF65-F5344CB8AC3E}">
        <p14:creationId xmlns:p14="http://schemas.microsoft.com/office/powerpoint/2010/main" val="2070606591"/>
      </p:ext>
    </p:extLst>
  </p:cSld>
  <p:clrMapOvr>
    <a:masterClrMapping/>
  </p:clrMapOvr>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_Title Slide_option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Freeform 14">
            <a:extLst>
              <a:ext uri="{FF2B5EF4-FFF2-40B4-BE49-F238E27FC236}">
                <a16:creationId xmlns:a16="http://schemas.microsoft.com/office/drawing/2014/main" id="{21F5450C-5EE3-764C-9255-A45879016165}"/>
              </a:ext>
            </a:extLst>
          </p:cNvPr>
          <p:cNvSpPr/>
          <p:nvPr userDrawn="1"/>
        </p:nvSpPr>
        <p:spPr>
          <a:xfrm rot="16200000">
            <a:off x="4973323" y="1598219"/>
            <a:ext cx="6865702" cy="3660367"/>
          </a:xfrm>
          <a:custGeom>
            <a:avLst/>
            <a:gdLst>
              <a:gd name="connsiteX0" fmla="*/ 6837041 w 6837041"/>
              <a:gd name="connsiteY0" fmla="*/ 3595080 h 3595080"/>
              <a:gd name="connsiteX1" fmla="*/ 0 w 6837041"/>
              <a:gd name="connsiteY1" fmla="*/ 443330 h 3595080"/>
              <a:gd name="connsiteX2" fmla="*/ 0 w 6837041"/>
              <a:gd name="connsiteY2" fmla="*/ 0 h 3595080"/>
              <a:gd name="connsiteX0" fmla="*/ 6859268 w 6859268"/>
              <a:gd name="connsiteY0" fmla="*/ 3601433 h 3601433"/>
              <a:gd name="connsiteX1" fmla="*/ 0 w 6859268"/>
              <a:gd name="connsiteY1" fmla="*/ 443330 h 3601433"/>
              <a:gd name="connsiteX2" fmla="*/ 0 w 6859268"/>
              <a:gd name="connsiteY2" fmla="*/ 0 h 3601433"/>
              <a:gd name="connsiteX3" fmla="*/ 6859268 w 6859268"/>
              <a:gd name="connsiteY3" fmla="*/ 3601433 h 3601433"/>
              <a:gd name="connsiteX0" fmla="*/ 6881570 w 6881570"/>
              <a:gd name="connsiteY0" fmla="*/ 3657189 h 3657189"/>
              <a:gd name="connsiteX1" fmla="*/ 22302 w 6881570"/>
              <a:gd name="connsiteY1" fmla="*/ 499086 h 3657189"/>
              <a:gd name="connsiteX2" fmla="*/ 0 w 6881570"/>
              <a:gd name="connsiteY2" fmla="*/ 0 h 3657189"/>
              <a:gd name="connsiteX3" fmla="*/ 6881570 w 6881570"/>
              <a:gd name="connsiteY3" fmla="*/ 3657189 h 3657189"/>
              <a:gd name="connsiteX0" fmla="*/ 6862521 w 6862521"/>
              <a:gd name="connsiteY0" fmla="*/ 3657189 h 3657189"/>
              <a:gd name="connsiteX1" fmla="*/ 3253 w 6862521"/>
              <a:gd name="connsiteY1" fmla="*/ 499086 h 3657189"/>
              <a:gd name="connsiteX2" fmla="*/ 0 w 6862521"/>
              <a:gd name="connsiteY2" fmla="*/ 0 h 3657189"/>
              <a:gd name="connsiteX3" fmla="*/ 6862521 w 6862521"/>
              <a:gd name="connsiteY3" fmla="*/ 3657189 h 3657189"/>
              <a:gd name="connsiteX0" fmla="*/ 6862521 w 6862521"/>
              <a:gd name="connsiteY0" fmla="*/ 3654014 h 3654014"/>
              <a:gd name="connsiteX1" fmla="*/ 3253 w 6862521"/>
              <a:gd name="connsiteY1" fmla="*/ 499086 h 3654014"/>
              <a:gd name="connsiteX2" fmla="*/ 0 w 6862521"/>
              <a:gd name="connsiteY2" fmla="*/ 0 h 3654014"/>
              <a:gd name="connsiteX3" fmla="*/ 6862521 w 6862521"/>
              <a:gd name="connsiteY3" fmla="*/ 3654014 h 3654014"/>
              <a:gd name="connsiteX0" fmla="*/ 6865698 w 6865698"/>
              <a:gd name="connsiteY0" fmla="*/ 3660367 h 3660367"/>
              <a:gd name="connsiteX1" fmla="*/ 3253 w 6865698"/>
              <a:gd name="connsiteY1" fmla="*/ 499086 h 3660367"/>
              <a:gd name="connsiteX2" fmla="*/ 0 w 6865698"/>
              <a:gd name="connsiteY2" fmla="*/ 0 h 3660367"/>
              <a:gd name="connsiteX3" fmla="*/ 6865698 w 6865698"/>
              <a:gd name="connsiteY3" fmla="*/ 3660367 h 3660367"/>
            </a:gdLst>
            <a:ahLst/>
            <a:cxnLst>
              <a:cxn ang="0">
                <a:pos x="connsiteX0" y="connsiteY0"/>
              </a:cxn>
              <a:cxn ang="0">
                <a:pos x="connsiteX1" y="connsiteY1"/>
              </a:cxn>
              <a:cxn ang="0">
                <a:pos x="connsiteX2" y="connsiteY2"/>
              </a:cxn>
              <a:cxn ang="0">
                <a:pos x="connsiteX3" y="connsiteY3"/>
              </a:cxn>
            </a:cxnLst>
            <a:rect l="l" t="t" r="r" b="b"/>
            <a:pathLst>
              <a:path w="6865698" h="3660367">
                <a:moveTo>
                  <a:pt x="6865698" y="3660367"/>
                </a:moveTo>
                <a:lnTo>
                  <a:pt x="3253" y="499086"/>
                </a:lnTo>
                <a:cubicBezTo>
                  <a:pt x="2169" y="332724"/>
                  <a:pt x="1084" y="166362"/>
                  <a:pt x="0" y="0"/>
                </a:cubicBezTo>
                <a:lnTo>
                  <a:pt x="6865698" y="3660367"/>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799">
              <a:solidFill>
                <a:schemeClr val="accent1"/>
              </a:solidFill>
              <a:latin typeface="Roboto" panose="02000000000000000000" pitchFamily="2" charset="0"/>
            </a:endParaRPr>
          </a:p>
        </p:txBody>
      </p:sp>
      <p:sp>
        <p:nvSpPr>
          <p:cNvPr id="17" name="Freeform 16">
            <a:extLst>
              <a:ext uri="{FF2B5EF4-FFF2-40B4-BE49-F238E27FC236}">
                <a16:creationId xmlns:a16="http://schemas.microsoft.com/office/drawing/2014/main" id="{2032D7E5-8ACC-B643-87A2-6B19F923FBB9}"/>
              </a:ext>
            </a:extLst>
          </p:cNvPr>
          <p:cNvSpPr/>
          <p:nvPr userDrawn="1"/>
        </p:nvSpPr>
        <p:spPr>
          <a:xfrm>
            <a:off x="7020383" y="252"/>
            <a:ext cx="5168442" cy="6857751"/>
          </a:xfrm>
          <a:custGeom>
            <a:avLst/>
            <a:gdLst>
              <a:gd name="connsiteX0" fmla="*/ 5168442 w 5168442"/>
              <a:gd name="connsiteY0" fmla="*/ 0 h 6857751"/>
              <a:gd name="connsiteX1" fmla="*/ 5168442 w 5168442"/>
              <a:gd name="connsiteY1" fmla="*/ 6857751 h 6857751"/>
              <a:gd name="connsiteX2" fmla="*/ 4990745 w 5168442"/>
              <a:gd name="connsiteY2" fmla="*/ 6857751 h 6857751"/>
              <a:gd name="connsiteX3" fmla="*/ 3561939 w 5168442"/>
              <a:gd name="connsiteY3" fmla="*/ 6857751 h 6857751"/>
              <a:gd name="connsiteX4" fmla="*/ 3561939 w 5168442"/>
              <a:gd name="connsiteY4" fmla="*/ 6857158 h 6857751"/>
              <a:gd name="connsiteX5" fmla="*/ 0 w 5168442"/>
              <a:gd name="connsiteY5" fmla="*/ 6855677 h 6857751"/>
              <a:gd name="connsiteX6" fmla="*/ 3213596 w 5168442"/>
              <a:gd name="connsiteY6" fmla="*/ 4195 h 6857751"/>
              <a:gd name="connsiteX7" fmla="*/ 3561939 w 5168442"/>
              <a:gd name="connsiteY7" fmla="*/ 4195 h 6857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68442" h="6857751">
                <a:moveTo>
                  <a:pt x="5168442" y="0"/>
                </a:moveTo>
                <a:lnTo>
                  <a:pt x="5168442" y="6857751"/>
                </a:lnTo>
                <a:lnTo>
                  <a:pt x="4990745" y="6857751"/>
                </a:lnTo>
                <a:lnTo>
                  <a:pt x="3561939" y="6857751"/>
                </a:lnTo>
                <a:lnTo>
                  <a:pt x="3561939" y="6857158"/>
                </a:lnTo>
                <a:lnTo>
                  <a:pt x="0" y="6855677"/>
                </a:lnTo>
                <a:lnTo>
                  <a:pt x="3213596" y="4195"/>
                </a:lnTo>
                <a:lnTo>
                  <a:pt x="3561939" y="4195"/>
                </a:lnTo>
                <a:close/>
              </a:path>
            </a:pathLst>
          </a:custGeom>
          <a:gradFill>
            <a:gsLst>
              <a:gs pos="0">
                <a:schemeClr val="accent2"/>
              </a:gs>
              <a:gs pos="76000">
                <a:srgbClr val="FF6500"/>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7124" tIns="91416" rIns="137124" bIns="91416" rtlCol="0" anchor="ctr">
            <a:noAutofit/>
          </a:bodyPr>
          <a:lstStyle/>
          <a:p>
            <a:pPr lvl="0"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19" name="Freeform 18">
            <a:extLst>
              <a:ext uri="{FF2B5EF4-FFF2-40B4-BE49-F238E27FC236}">
                <a16:creationId xmlns:a16="http://schemas.microsoft.com/office/drawing/2014/main" id="{FD91BEA6-3F3C-EC47-9415-B53391D8D0D3}"/>
              </a:ext>
            </a:extLst>
          </p:cNvPr>
          <p:cNvSpPr/>
          <p:nvPr userDrawn="1"/>
        </p:nvSpPr>
        <p:spPr>
          <a:xfrm>
            <a:off x="7407017" y="4547198"/>
            <a:ext cx="4785372" cy="2310802"/>
          </a:xfrm>
          <a:custGeom>
            <a:avLst/>
            <a:gdLst>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16268 w 4717029"/>
              <a:gd name="connsiteY12" fmla="*/ 1924881 h 2310802"/>
              <a:gd name="connsiteX13" fmla="*/ 537304 w 4717029"/>
              <a:gd name="connsiteY13" fmla="*/ 1927002 h 2310802"/>
              <a:gd name="connsiteX14" fmla="*/ 555320 w 4717029"/>
              <a:gd name="connsiteY14" fmla="*/ 1748290 h 2310802"/>
              <a:gd name="connsiteX15" fmla="*/ 1458267 w 4717029"/>
              <a:gd name="connsiteY15" fmla="*/ 1012367 h 2310802"/>
              <a:gd name="connsiteX16" fmla="*/ 2307510 w 4717029"/>
              <a:gd name="connsiteY16" fmla="*/ 1575283 h 2310802"/>
              <a:gd name="connsiteX17" fmla="*/ 2359658 w 4717029"/>
              <a:gd name="connsiteY17" fmla="*/ 1743278 h 2310802"/>
              <a:gd name="connsiteX18" fmla="*/ 2697671 w 4717029"/>
              <a:gd name="connsiteY18" fmla="*/ 1743278 h 2310802"/>
              <a:gd name="connsiteX19" fmla="*/ 2691684 w 4717029"/>
              <a:gd name="connsiteY19" fmla="*/ 1683894 h 2310802"/>
              <a:gd name="connsiteX20" fmla="*/ 3479644 w 4717029"/>
              <a:gd name="connsiteY20" fmla="*/ 895934 h 2310802"/>
              <a:gd name="connsiteX21" fmla="*/ 3555657 w 4717029"/>
              <a:gd name="connsiteY21" fmla="*/ 899772 h 2310802"/>
              <a:gd name="connsiteX22" fmla="*/ 3556684 w 4717029"/>
              <a:gd name="connsiteY22" fmla="*/ 889585 h 2310802"/>
              <a:gd name="connsiteX23" fmla="*/ 4648168 w 4717029"/>
              <a:gd name="connsiteY23"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16268 w 4717029"/>
              <a:gd name="connsiteY12" fmla="*/ 1924881 h 2310802"/>
              <a:gd name="connsiteX13" fmla="*/ 555320 w 4717029"/>
              <a:gd name="connsiteY13" fmla="*/ 1748290 h 2310802"/>
              <a:gd name="connsiteX14" fmla="*/ 1458267 w 4717029"/>
              <a:gd name="connsiteY14" fmla="*/ 1012367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55320 w 4717029"/>
              <a:gd name="connsiteY13" fmla="*/ 1748290 h 2310802"/>
              <a:gd name="connsiteX14" fmla="*/ 1458267 w 4717029"/>
              <a:gd name="connsiteY14" fmla="*/ 1012367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55320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55320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55320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73608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73608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73608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479620 w 4717029"/>
              <a:gd name="connsiteY14" fmla="*/ 1020114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6903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76504 w 4745365"/>
              <a:gd name="connsiteY0" fmla="*/ 0 h 2310802"/>
              <a:gd name="connsiteX1" fmla="*/ 4745365 w 4745365"/>
              <a:gd name="connsiteY1" fmla="*/ 3477 h 2310802"/>
              <a:gd name="connsiteX2" fmla="*/ 4745365 w 4745365"/>
              <a:gd name="connsiteY2" fmla="*/ 2224761 h 2310802"/>
              <a:gd name="connsiteX3" fmla="*/ 4676504 w 4745365"/>
              <a:gd name="connsiteY3" fmla="*/ 2228238 h 2310802"/>
              <a:gd name="connsiteX4" fmla="*/ 4193487 w 4745365"/>
              <a:gd name="connsiteY4" fmla="*/ 2118374 h 2310802"/>
              <a:gd name="connsiteX5" fmla="*/ 4171520 w 4745365"/>
              <a:gd name="connsiteY5" fmla="*/ 2105748 h 2310802"/>
              <a:gd name="connsiteX6" fmla="*/ 4161369 w 4745365"/>
              <a:gd name="connsiteY6" fmla="*/ 2124450 h 2310802"/>
              <a:gd name="connsiteX7" fmla="*/ 4065152 w 4745365"/>
              <a:gd name="connsiteY7" fmla="*/ 2241066 h 2310802"/>
              <a:gd name="connsiteX8" fmla="*/ 3986221 w 4745365"/>
              <a:gd name="connsiteY8" fmla="*/ 2306190 h 2310802"/>
              <a:gd name="connsiteX9" fmla="*/ 3986221 w 4745365"/>
              <a:gd name="connsiteY9" fmla="*/ 2310802 h 2310802"/>
              <a:gd name="connsiteX10" fmla="*/ 0 w 4745365"/>
              <a:gd name="connsiteY10" fmla="*/ 2310802 h 2310802"/>
              <a:gd name="connsiteX11" fmla="*/ 45422 w 4745365"/>
              <a:gd name="connsiteY11" fmla="*/ 2255761 h 2310802"/>
              <a:gd name="connsiteX12" fmla="*/ 551119 w 4745365"/>
              <a:gd name="connsiteY12" fmla="*/ 1890083 h 2310802"/>
              <a:gd name="connsiteX13" fmla="*/ 575332 w 4745365"/>
              <a:gd name="connsiteY13" fmla="*/ 1748290 h 2310802"/>
              <a:gd name="connsiteX14" fmla="*/ 1504807 w 4745365"/>
              <a:gd name="connsiteY14" fmla="*/ 1035989 h 2310802"/>
              <a:gd name="connsiteX15" fmla="*/ 2335846 w 4745365"/>
              <a:gd name="connsiteY15" fmla="*/ 1575283 h 2310802"/>
              <a:gd name="connsiteX16" fmla="*/ 2387994 w 4745365"/>
              <a:gd name="connsiteY16" fmla="*/ 1743278 h 2310802"/>
              <a:gd name="connsiteX17" fmla="*/ 2726007 w 4745365"/>
              <a:gd name="connsiteY17" fmla="*/ 1743278 h 2310802"/>
              <a:gd name="connsiteX18" fmla="*/ 2720020 w 4745365"/>
              <a:gd name="connsiteY18" fmla="*/ 1683894 h 2310802"/>
              <a:gd name="connsiteX19" fmla="*/ 3507980 w 4745365"/>
              <a:gd name="connsiteY19" fmla="*/ 895934 h 2310802"/>
              <a:gd name="connsiteX20" fmla="*/ 3583993 w 4745365"/>
              <a:gd name="connsiteY20" fmla="*/ 899772 h 2310802"/>
              <a:gd name="connsiteX21" fmla="*/ 3585020 w 4745365"/>
              <a:gd name="connsiteY21" fmla="*/ 889585 h 2310802"/>
              <a:gd name="connsiteX22" fmla="*/ 4676504 w 4745365"/>
              <a:gd name="connsiteY22" fmla="*/ 0 h 2310802"/>
              <a:gd name="connsiteX0" fmla="*/ 4676504 w 4745365"/>
              <a:gd name="connsiteY0" fmla="*/ 0 h 2310802"/>
              <a:gd name="connsiteX1" fmla="*/ 4745365 w 4745365"/>
              <a:gd name="connsiteY1" fmla="*/ 3477 h 2310802"/>
              <a:gd name="connsiteX2" fmla="*/ 4745365 w 4745365"/>
              <a:gd name="connsiteY2" fmla="*/ 2224761 h 2310802"/>
              <a:gd name="connsiteX3" fmla="*/ 4676504 w 4745365"/>
              <a:gd name="connsiteY3" fmla="*/ 2228238 h 2310802"/>
              <a:gd name="connsiteX4" fmla="*/ 4193487 w 4745365"/>
              <a:gd name="connsiteY4" fmla="*/ 2118374 h 2310802"/>
              <a:gd name="connsiteX5" fmla="*/ 4171520 w 4745365"/>
              <a:gd name="connsiteY5" fmla="*/ 2105748 h 2310802"/>
              <a:gd name="connsiteX6" fmla="*/ 4161369 w 4745365"/>
              <a:gd name="connsiteY6" fmla="*/ 2124450 h 2310802"/>
              <a:gd name="connsiteX7" fmla="*/ 4065152 w 4745365"/>
              <a:gd name="connsiteY7" fmla="*/ 2241066 h 2310802"/>
              <a:gd name="connsiteX8" fmla="*/ 3986221 w 4745365"/>
              <a:gd name="connsiteY8" fmla="*/ 2306190 h 2310802"/>
              <a:gd name="connsiteX9" fmla="*/ 3986221 w 4745365"/>
              <a:gd name="connsiteY9" fmla="*/ 2310802 h 2310802"/>
              <a:gd name="connsiteX10" fmla="*/ 0 w 4745365"/>
              <a:gd name="connsiteY10" fmla="*/ 2310802 h 2310802"/>
              <a:gd name="connsiteX11" fmla="*/ 35977 w 4745365"/>
              <a:gd name="connsiteY11" fmla="*/ 2249411 h 2310802"/>
              <a:gd name="connsiteX12" fmla="*/ 551119 w 4745365"/>
              <a:gd name="connsiteY12" fmla="*/ 1890083 h 2310802"/>
              <a:gd name="connsiteX13" fmla="*/ 575332 w 4745365"/>
              <a:gd name="connsiteY13" fmla="*/ 1748290 h 2310802"/>
              <a:gd name="connsiteX14" fmla="*/ 1504807 w 4745365"/>
              <a:gd name="connsiteY14" fmla="*/ 1035989 h 2310802"/>
              <a:gd name="connsiteX15" fmla="*/ 2335846 w 4745365"/>
              <a:gd name="connsiteY15" fmla="*/ 1575283 h 2310802"/>
              <a:gd name="connsiteX16" fmla="*/ 2387994 w 4745365"/>
              <a:gd name="connsiteY16" fmla="*/ 1743278 h 2310802"/>
              <a:gd name="connsiteX17" fmla="*/ 2726007 w 4745365"/>
              <a:gd name="connsiteY17" fmla="*/ 1743278 h 2310802"/>
              <a:gd name="connsiteX18" fmla="*/ 2720020 w 4745365"/>
              <a:gd name="connsiteY18" fmla="*/ 1683894 h 2310802"/>
              <a:gd name="connsiteX19" fmla="*/ 3507980 w 4745365"/>
              <a:gd name="connsiteY19" fmla="*/ 895934 h 2310802"/>
              <a:gd name="connsiteX20" fmla="*/ 3583993 w 4745365"/>
              <a:gd name="connsiteY20" fmla="*/ 899772 h 2310802"/>
              <a:gd name="connsiteX21" fmla="*/ 3585020 w 4745365"/>
              <a:gd name="connsiteY21" fmla="*/ 889585 h 2310802"/>
              <a:gd name="connsiteX22" fmla="*/ 4676504 w 4745365"/>
              <a:gd name="connsiteY22" fmla="*/ 0 h 2310802"/>
              <a:gd name="connsiteX0" fmla="*/ 4676504 w 4745365"/>
              <a:gd name="connsiteY0" fmla="*/ 0 h 2310802"/>
              <a:gd name="connsiteX1" fmla="*/ 4745365 w 4745365"/>
              <a:gd name="connsiteY1" fmla="*/ 3477 h 2310802"/>
              <a:gd name="connsiteX2" fmla="*/ 4745365 w 4745365"/>
              <a:gd name="connsiteY2" fmla="*/ 2224761 h 2310802"/>
              <a:gd name="connsiteX3" fmla="*/ 4676504 w 4745365"/>
              <a:gd name="connsiteY3" fmla="*/ 2228238 h 2310802"/>
              <a:gd name="connsiteX4" fmla="*/ 4193487 w 4745365"/>
              <a:gd name="connsiteY4" fmla="*/ 2118374 h 2310802"/>
              <a:gd name="connsiteX5" fmla="*/ 4171520 w 4745365"/>
              <a:gd name="connsiteY5" fmla="*/ 2105748 h 2310802"/>
              <a:gd name="connsiteX6" fmla="*/ 4161369 w 4745365"/>
              <a:gd name="connsiteY6" fmla="*/ 2124450 h 2310802"/>
              <a:gd name="connsiteX7" fmla="*/ 4065152 w 4745365"/>
              <a:gd name="connsiteY7" fmla="*/ 2241066 h 2310802"/>
              <a:gd name="connsiteX8" fmla="*/ 3986221 w 4745365"/>
              <a:gd name="connsiteY8" fmla="*/ 2306190 h 2310802"/>
              <a:gd name="connsiteX9" fmla="*/ 3986221 w 4745365"/>
              <a:gd name="connsiteY9" fmla="*/ 2310802 h 2310802"/>
              <a:gd name="connsiteX10" fmla="*/ 0 w 4745365"/>
              <a:gd name="connsiteY10" fmla="*/ 2310802 h 2310802"/>
              <a:gd name="connsiteX11" fmla="*/ 35977 w 4745365"/>
              <a:gd name="connsiteY11" fmla="*/ 2249411 h 2310802"/>
              <a:gd name="connsiteX12" fmla="*/ 551119 w 4745365"/>
              <a:gd name="connsiteY12" fmla="*/ 1890083 h 2310802"/>
              <a:gd name="connsiteX13" fmla="*/ 575332 w 4745365"/>
              <a:gd name="connsiteY13" fmla="*/ 1748290 h 2310802"/>
              <a:gd name="connsiteX14" fmla="*/ 1504807 w 4745365"/>
              <a:gd name="connsiteY14" fmla="*/ 1035989 h 2310802"/>
              <a:gd name="connsiteX15" fmla="*/ 2335846 w 4745365"/>
              <a:gd name="connsiteY15" fmla="*/ 1575283 h 2310802"/>
              <a:gd name="connsiteX16" fmla="*/ 2387994 w 4745365"/>
              <a:gd name="connsiteY16" fmla="*/ 1743278 h 2310802"/>
              <a:gd name="connsiteX17" fmla="*/ 2726007 w 4745365"/>
              <a:gd name="connsiteY17" fmla="*/ 1743278 h 2310802"/>
              <a:gd name="connsiteX18" fmla="*/ 2720020 w 4745365"/>
              <a:gd name="connsiteY18" fmla="*/ 1683894 h 2310802"/>
              <a:gd name="connsiteX19" fmla="*/ 3507980 w 4745365"/>
              <a:gd name="connsiteY19" fmla="*/ 895934 h 2310802"/>
              <a:gd name="connsiteX20" fmla="*/ 3583993 w 4745365"/>
              <a:gd name="connsiteY20" fmla="*/ 899772 h 2310802"/>
              <a:gd name="connsiteX21" fmla="*/ 3585020 w 4745365"/>
              <a:gd name="connsiteY21" fmla="*/ 889585 h 2310802"/>
              <a:gd name="connsiteX22" fmla="*/ 4676504 w 4745365"/>
              <a:gd name="connsiteY22" fmla="*/ 0 h 2310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45365" h="2310802">
                <a:moveTo>
                  <a:pt x="4676504" y="0"/>
                </a:moveTo>
                <a:lnTo>
                  <a:pt x="4745365" y="3477"/>
                </a:lnTo>
                <a:lnTo>
                  <a:pt x="4745365" y="2224761"/>
                </a:lnTo>
                <a:lnTo>
                  <a:pt x="4676504" y="2228238"/>
                </a:lnTo>
                <a:cubicBezTo>
                  <a:pt x="4503447" y="2228238"/>
                  <a:pt x="4339607" y="2188782"/>
                  <a:pt x="4193487" y="2118374"/>
                </a:cubicBezTo>
                <a:lnTo>
                  <a:pt x="4171520" y="2105748"/>
                </a:lnTo>
                <a:lnTo>
                  <a:pt x="4161369" y="2124450"/>
                </a:lnTo>
                <a:cubicBezTo>
                  <a:pt x="4133048" y="2166370"/>
                  <a:pt x="4100800" y="2205418"/>
                  <a:pt x="4065152" y="2241066"/>
                </a:cubicBezTo>
                <a:lnTo>
                  <a:pt x="3986221" y="2306190"/>
                </a:lnTo>
                <a:lnTo>
                  <a:pt x="3986221" y="2310802"/>
                </a:lnTo>
                <a:lnTo>
                  <a:pt x="0" y="2310802"/>
                </a:lnTo>
                <a:lnTo>
                  <a:pt x="35977" y="2249411"/>
                </a:lnTo>
                <a:cubicBezTo>
                  <a:pt x="146556" y="2054967"/>
                  <a:pt x="326716" y="1890083"/>
                  <a:pt x="551119" y="1890083"/>
                </a:cubicBezTo>
                <a:cubicBezTo>
                  <a:pt x="553569" y="1819535"/>
                  <a:pt x="576031" y="1793438"/>
                  <a:pt x="575332" y="1748290"/>
                </a:cubicBezTo>
                <a:cubicBezTo>
                  <a:pt x="699055" y="1334650"/>
                  <a:pt x="1082288" y="1035078"/>
                  <a:pt x="1504807" y="1035989"/>
                </a:cubicBezTo>
                <a:cubicBezTo>
                  <a:pt x="1865747" y="1036767"/>
                  <a:pt x="2195928" y="1244481"/>
                  <a:pt x="2335846" y="1575283"/>
                </a:cubicBezTo>
                <a:lnTo>
                  <a:pt x="2387994" y="1743278"/>
                </a:lnTo>
                <a:lnTo>
                  <a:pt x="2726007" y="1743278"/>
                </a:lnTo>
                <a:lnTo>
                  <a:pt x="2720020" y="1683894"/>
                </a:lnTo>
                <a:cubicBezTo>
                  <a:pt x="2720020" y="1248716"/>
                  <a:pt x="3072802" y="895934"/>
                  <a:pt x="3507980" y="895934"/>
                </a:cubicBezTo>
                <a:lnTo>
                  <a:pt x="3583993" y="899772"/>
                </a:lnTo>
                <a:cubicBezTo>
                  <a:pt x="3584335" y="896376"/>
                  <a:pt x="3584678" y="892981"/>
                  <a:pt x="3585020" y="889585"/>
                </a:cubicBezTo>
                <a:cubicBezTo>
                  <a:pt x="3688907" y="381900"/>
                  <a:pt x="4138107" y="0"/>
                  <a:pt x="467650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7124" tIns="91416" rIns="137124" bIns="91416" rtlCol="0" anchor="ctr">
            <a:noAutofit/>
          </a:bodyP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21" name="Freeform 20">
            <a:extLst>
              <a:ext uri="{FF2B5EF4-FFF2-40B4-BE49-F238E27FC236}">
                <a16:creationId xmlns:a16="http://schemas.microsoft.com/office/drawing/2014/main" id="{DCB7F129-8FCD-464B-9127-EA7784620222}"/>
              </a:ext>
            </a:extLst>
          </p:cNvPr>
          <p:cNvSpPr/>
          <p:nvPr userDrawn="1"/>
        </p:nvSpPr>
        <p:spPr>
          <a:xfrm>
            <a:off x="7727999" y="4675237"/>
            <a:ext cx="4461444" cy="2182765"/>
          </a:xfrm>
          <a:custGeom>
            <a:avLst/>
            <a:gdLst>
              <a:gd name="connsiteX0" fmla="*/ 4461444 w 4461444"/>
              <a:gd name="connsiteY0" fmla="*/ 0 h 2182765"/>
              <a:gd name="connsiteX1" fmla="*/ 4461444 w 4461444"/>
              <a:gd name="connsiteY1" fmla="*/ 2182765 h 2182765"/>
              <a:gd name="connsiteX2" fmla="*/ 0 w 4461444"/>
              <a:gd name="connsiteY2" fmla="*/ 2182765 h 2182765"/>
              <a:gd name="connsiteX3" fmla="*/ 24342 w 4461444"/>
              <a:gd name="connsiteY3" fmla="*/ 2153263 h 2182765"/>
              <a:gd name="connsiteX4" fmla="*/ 481037 w 4461444"/>
              <a:gd name="connsiteY4" fmla="*/ 1964093 h 2182765"/>
              <a:gd name="connsiteX5" fmla="*/ 732436 w 4461444"/>
              <a:gd name="connsiteY5" fmla="*/ 2014848 h 2182765"/>
              <a:gd name="connsiteX6" fmla="*/ 787285 w 4461444"/>
              <a:gd name="connsiteY6" fmla="*/ 2044619 h 2182765"/>
              <a:gd name="connsiteX7" fmla="*/ 809805 w 4461444"/>
              <a:gd name="connsiteY7" fmla="*/ 1961250 h 2182765"/>
              <a:gd name="connsiteX8" fmla="*/ 1286315 w 4461444"/>
              <a:gd name="connsiteY8" fmla="*/ 1550577 h 2182765"/>
              <a:gd name="connsiteX9" fmla="*/ 1321466 w 4461444"/>
              <a:gd name="connsiteY9" fmla="*/ 1547033 h 2182765"/>
              <a:gd name="connsiteX10" fmla="*/ 1323271 w 4461444"/>
              <a:gd name="connsiteY10" fmla="*/ 1529127 h 2182765"/>
              <a:gd name="connsiteX11" fmla="*/ 2205095 w 4461444"/>
              <a:gd name="connsiteY11" fmla="*/ 810420 h 2182765"/>
              <a:gd name="connsiteX12" fmla="*/ 2708356 w 4461444"/>
              <a:gd name="connsiteY12" fmla="*/ 964145 h 2182765"/>
              <a:gd name="connsiteX13" fmla="*/ 2798296 w 4461444"/>
              <a:gd name="connsiteY13" fmla="*/ 1038353 h 2182765"/>
              <a:gd name="connsiteX14" fmla="*/ 2868637 w 4461444"/>
              <a:gd name="connsiteY14" fmla="*/ 1020266 h 2182765"/>
              <a:gd name="connsiteX15" fmla="*/ 3050041 w 4461444"/>
              <a:gd name="connsiteY15" fmla="*/ 1001979 h 2182765"/>
              <a:gd name="connsiteX16" fmla="*/ 3231445 w 4461444"/>
              <a:gd name="connsiteY16" fmla="*/ 1020266 h 2182765"/>
              <a:gd name="connsiteX17" fmla="*/ 3245588 w 4461444"/>
              <a:gd name="connsiteY17" fmla="*/ 1023903 h 2182765"/>
              <a:gd name="connsiteX18" fmla="*/ 3297823 w 4461444"/>
              <a:gd name="connsiteY18" fmla="*/ 960592 h 2182765"/>
              <a:gd name="connsiteX19" fmla="*/ 3934298 w 4461444"/>
              <a:gd name="connsiteY19" fmla="*/ 696956 h 2182765"/>
              <a:gd name="connsiteX20" fmla="*/ 4115702 w 4461444"/>
              <a:gd name="connsiteY20" fmla="*/ 715243 h 2182765"/>
              <a:gd name="connsiteX21" fmla="*/ 4127211 w 4461444"/>
              <a:gd name="connsiteY21" fmla="*/ 718203 h 2182765"/>
              <a:gd name="connsiteX22" fmla="*/ 4126073 w 4461444"/>
              <a:gd name="connsiteY22" fmla="*/ 695661 h 2182765"/>
              <a:gd name="connsiteX23" fmla="*/ 4389709 w 4461444"/>
              <a:gd name="connsiteY23" fmla="*/ 59186 h 2182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461444" h="2182765">
                <a:moveTo>
                  <a:pt x="4461444" y="0"/>
                </a:moveTo>
                <a:lnTo>
                  <a:pt x="4461444" y="2182765"/>
                </a:lnTo>
                <a:lnTo>
                  <a:pt x="0" y="2182765"/>
                </a:lnTo>
                <a:lnTo>
                  <a:pt x="24342" y="2153263"/>
                </a:lnTo>
                <a:cubicBezTo>
                  <a:pt x="141221" y="2036384"/>
                  <a:pt x="302687" y="1964093"/>
                  <a:pt x="481037" y="1964093"/>
                </a:cubicBezTo>
                <a:cubicBezTo>
                  <a:pt x="570212" y="1964093"/>
                  <a:pt x="655166" y="1982166"/>
                  <a:pt x="732436" y="2014848"/>
                </a:cubicBezTo>
                <a:lnTo>
                  <a:pt x="787285" y="2044619"/>
                </a:lnTo>
                <a:lnTo>
                  <a:pt x="809805" y="1961250"/>
                </a:lnTo>
                <a:cubicBezTo>
                  <a:pt x="885867" y="1753515"/>
                  <a:pt x="1065582" y="1595745"/>
                  <a:pt x="1286315" y="1550577"/>
                </a:cubicBezTo>
                <a:lnTo>
                  <a:pt x="1321466" y="1547033"/>
                </a:lnTo>
                <a:lnTo>
                  <a:pt x="1323271" y="1529127"/>
                </a:lnTo>
                <a:cubicBezTo>
                  <a:pt x="1407203" y="1118962"/>
                  <a:pt x="1770117" y="810420"/>
                  <a:pt x="2205095" y="810420"/>
                </a:cubicBezTo>
                <a:cubicBezTo>
                  <a:pt x="2391514" y="810420"/>
                  <a:pt x="2564697" y="867091"/>
                  <a:pt x="2708356" y="964145"/>
                </a:cubicBezTo>
                <a:lnTo>
                  <a:pt x="2798296" y="1038353"/>
                </a:lnTo>
                <a:lnTo>
                  <a:pt x="2868637" y="1020266"/>
                </a:lnTo>
                <a:cubicBezTo>
                  <a:pt x="2927232" y="1008276"/>
                  <a:pt x="2987901" y="1001979"/>
                  <a:pt x="3050041" y="1001979"/>
                </a:cubicBezTo>
                <a:cubicBezTo>
                  <a:pt x="3112181" y="1001979"/>
                  <a:pt x="3172850" y="1008276"/>
                  <a:pt x="3231445" y="1020266"/>
                </a:cubicBezTo>
                <a:lnTo>
                  <a:pt x="3245588" y="1023903"/>
                </a:lnTo>
                <a:lnTo>
                  <a:pt x="3297823" y="960592"/>
                </a:lnTo>
                <a:cubicBezTo>
                  <a:pt x="3460711" y="797704"/>
                  <a:pt x="3685739" y="696956"/>
                  <a:pt x="3934298" y="696956"/>
                </a:cubicBezTo>
                <a:cubicBezTo>
                  <a:pt x="3996438" y="696956"/>
                  <a:pt x="4057107" y="703253"/>
                  <a:pt x="4115702" y="715243"/>
                </a:cubicBezTo>
                <a:lnTo>
                  <a:pt x="4127211" y="718203"/>
                </a:lnTo>
                <a:lnTo>
                  <a:pt x="4126073" y="695661"/>
                </a:lnTo>
                <a:cubicBezTo>
                  <a:pt x="4126073" y="447102"/>
                  <a:pt x="4226821" y="222074"/>
                  <a:pt x="4389709" y="59186"/>
                </a:cubicBezTo>
                <a:close/>
              </a:path>
            </a:pathLst>
          </a:custGeom>
          <a:solidFill>
            <a:schemeClr val="bg1"/>
          </a:solidFill>
          <a:ln>
            <a:noFill/>
          </a:ln>
          <a:effectLst>
            <a:outerShdw blurRad="279400" dist="76200" dir="13800000"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37124" tIns="91416" rIns="137124" bIns="91416" rtlCol="0" anchor="ctr">
            <a:noAutofit/>
          </a:bodyPr>
          <a:lstStyle/>
          <a:p>
            <a:pPr lvl="0" algn="ctr"/>
            <a:endParaRPr lang="en-US" sz="1600">
              <a:solidFill>
                <a:schemeClr val="bg1"/>
              </a:solidFill>
              <a:latin typeface="Roboto" panose="02000000000000000000" pitchFamily="2" charset="0"/>
              <a:ea typeface="Roboto" panose="02000000000000000000" pitchFamily="2" charset="0"/>
              <a:cs typeface="Roboto" charset="0"/>
            </a:endParaRPr>
          </a:p>
        </p:txBody>
      </p:sp>
      <p:pic>
        <p:nvPicPr>
          <p:cNvPr id="16" name="Picture 15">
            <a:extLst>
              <a:ext uri="{FF2B5EF4-FFF2-40B4-BE49-F238E27FC236}">
                <a16:creationId xmlns:a16="http://schemas.microsoft.com/office/drawing/2014/main" id="{41E7B1FB-A023-284E-A4DD-8B678B38476F}"/>
              </a:ext>
            </a:extLst>
          </p:cNvPr>
          <p:cNvPicPr>
            <a:picLocks noChangeAspect="1"/>
          </p:cNvPicPr>
          <p:nvPr userDrawn="1"/>
        </p:nvPicPr>
        <p:blipFill>
          <a:blip r:embed="rId3"/>
          <a:srcRect/>
          <a:stretch/>
        </p:blipFill>
        <p:spPr>
          <a:xfrm>
            <a:off x="307612" y="287417"/>
            <a:ext cx="2475797" cy="849901"/>
          </a:xfrm>
          <a:prstGeom prst="rect">
            <a:avLst/>
          </a:prstGeom>
        </p:spPr>
      </p:pic>
      <p:sp>
        <p:nvSpPr>
          <p:cNvPr id="5" name="Text Placeholder 16">
            <a:extLst>
              <a:ext uri="{FF2B5EF4-FFF2-40B4-BE49-F238E27FC236}">
                <a16:creationId xmlns:a16="http://schemas.microsoft.com/office/drawing/2014/main" id="{6253D099-6F45-4C8B-9E60-07B7DBC6D796}"/>
              </a:ext>
            </a:extLst>
          </p:cNvPr>
          <p:cNvSpPr>
            <a:spLocks noGrp="1"/>
          </p:cNvSpPr>
          <p:nvPr>
            <p:ph type="body" sz="quarter" idx="10" hasCustomPrompt="1"/>
          </p:nvPr>
        </p:nvSpPr>
        <p:spPr bwMode="gray">
          <a:xfrm>
            <a:off x="1161226" y="1251522"/>
            <a:ext cx="6369780" cy="648398"/>
          </a:xfrm>
          <a:prstGeom prst="rect">
            <a:avLst/>
          </a:prstGeom>
        </p:spPr>
        <p:txBody>
          <a:bodyPr anchor="b" anchorCtr="0"/>
          <a:lstStyle>
            <a:lvl1pPr marL="0" indent="0">
              <a:lnSpc>
                <a:spcPct val="95000"/>
              </a:lnSpc>
              <a:spcBef>
                <a:spcPts val="0"/>
              </a:spcBef>
              <a:spcAft>
                <a:spcPts val="0"/>
              </a:spcAft>
              <a:buNone/>
              <a:defRPr sz="2399" b="0" i="0">
                <a:solidFill>
                  <a:schemeClr val="bg1"/>
                </a:solidFill>
                <a:latin typeface="+mj-lt"/>
                <a:ea typeface="Roboto" panose="02000000000000000000" pitchFamily="2" charset="0"/>
                <a:cs typeface="Roboto" panose="02000000000000000000" pitchFamily="2" charset="0"/>
              </a:defRPr>
            </a:lvl1pPr>
            <a:lvl2pPr marL="456971" indent="0">
              <a:buNone/>
              <a:defRPr/>
            </a:lvl2pPr>
            <a:lvl3pPr marL="913943" indent="0">
              <a:buNone/>
              <a:defRPr/>
            </a:lvl3pPr>
            <a:lvl4pPr marL="1370915" indent="0">
              <a:buNone/>
              <a:defRPr/>
            </a:lvl4pPr>
            <a:lvl5pPr marL="1827886" indent="0">
              <a:buNone/>
              <a:defRPr/>
            </a:lvl5pPr>
          </a:lstStyle>
          <a:p>
            <a:pPr lvl="0"/>
            <a:r>
              <a:rPr lang="en-US"/>
              <a:t>Date Roboto Light 20 Point</a:t>
            </a:r>
          </a:p>
        </p:txBody>
      </p:sp>
      <p:sp>
        <p:nvSpPr>
          <p:cNvPr id="6" name="Text Placeholder 23">
            <a:extLst>
              <a:ext uri="{FF2B5EF4-FFF2-40B4-BE49-F238E27FC236}">
                <a16:creationId xmlns:a16="http://schemas.microsoft.com/office/drawing/2014/main" id="{DD308AA3-29BC-4C59-ABCE-F77972B458B0}"/>
              </a:ext>
            </a:extLst>
          </p:cNvPr>
          <p:cNvSpPr>
            <a:spLocks noGrp="1"/>
          </p:cNvSpPr>
          <p:nvPr>
            <p:ph type="body" sz="quarter" idx="11" hasCustomPrompt="1"/>
          </p:nvPr>
        </p:nvSpPr>
        <p:spPr bwMode="gray">
          <a:xfrm>
            <a:off x="1161225" y="2629673"/>
            <a:ext cx="6803681" cy="2102713"/>
          </a:xfrm>
          <a:prstGeom prst="rect">
            <a:avLst/>
          </a:prstGeom>
        </p:spPr>
        <p:txBody>
          <a:bodyPr anchor="ctr" anchorCtr="0"/>
          <a:lstStyle>
            <a:lvl1pPr marL="0" indent="0">
              <a:spcBef>
                <a:spcPts val="600"/>
              </a:spcBef>
              <a:buNone/>
              <a:defRPr sz="5398" b="0" i="0">
                <a:solidFill>
                  <a:schemeClr val="bg1"/>
                </a:solidFill>
                <a:latin typeface="+mj-lt"/>
                <a:ea typeface="Roboto Light" panose="02000000000000000000" pitchFamily="2" charset="0"/>
                <a:cs typeface="Roboto Light" panose="02000000000000000000" pitchFamily="2" charset="0"/>
              </a:defRPr>
            </a:lvl1pPr>
            <a:lvl2pPr marL="456971" indent="0">
              <a:buNone/>
              <a:defRPr/>
            </a:lvl2pPr>
            <a:lvl3pPr marL="913943" indent="0">
              <a:buNone/>
              <a:defRPr/>
            </a:lvl3pPr>
            <a:lvl4pPr marL="1370915" indent="0">
              <a:buNone/>
              <a:defRPr/>
            </a:lvl4pPr>
            <a:lvl5pPr marL="1827886" indent="0">
              <a:buNone/>
              <a:defRPr/>
            </a:lvl5pPr>
          </a:lstStyle>
          <a:p>
            <a:r>
              <a:rPr lang="en-US"/>
              <a:t>Title Goes Here Roboto Light 54 Point</a:t>
            </a:r>
          </a:p>
        </p:txBody>
      </p:sp>
      <p:sp>
        <p:nvSpPr>
          <p:cNvPr id="7" name="Text Placeholder 25">
            <a:extLst>
              <a:ext uri="{FF2B5EF4-FFF2-40B4-BE49-F238E27FC236}">
                <a16:creationId xmlns:a16="http://schemas.microsoft.com/office/drawing/2014/main" id="{C35A878D-AAEA-4D61-9042-225148F309CD}"/>
              </a:ext>
            </a:extLst>
          </p:cNvPr>
          <p:cNvSpPr>
            <a:spLocks noGrp="1"/>
          </p:cNvSpPr>
          <p:nvPr>
            <p:ph type="body" sz="quarter" idx="12" hasCustomPrompt="1"/>
          </p:nvPr>
        </p:nvSpPr>
        <p:spPr bwMode="gray">
          <a:xfrm>
            <a:off x="1161226" y="4908299"/>
            <a:ext cx="5679524" cy="289576"/>
          </a:xfrm>
          <a:prstGeom prst="rect">
            <a:avLst/>
          </a:prstGeom>
        </p:spPr>
        <p:txBody>
          <a:bodyPr/>
          <a:lstStyle>
            <a:lvl1pPr marL="0" indent="0">
              <a:buNone/>
              <a:defRPr b="0" i="0" baseline="0">
                <a:solidFill>
                  <a:schemeClr val="bg1"/>
                </a:solidFill>
                <a:latin typeface="Roboto" panose="02000000000000000000" pitchFamily="2" charset="0"/>
                <a:ea typeface="Roboto" panose="02000000000000000000" pitchFamily="2" charset="0"/>
                <a:cs typeface="Roboto" panose="02000000000000000000" pitchFamily="2" charset="0"/>
              </a:defRPr>
            </a:lvl1pPr>
            <a:lvl2pPr marL="456971" indent="0">
              <a:buNone/>
              <a:defRPr/>
            </a:lvl2pPr>
            <a:lvl3pPr marL="913943" indent="0">
              <a:buNone/>
              <a:defRPr/>
            </a:lvl3pPr>
            <a:lvl4pPr marL="1370915" indent="0">
              <a:buNone/>
              <a:defRPr/>
            </a:lvl4pPr>
            <a:lvl5pPr marL="1827886" indent="0">
              <a:buNone/>
              <a:defRPr/>
            </a:lvl5pPr>
          </a:lstStyle>
          <a:p>
            <a:pPr lvl="0"/>
            <a:r>
              <a:rPr lang="en-US"/>
              <a:t>Speaker Name, Roboto Regular 20 Point</a:t>
            </a:r>
          </a:p>
        </p:txBody>
      </p:sp>
      <p:sp>
        <p:nvSpPr>
          <p:cNvPr id="9" name="Text Placeholder 27">
            <a:extLst>
              <a:ext uri="{FF2B5EF4-FFF2-40B4-BE49-F238E27FC236}">
                <a16:creationId xmlns:a16="http://schemas.microsoft.com/office/drawing/2014/main" id="{3B63A259-5A46-4D5E-8DD9-405690153FCB}"/>
              </a:ext>
            </a:extLst>
          </p:cNvPr>
          <p:cNvSpPr>
            <a:spLocks noGrp="1"/>
          </p:cNvSpPr>
          <p:nvPr>
            <p:ph type="body" sz="quarter" idx="13" hasCustomPrompt="1"/>
          </p:nvPr>
        </p:nvSpPr>
        <p:spPr bwMode="gray">
          <a:xfrm>
            <a:off x="1161226" y="5294971"/>
            <a:ext cx="5679524" cy="291041"/>
          </a:xfrm>
          <a:prstGeom prst="rect">
            <a:avLst/>
          </a:prstGeom>
        </p:spPr>
        <p:txBody>
          <a:bodyPr/>
          <a:lstStyle>
            <a:lvl1pPr marL="0" indent="0">
              <a:buNone/>
              <a:defRPr i="1" baseline="0">
                <a:solidFill>
                  <a:schemeClr val="bg1"/>
                </a:solidFill>
                <a:latin typeface="Roboto" panose="02000000000000000000" pitchFamily="2" charset="0"/>
                <a:ea typeface="Roboto" panose="02000000000000000000" pitchFamily="2" charset="0"/>
              </a:defRPr>
            </a:lvl1pPr>
            <a:lvl2pPr marL="456971" indent="0">
              <a:buNone/>
              <a:defRPr/>
            </a:lvl2pPr>
            <a:lvl3pPr marL="913943" indent="0">
              <a:buNone/>
              <a:defRPr/>
            </a:lvl3pPr>
            <a:lvl4pPr marL="1370915" indent="0">
              <a:buNone/>
              <a:defRPr/>
            </a:lvl4pPr>
            <a:lvl5pPr marL="1827886" indent="0">
              <a:buNone/>
              <a:defRPr/>
            </a:lvl5pPr>
          </a:lstStyle>
          <a:p>
            <a:pPr lvl="0"/>
            <a:r>
              <a:rPr lang="en-US"/>
              <a:t>Speaker Title or Email, Roboto Italic 20 Point</a:t>
            </a:r>
          </a:p>
        </p:txBody>
      </p:sp>
      <p:cxnSp>
        <p:nvCxnSpPr>
          <p:cNvPr id="11" name="Straight Connector 10">
            <a:extLst>
              <a:ext uri="{FF2B5EF4-FFF2-40B4-BE49-F238E27FC236}">
                <a16:creationId xmlns:a16="http://schemas.microsoft.com/office/drawing/2014/main" id="{B7489F51-FC0E-4883-9F2D-D6D4AE33946E}"/>
              </a:ext>
            </a:extLst>
          </p:cNvPr>
          <p:cNvCxnSpPr>
            <a:cxnSpLocks/>
          </p:cNvCxnSpPr>
          <p:nvPr userDrawn="1"/>
        </p:nvCxnSpPr>
        <p:spPr>
          <a:xfrm>
            <a:off x="1241751" y="1956269"/>
            <a:ext cx="358449"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E9F4AC0A-0E37-D744-BAD4-5D794D4CF6EA}"/>
              </a:ext>
            </a:extLst>
          </p:cNvPr>
          <p:cNvPicPr>
            <a:picLocks noChangeAspect="1"/>
          </p:cNvPicPr>
          <p:nvPr userDrawn="1"/>
        </p:nvPicPr>
        <p:blipFill>
          <a:blip r:embed="rId4"/>
          <a:stretch>
            <a:fillRect/>
          </a:stretch>
        </p:blipFill>
        <p:spPr>
          <a:xfrm>
            <a:off x="9458461" y="6007610"/>
            <a:ext cx="2478024" cy="849901"/>
          </a:xfrm>
          <a:prstGeom prst="rect">
            <a:avLst/>
          </a:prstGeom>
        </p:spPr>
      </p:pic>
    </p:spTree>
    <p:extLst>
      <p:ext uri="{BB962C8B-B14F-4D97-AF65-F5344CB8AC3E}">
        <p14:creationId xmlns:p14="http://schemas.microsoft.com/office/powerpoint/2010/main" val="2766540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2_Title Slide_option 1">
    <p:spTree>
      <p:nvGrpSpPr>
        <p:cNvPr id="1" name=""/>
        <p:cNvGrpSpPr/>
        <p:nvPr/>
      </p:nvGrpSpPr>
      <p:grpSpPr>
        <a:xfrm>
          <a:off x="0" y="0"/>
          <a:ext cx="0" cy="0"/>
          <a:chOff x="0" y="0"/>
          <a:chExt cx="0" cy="0"/>
        </a:xfrm>
      </p:grpSpPr>
      <p:sp>
        <p:nvSpPr>
          <p:cNvPr id="18" name="Freeform 17">
            <a:extLst>
              <a:ext uri="{FF2B5EF4-FFF2-40B4-BE49-F238E27FC236}">
                <a16:creationId xmlns:a16="http://schemas.microsoft.com/office/drawing/2014/main" id="{DD82887F-59D3-CD40-AD06-B7E5D4A5A082}"/>
              </a:ext>
            </a:extLst>
          </p:cNvPr>
          <p:cNvSpPr/>
          <p:nvPr userDrawn="1"/>
        </p:nvSpPr>
        <p:spPr>
          <a:xfrm rot="16200000">
            <a:off x="4973323" y="1598219"/>
            <a:ext cx="6865702" cy="3660367"/>
          </a:xfrm>
          <a:custGeom>
            <a:avLst/>
            <a:gdLst>
              <a:gd name="connsiteX0" fmla="*/ 6837041 w 6837041"/>
              <a:gd name="connsiteY0" fmla="*/ 3595080 h 3595080"/>
              <a:gd name="connsiteX1" fmla="*/ 0 w 6837041"/>
              <a:gd name="connsiteY1" fmla="*/ 443330 h 3595080"/>
              <a:gd name="connsiteX2" fmla="*/ 0 w 6837041"/>
              <a:gd name="connsiteY2" fmla="*/ 0 h 3595080"/>
              <a:gd name="connsiteX0" fmla="*/ 6859268 w 6859268"/>
              <a:gd name="connsiteY0" fmla="*/ 3601433 h 3601433"/>
              <a:gd name="connsiteX1" fmla="*/ 0 w 6859268"/>
              <a:gd name="connsiteY1" fmla="*/ 443330 h 3601433"/>
              <a:gd name="connsiteX2" fmla="*/ 0 w 6859268"/>
              <a:gd name="connsiteY2" fmla="*/ 0 h 3601433"/>
              <a:gd name="connsiteX3" fmla="*/ 6859268 w 6859268"/>
              <a:gd name="connsiteY3" fmla="*/ 3601433 h 3601433"/>
              <a:gd name="connsiteX0" fmla="*/ 6881570 w 6881570"/>
              <a:gd name="connsiteY0" fmla="*/ 3657189 h 3657189"/>
              <a:gd name="connsiteX1" fmla="*/ 22302 w 6881570"/>
              <a:gd name="connsiteY1" fmla="*/ 499086 h 3657189"/>
              <a:gd name="connsiteX2" fmla="*/ 0 w 6881570"/>
              <a:gd name="connsiteY2" fmla="*/ 0 h 3657189"/>
              <a:gd name="connsiteX3" fmla="*/ 6881570 w 6881570"/>
              <a:gd name="connsiteY3" fmla="*/ 3657189 h 3657189"/>
              <a:gd name="connsiteX0" fmla="*/ 6862521 w 6862521"/>
              <a:gd name="connsiteY0" fmla="*/ 3657189 h 3657189"/>
              <a:gd name="connsiteX1" fmla="*/ 3253 w 6862521"/>
              <a:gd name="connsiteY1" fmla="*/ 499086 h 3657189"/>
              <a:gd name="connsiteX2" fmla="*/ 0 w 6862521"/>
              <a:gd name="connsiteY2" fmla="*/ 0 h 3657189"/>
              <a:gd name="connsiteX3" fmla="*/ 6862521 w 6862521"/>
              <a:gd name="connsiteY3" fmla="*/ 3657189 h 3657189"/>
              <a:gd name="connsiteX0" fmla="*/ 6862521 w 6862521"/>
              <a:gd name="connsiteY0" fmla="*/ 3654014 h 3654014"/>
              <a:gd name="connsiteX1" fmla="*/ 3253 w 6862521"/>
              <a:gd name="connsiteY1" fmla="*/ 499086 h 3654014"/>
              <a:gd name="connsiteX2" fmla="*/ 0 w 6862521"/>
              <a:gd name="connsiteY2" fmla="*/ 0 h 3654014"/>
              <a:gd name="connsiteX3" fmla="*/ 6862521 w 6862521"/>
              <a:gd name="connsiteY3" fmla="*/ 3654014 h 3654014"/>
              <a:gd name="connsiteX0" fmla="*/ 6865698 w 6865698"/>
              <a:gd name="connsiteY0" fmla="*/ 3660367 h 3660367"/>
              <a:gd name="connsiteX1" fmla="*/ 3253 w 6865698"/>
              <a:gd name="connsiteY1" fmla="*/ 499086 h 3660367"/>
              <a:gd name="connsiteX2" fmla="*/ 0 w 6865698"/>
              <a:gd name="connsiteY2" fmla="*/ 0 h 3660367"/>
              <a:gd name="connsiteX3" fmla="*/ 6865698 w 6865698"/>
              <a:gd name="connsiteY3" fmla="*/ 3660367 h 3660367"/>
            </a:gdLst>
            <a:ahLst/>
            <a:cxnLst>
              <a:cxn ang="0">
                <a:pos x="connsiteX0" y="connsiteY0"/>
              </a:cxn>
              <a:cxn ang="0">
                <a:pos x="connsiteX1" y="connsiteY1"/>
              </a:cxn>
              <a:cxn ang="0">
                <a:pos x="connsiteX2" y="connsiteY2"/>
              </a:cxn>
              <a:cxn ang="0">
                <a:pos x="connsiteX3" y="connsiteY3"/>
              </a:cxn>
            </a:cxnLst>
            <a:rect l="l" t="t" r="r" b="b"/>
            <a:pathLst>
              <a:path w="6865698" h="3660367">
                <a:moveTo>
                  <a:pt x="6865698" y="3660367"/>
                </a:moveTo>
                <a:lnTo>
                  <a:pt x="3253" y="499086"/>
                </a:lnTo>
                <a:cubicBezTo>
                  <a:pt x="2169" y="332724"/>
                  <a:pt x="1084" y="166362"/>
                  <a:pt x="0" y="0"/>
                </a:cubicBezTo>
                <a:lnTo>
                  <a:pt x="6865698" y="3660367"/>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799">
              <a:solidFill>
                <a:schemeClr val="accent1"/>
              </a:solidFill>
              <a:latin typeface="Roboto" panose="02000000000000000000" pitchFamily="2" charset="0"/>
            </a:endParaRPr>
          </a:p>
        </p:txBody>
      </p:sp>
      <p:sp>
        <p:nvSpPr>
          <p:cNvPr id="5" name="Text Placeholder 16">
            <a:extLst>
              <a:ext uri="{FF2B5EF4-FFF2-40B4-BE49-F238E27FC236}">
                <a16:creationId xmlns:a16="http://schemas.microsoft.com/office/drawing/2014/main" id="{6253D099-6F45-4C8B-9E60-07B7DBC6D796}"/>
              </a:ext>
            </a:extLst>
          </p:cNvPr>
          <p:cNvSpPr>
            <a:spLocks noGrp="1"/>
          </p:cNvSpPr>
          <p:nvPr>
            <p:ph type="body" sz="quarter" idx="10" hasCustomPrompt="1"/>
          </p:nvPr>
        </p:nvSpPr>
        <p:spPr bwMode="gray">
          <a:xfrm>
            <a:off x="1161226" y="1251522"/>
            <a:ext cx="6369780" cy="648398"/>
          </a:xfrm>
          <a:prstGeom prst="rect">
            <a:avLst/>
          </a:prstGeom>
        </p:spPr>
        <p:txBody>
          <a:bodyPr anchor="b" anchorCtr="0"/>
          <a:lstStyle>
            <a:lvl1pPr marL="0" indent="0">
              <a:lnSpc>
                <a:spcPct val="95000"/>
              </a:lnSpc>
              <a:spcBef>
                <a:spcPts val="0"/>
              </a:spcBef>
              <a:spcAft>
                <a:spcPts val="0"/>
              </a:spcAft>
              <a:buNone/>
              <a:defRPr sz="2399" b="0" i="0">
                <a:solidFill>
                  <a:schemeClr val="bg1"/>
                </a:solidFill>
                <a:latin typeface="+mj-lt"/>
                <a:ea typeface="Roboto" panose="02000000000000000000" pitchFamily="2" charset="0"/>
                <a:cs typeface="Roboto" panose="02000000000000000000" pitchFamily="2" charset="0"/>
              </a:defRPr>
            </a:lvl1pPr>
            <a:lvl2pPr marL="456971" indent="0">
              <a:buNone/>
              <a:defRPr/>
            </a:lvl2pPr>
            <a:lvl3pPr marL="913943" indent="0">
              <a:buNone/>
              <a:defRPr/>
            </a:lvl3pPr>
            <a:lvl4pPr marL="1370915" indent="0">
              <a:buNone/>
              <a:defRPr/>
            </a:lvl4pPr>
            <a:lvl5pPr marL="1827886" indent="0">
              <a:buNone/>
              <a:defRPr/>
            </a:lvl5pPr>
          </a:lstStyle>
          <a:p>
            <a:pPr lvl="0"/>
            <a:r>
              <a:rPr lang="en-US"/>
              <a:t>Date Roboto Light 20 Point</a:t>
            </a:r>
          </a:p>
        </p:txBody>
      </p:sp>
      <p:sp>
        <p:nvSpPr>
          <p:cNvPr id="6" name="Text Placeholder 23">
            <a:extLst>
              <a:ext uri="{FF2B5EF4-FFF2-40B4-BE49-F238E27FC236}">
                <a16:creationId xmlns:a16="http://schemas.microsoft.com/office/drawing/2014/main" id="{DD308AA3-29BC-4C59-ABCE-F77972B458B0}"/>
              </a:ext>
            </a:extLst>
          </p:cNvPr>
          <p:cNvSpPr>
            <a:spLocks noGrp="1"/>
          </p:cNvSpPr>
          <p:nvPr>
            <p:ph type="body" sz="quarter" idx="11" hasCustomPrompt="1"/>
          </p:nvPr>
        </p:nvSpPr>
        <p:spPr bwMode="gray">
          <a:xfrm>
            <a:off x="1161225" y="2629673"/>
            <a:ext cx="6734421" cy="2102713"/>
          </a:xfrm>
          <a:prstGeom prst="rect">
            <a:avLst/>
          </a:prstGeom>
        </p:spPr>
        <p:txBody>
          <a:bodyPr anchor="ctr" anchorCtr="0"/>
          <a:lstStyle>
            <a:lvl1pPr marL="0" indent="0">
              <a:spcBef>
                <a:spcPts val="600"/>
              </a:spcBef>
              <a:buNone/>
              <a:defRPr sz="5398" b="0" i="0">
                <a:solidFill>
                  <a:schemeClr val="bg1"/>
                </a:solidFill>
                <a:latin typeface="+mj-lt"/>
                <a:ea typeface="Roboto Light" panose="02000000000000000000" pitchFamily="2" charset="0"/>
                <a:cs typeface="Roboto Light" panose="02000000000000000000" pitchFamily="2" charset="0"/>
              </a:defRPr>
            </a:lvl1pPr>
            <a:lvl2pPr marL="456971" indent="0">
              <a:buNone/>
              <a:defRPr/>
            </a:lvl2pPr>
            <a:lvl3pPr marL="913943" indent="0">
              <a:buNone/>
              <a:defRPr/>
            </a:lvl3pPr>
            <a:lvl4pPr marL="1370915" indent="0">
              <a:buNone/>
              <a:defRPr/>
            </a:lvl4pPr>
            <a:lvl5pPr marL="1827886" indent="0">
              <a:buNone/>
              <a:defRPr/>
            </a:lvl5pPr>
          </a:lstStyle>
          <a:p>
            <a:r>
              <a:rPr lang="en-US"/>
              <a:t>Title Goes Here Roboto Light 54 Point</a:t>
            </a:r>
          </a:p>
        </p:txBody>
      </p:sp>
      <p:sp>
        <p:nvSpPr>
          <p:cNvPr id="7" name="Text Placeholder 25">
            <a:extLst>
              <a:ext uri="{FF2B5EF4-FFF2-40B4-BE49-F238E27FC236}">
                <a16:creationId xmlns:a16="http://schemas.microsoft.com/office/drawing/2014/main" id="{C35A878D-AAEA-4D61-9042-225148F309CD}"/>
              </a:ext>
            </a:extLst>
          </p:cNvPr>
          <p:cNvSpPr>
            <a:spLocks noGrp="1"/>
          </p:cNvSpPr>
          <p:nvPr>
            <p:ph type="body" sz="quarter" idx="12" hasCustomPrompt="1"/>
          </p:nvPr>
        </p:nvSpPr>
        <p:spPr bwMode="gray">
          <a:xfrm>
            <a:off x="1161226" y="4908299"/>
            <a:ext cx="5679524" cy="289576"/>
          </a:xfrm>
          <a:prstGeom prst="rect">
            <a:avLst/>
          </a:prstGeom>
        </p:spPr>
        <p:txBody>
          <a:bodyPr/>
          <a:lstStyle>
            <a:lvl1pPr marL="0" indent="0">
              <a:buNone/>
              <a:defRPr b="0" i="0" baseline="0">
                <a:solidFill>
                  <a:schemeClr val="bg1"/>
                </a:solidFill>
                <a:latin typeface="Roboto" panose="02000000000000000000" pitchFamily="2" charset="0"/>
                <a:ea typeface="Roboto" panose="02000000000000000000" pitchFamily="2" charset="0"/>
                <a:cs typeface="Roboto" panose="02000000000000000000" pitchFamily="2" charset="0"/>
              </a:defRPr>
            </a:lvl1pPr>
            <a:lvl2pPr marL="456971" indent="0">
              <a:buNone/>
              <a:defRPr/>
            </a:lvl2pPr>
            <a:lvl3pPr marL="913943" indent="0">
              <a:buNone/>
              <a:defRPr/>
            </a:lvl3pPr>
            <a:lvl4pPr marL="1370915" indent="0">
              <a:buNone/>
              <a:defRPr/>
            </a:lvl4pPr>
            <a:lvl5pPr marL="1827886" indent="0">
              <a:buNone/>
              <a:defRPr/>
            </a:lvl5pPr>
          </a:lstStyle>
          <a:p>
            <a:pPr lvl="0"/>
            <a:r>
              <a:rPr lang="en-US"/>
              <a:t>Speaker Name, Roboto Regular 20 Point</a:t>
            </a:r>
          </a:p>
        </p:txBody>
      </p:sp>
      <p:sp>
        <p:nvSpPr>
          <p:cNvPr id="9" name="Text Placeholder 27">
            <a:extLst>
              <a:ext uri="{FF2B5EF4-FFF2-40B4-BE49-F238E27FC236}">
                <a16:creationId xmlns:a16="http://schemas.microsoft.com/office/drawing/2014/main" id="{3B63A259-5A46-4D5E-8DD9-405690153FCB}"/>
              </a:ext>
            </a:extLst>
          </p:cNvPr>
          <p:cNvSpPr>
            <a:spLocks noGrp="1"/>
          </p:cNvSpPr>
          <p:nvPr>
            <p:ph type="body" sz="quarter" idx="13" hasCustomPrompt="1"/>
          </p:nvPr>
        </p:nvSpPr>
        <p:spPr bwMode="gray">
          <a:xfrm>
            <a:off x="1161226" y="5294971"/>
            <a:ext cx="5679524" cy="291041"/>
          </a:xfrm>
          <a:prstGeom prst="rect">
            <a:avLst/>
          </a:prstGeom>
        </p:spPr>
        <p:txBody>
          <a:bodyPr/>
          <a:lstStyle>
            <a:lvl1pPr marL="0" indent="0">
              <a:buNone/>
              <a:defRPr i="1" baseline="0">
                <a:solidFill>
                  <a:schemeClr val="bg1"/>
                </a:solidFill>
                <a:latin typeface="Roboto" panose="02000000000000000000" pitchFamily="2" charset="0"/>
                <a:ea typeface="Roboto" panose="02000000000000000000" pitchFamily="2" charset="0"/>
              </a:defRPr>
            </a:lvl1pPr>
            <a:lvl2pPr marL="456971" indent="0">
              <a:buNone/>
              <a:defRPr/>
            </a:lvl2pPr>
            <a:lvl3pPr marL="913943" indent="0">
              <a:buNone/>
              <a:defRPr/>
            </a:lvl3pPr>
            <a:lvl4pPr marL="1370915" indent="0">
              <a:buNone/>
              <a:defRPr/>
            </a:lvl4pPr>
            <a:lvl5pPr marL="1827886" indent="0">
              <a:buNone/>
              <a:defRPr/>
            </a:lvl5pPr>
          </a:lstStyle>
          <a:p>
            <a:pPr lvl="0"/>
            <a:r>
              <a:rPr lang="en-US"/>
              <a:t>Speaker Title or Email, Roboto Italic 20 Point</a:t>
            </a:r>
          </a:p>
        </p:txBody>
      </p:sp>
      <p:pic>
        <p:nvPicPr>
          <p:cNvPr id="10" name="Picture 9">
            <a:extLst>
              <a:ext uri="{FF2B5EF4-FFF2-40B4-BE49-F238E27FC236}">
                <a16:creationId xmlns:a16="http://schemas.microsoft.com/office/drawing/2014/main" id="{D4909AF7-D9AD-824D-9C4C-B8EE0A3E9459}"/>
              </a:ext>
            </a:extLst>
          </p:cNvPr>
          <p:cNvPicPr>
            <a:picLocks noChangeAspect="1"/>
          </p:cNvPicPr>
          <p:nvPr userDrawn="1"/>
        </p:nvPicPr>
        <p:blipFill>
          <a:blip r:embed="rId2"/>
          <a:srcRect/>
          <a:stretch/>
        </p:blipFill>
        <p:spPr>
          <a:xfrm>
            <a:off x="307612" y="287417"/>
            <a:ext cx="2475797" cy="849901"/>
          </a:xfrm>
          <a:prstGeom prst="rect">
            <a:avLst/>
          </a:prstGeom>
        </p:spPr>
      </p:pic>
      <p:cxnSp>
        <p:nvCxnSpPr>
          <p:cNvPr id="12" name="Straight Connector 11">
            <a:extLst>
              <a:ext uri="{FF2B5EF4-FFF2-40B4-BE49-F238E27FC236}">
                <a16:creationId xmlns:a16="http://schemas.microsoft.com/office/drawing/2014/main" id="{96069E37-123D-284E-A48C-A17B33EEDD2F}"/>
              </a:ext>
            </a:extLst>
          </p:cNvPr>
          <p:cNvCxnSpPr>
            <a:cxnSpLocks/>
          </p:cNvCxnSpPr>
          <p:nvPr userDrawn="1"/>
        </p:nvCxnSpPr>
        <p:spPr>
          <a:xfrm>
            <a:off x="1241751" y="1956269"/>
            <a:ext cx="358449"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
        <p:nvSpPr>
          <p:cNvPr id="43" name="Freeform 42">
            <a:extLst>
              <a:ext uri="{FF2B5EF4-FFF2-40B4-BE49-F238E27FC236}">
                <a16:creationId xmlns:a16="http://schemas.microsoft.com/office/drawing/2014/main" id="{CD815438-737E-E346-AFE9-3D2C9A46A9DD}"/>
              </a:ext>
            </a:extLst>
          </p:cNvPr>
          <p:cNvSpPr/>
          <p:nvPr userDrawn="1"/>
        </p:nvSpPr>
        <p:spPr>
          <a:xfrm>
            <a:off x="7020383" y="252"/>
            <a:ext cx="5168442" cy="6857751"/>
          </a:xfrm>
          <a:custGeom>
            <a:avLst/>
            <a:gdLst>
              <a:gd name="connsiteX0" fmla="*/ 5168442 w 5168442"/>
              <a:gd name="connsiteY0" fmla="*/ 0 h 6857751"/>
              <a:gd name="connsiteX1" fmla="*/ 5168442 w 5168442"/>
              <a:gd name="connsiteY1" fmla="*/ 6857751 h 6857751"/>
              <a:gd name="connsiteX2" fmla="*/ 4990745 w 5168442"/>
              <a:gd name="connsiteY2" fmla="*/ 6857751 h 6857751"/>
              <a:gd name="connsiteX3" fmla="*/ 3561939 w 5168442"/>
              <a:gd name="connsiteY3" fmla="*/ 6857751 h 6857751"/>
              <a:gd name="connsiteX4" fmla="*/ 3561939 w 5168442"/>
              <a:gd name="connsiteY4" fmla="*/ 6857158 h 6857751"/>
              <a:gd name="connsiteX5" fmla="*/ 0 w 5168442"/>
              <a:gd name="connsiteY5" fmla="*/ 6855677 h 6857751"/>
              <a:gd name="connsiteX6" fmla="*/ 3213596 w 5168442"/>
              <a:gd name="connsiteY6" fmla="*/ 4195 h 6857751"/>
              <a:gd name="connsiteX7" fmla="*/ 3561939 w 5168442"/>
              <a:gd name="connsiteY7" fmla="*/ 4195 h 6857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68442" h="6857751">
                <a:moveTo>
                  <a:pt x="5168442" y="0"/>
                </a:moveTo>
                <a:lnTo>
                  <a:pt x="5168442" y="6857751"/>
                </a:lnTo>
                <a:lnTo>
                  <a:pt x="4990745" y="6857751"/>
                </a:lnTo>
                <a:lnTo>
                  <a:pt x="3561939" y="6857751"/>
                </a:lnTo>
                <a:lnTo>
                  <a:pt x="3561939" y="6857158"/>
                </a:lnTo>
                <a:lnTo>
                  <a:pt x="0" y="6855677"/>
                </a:lnTo>
                <a:lnTo>
                  <a:pt x="3213596" y="4195"/>
                </a:lnTo>
                <a:lnTo>
                  <a:pt x="3561939" y="4195"/>
                </a:lnTo>
                <a:close/>
              </a:path>
            </a:pathLst>
          </a:custGeom>
          <a:gradFill>
            <a:gsLst>
              <a:gs pos="0">
                <a:schemeClr val="accent2"/>
              </a:gs>
              <a:gs pos="76000">
                <a:srgbClr val="FF6500"/>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7124" tIns="91416" rIns="137124" bIns="91416" rtlCol="0" anchor="ctr">
            <a:noAutofit/>
          </a:bodyPr>
          <a:lstStyle/>
          <a:p>
            <a:pPr lvl="0" algn="ctr"/>
            <a:endParaRPr lang="en-US" sz="1600">
              <a:solidFill>
                <a:schemeClr val="bg1"/>
              </a:solidFill>
              <a:latin typeface="Roboto" panose="02000000000000000000" pitchFamily="2" charset="0"/>
              <a:ea typeface="Roboto" panose="02000000000000000000" pitchFamily="2" charset="0"/>
              <a:cs typeface="Roboto" charset="0"/>
            </a:endParaRPr>
          </a:p>
        </p:txBody>
      </p:sp>
    </p:spTree>
    <p:extLst>
      <p:ext uri="{BB962C8B-B14F-4D97-AF65-F5344CB8AC3E}">
        <p14:creationId xmlns:p14="http://schemas.microsoft.com/office/powerpoint/2010/main" val="1414025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_option 2">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98F7C93-3EAF-8F41-BCCE-44689F0C0324}"/>
              </a:ext>
            </a:extLst>
          </p:cNvPr>
          <p:cNvSpPr/>
          <p:nvPr userDrawn="1"/>
        </p:nvSpPr>
        <p:spPr>
          <a:xfrm>
            <a:off x="1" y="-75"/>
            <a:ext cx="12188825" cy="6857509"/>
          </a:xfrm>
          <a:prstGeom prst="rect">
            <a:avLst/>
          </a:prstGeom>
          <a:gradFill>
            <a:gsLst>
              <a:gs pos="0">
                <a:schemeClr val="accent2"/>
              </a:gs>
              <a:gs pos="76000">
                <a:srgbClr val="FF6500"/>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7124" tIns="91416" rIns="137124" bIns="91416" rtlCol="0" anchor="ctr">
            <a:noAutofit/>
          </a:bodyPr>
          <a:lstStyle/>
          <a:p>
            <a:pPr lvl="0"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29" name="Freeform 28">
            <a:extLst>
              <a:ext uri="{FF2B5EF4-FFF2-40B4-BE49-F238E27FC236}">
                <a16:creationId xmlns:a16="http://schemas.microsoft.com/office/drawing/2014/main" id="{C2361DA9-ED0A-9945-BFD7-FC998E37B28B}"/>
              </a:ext>
            </a:extLst>
          </p:cNvPr>
          <p:cNvSpPr/>
          <p:nvPr userDrawn="1"/>
        </p:nvSpPr>
        <p:spPr>
          <a:xfrm>
            <a:off x="7407017" y="4547198"/>
            <a:ext cx="4785372" cy="2310802"/>
          </a:xfrm>
          <a:custGeom>
            <a:avLst/>
            <a:gdLst>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16268 w 4717029"/>
              <a:gd name="connsiteY12" fmla="*/ 1924881 h 2310802"/>
              <a:gd name="connsiteX13" fmla="*/ 537304 w 4717029"/>
              <a:gd name="connsiteY13" fmla="*/ 1927002 h 2310802"/>
              <a:gd name="connsiteX14" fmla="*/ 555320 w 4717029"/>
              <a:gd name="connsiteY14" fmla="*/ 1748290 h 2310802"/>
              <a:gd name="connsiteX15" fmla="*/ 1458267 w 4717029"/>
              <a:gd name="connsiteY15" fmla="*/ 1012367 h 2310802"/>
              <a:gd name="connsiteX16" fmla="*/ 2307510 w 4717029"/>
              <a:gd name="connsiteY16" fmla="*/ 1575283 h 2310802"/>
              <a:gd name="connsiteX17" fmla="*/ 2359658 w 4717029"/>
              <a:gd name="connsiteY17" fmla="*/ 1743278 h 2310802"/>
              <a:gd name="connsiteX18" fmla="*/ 2697671 w 4717029"/>
              <a:gd name="connsiteY18" fmla="*/ 1743278 h 2310802"/>
              <a:gd name="connsiteX19" fmla="*/ 2691684 w 4717029"/>
              <a:gd name="connsiteY19" fmla="*/ 1683894 h 2310802"/>
              <a:gd name="connsiteX20" fmla="*/ 3479644 w 4717029"/>
              <a:gd name="connsiteY20" fmla="*/ 895934 h 2310802"/>
              <a:gd name="connsiteX21" fmla="*/ 3555657 w 4717029"/>
              <a:gd name="connsiteY21" fmla="*/ 899772 h 2310802"/>
              <a:gd name="connsiteX22" fmla="*/ 3556684 w 4717029"/>
              <a:gd name="connsiteY22" fmla="*/ 889585 h 2310802"/>
              <a:gd name="connsiteX23" fmla="*/ 4648168 w 4717029"/>
              <a:gd name="connsiteY23"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16268 w 4717029"/>
              <a:gd name="connsiteY12" fmla="*/ 1924881 h 2310802"/>
              <a:gd name="connsiteX13" fmla="*/ 555320 w 4717029"/>
              <a:gd name="connsiteY13" fmla="*/ 1748290 h 2310802"/>
              <a:gd name="connsiteX14" fmla="*/ 1458267 w 4717029"/>
              <a:gd name="connsiteY14" fmla="*/ 1012367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55320 w 4717029"/>
              <a:gd name="connsiteY13" fmla="*/ 1748290 h 2310802"/>
              <a:gd name="connsiteX14" fmla="*/ 1458267 w 4717029"/>
              <a:gd name="connsiteY14" fmla="*/ 1012367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55320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55320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55320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73608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73608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73608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479620 w 4717029"/>
              <a:gd name="connsiteY14" fmla="*/ 1020114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6903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76504 w 4745365"/>
              <a:gd name="connsiteY0" fmla="*/ 0 h 2310802"/>
              <a:gd name="connsiteX1" fmla="*/ 4745365 w 4745365"/>
              <a:gd name="connsiteY1" fmla="*/ 3477 h 2310802"/>
              <a:gd name="connsiteX2" fmla="*/ 4745365 w 4745365"/>
              <a:gd name="connsiteY2" fmla="*/ 2224761 h 2310802"/>
              <a:gd name="connsiteX3" fmla="*/ 4676504 w 4745365"/>
              <a:gd name="connsiteY3" fmla="*/ 2228238 h 2310802"/>
              <a:gd name="connsiteX4" fmla="*/ 4193487 w 4745365"/>
              <a:gd name="connsiteY4" fmla="*/ 2118374 h 2310802"/>
              <a:gd name="connsiteX5" fmla="*/ 4171520 w 4745365"/>
              <a:gd name="connsiteY5" fmla="*/ 2105748 h 2310802"/>
              <a:gd name="connsiteX6" fmla="*/ 4161369 w 4745365"/>
              <a:gd name="connsiteY6" fmla="*/ 2124450 h 2310802"/>
              <a:gd name="connsiteX7" fmla="*/ 4065152 w 4745365"/>
              <a:gd name="connsiteY7" fmla="*/ 2241066 h 2310802"/>
              <a:gd name="connsiteX8" fmla="*/ 3986221 w 4745365"/>
              <a:gd name="connsiteY8" fmla="*/ 2306190 h 2310802"/>
              <a:gd name="connsiteX9" fmla="*/ 3986221 w 4745365"/>
              <a:gd name="connsiteY9" fmla="*/ 2310802 h 2310802"/>
              <a:gd name="connsiteX10" fmla="*/ 0 w 4745365"/>
              <a:gd name="connsiteY10" fmla="*/ 2310802 h 2310802"/>
              <a:gd name="connsiteX11" fmla="*/ 45422 w 4745365"/>
              <a:gd name="connsiteY11" fmla="*/ 2255761 h 2310802"/>
              <a:gd name="connsiteX12" fmla="*/ 551119 w 4745365"/>
              <a:gd name="connsiteY12" fmla="*/ 1890083 h 2310802"/>
              <a:gd name="connsiteX13" fmla="*/ 575332 w 4745365"/>
              <a:gd name="connsiteY13" fmla="*/ 1748290 h 2310802"/>
              <a:gd name="connsiteX14" fmla="*/ 1504807 w 4745365"/>
              <a:gd name="connsiteY14" fmla="*/ 1035989 h 2310802"/>
              <a:gd name="connsiteX15" fmla="*/ 2335846 w 4745365"/>
              <a:gd name="connsiteY15" fmla="*/ 1575283 h 2310802"/>
              <a:gd name="connsiteX16" fmla="*/ 2387994 w 4745365"/>
              <a:gd name="connsiteY16" fmla="*/ 1743278 h 2310802"/>
              <a:gd name="connsiteX17" fmla="*/ 2726007 w 4745365"/>
              <a:gd name="connsiteY17" fmla="*/ 1743278 h 2310802"/>
              <a:gd name="connsiteX18" fmla="*/ 2720020 w 4745365"/>
              <a:gd name="connsiteY18" fmla="*/ 1683894 h 2310802"/>
              <a:gd name="connsiteX19" fmla="*/ 3507980 w 4745365"/>
              <a:gd name="connsiteY19" fmla="*/ 895934 h 2310802"/>
              <a:gd name="connsiteX20" fmla="*/ 3583993 w 4745365"/>
              <a:gd name="connsiteY20" fmla="*/ 899772 h 2310802"/>
              <a:gd name="connsiteX21" fmla="*/ 3585020 w 4745365"/>
              <a:gd name="connsiteY21" fmla="*/ 889585 h 2310802"/>
              <a:gd name="connsiteX22" fmla="*/ 4676504 w 4745365"/>
              <a:gd name="connsiteY22" fmla="*/ 0 h 2310802"/>
              <a:gd name="connsiteX0" fmla="*/ 4676504 w 4745365"/>
              <a:gd name="connsiteY0" fmla="*/ 0 h 2310802"/>
              <a:gd name="connsiteX1" fmla="*/ 4745365 w 4745365"/>
              <a:gd name="connsiteY1" fmla="*/ 3477 h 2310802"/>
              <a:gd name="connsiteX2" fmla="*/ 4745365 w 4745365"/>
              <a:gd name="connsiteY2" fmla="*/ 2224761 h 2310802"/>
              <a:gd name="connsiteX3" fmla="*/ 4676504 w 4745365"/>
              <a:gd name="connsiteY3" fmla="*/ 2228238 h 2310802"/>
              <a:gd name="connsiteX4" fmla="*/ 4193487 w 4745365"/>
              <a:gd name="connsiteY4" fmla="*/ 2118374 h 2310802"/>
              <a:gd name="connsiteX5" fmla="*/ 4171520 w 4745365"/>
              <a:gd name="connsiteY5" fmla="*/ 2105748 h 2310802"/>
              <a:gd name="connsiteX6" fmla="*/ 4161369 w 4745365"/>
              <a:gd name="connsiteY6" fmla="*/ 2124450 h 2310802"/>
              <a:gd name="connsiteX7" fmla="*/ 4065152 w 4745365"/>
              <a:gd name="connsiteY7" fmla="*/ 2241066 h 2310802"/>
              <a:gd name="connsiteX8" fmla="*/ 3986221 w 4745365"/>
              <a:gd name="connsiteY8" fmla="*/ 2306190 h 2310802"/>
              <a:gd name="connsiteX9" fmla="*/ 3986221 w 4745365"/>
              <a:gd name="connsiteY9" fmla="*/ 2310802 h 2310802"/>
              <a:gd name="connsiteX10" fmla="*/ 0 w 4745365"/>
              <a:gd name="connsiteY10" fmla="*/ 2310802 h 2310802"/>
              <a:gd name="connsiteX11" fmla="*/ 35977 w 4745365"/>
              <a:gd name="connsiteY11" fmla="*/ 2249411 h 2310802"/>
              <a:gd name="connsiteX12" fmla="*/ 551119 w 4745365"/>
              <a:gd name="connsiteY12" fmla="*/ 1890083 h 2310802"/>
              <a:gd name="connsiteX13" fmla="*/ 575332 w 4745365"/>
              <a:gd name="connsiteY13" fmla="*/ 1748290 h 2310802"/>
              <a:gd name="connsiteX14" fmla="*/ 1504807 w 4745365"/>
              <a:gd name="connsiteY14" fmla="*/ 1035989 h 2310802"/>
              <a:gd name="connsiteX15" fmla="*/ 2335846 w 4745365"/>
              <a:gd name="connsiteY15" fmla="*/ 1575283 h 2310802"/>
              <a:gd name="connsiteX16" fmla="*/ 2387994 w 4745365"/>
              <a:gd name="connsiteY16" fmla="*/ 1743278 h 2310802"/>
              <a:gd name="connsiteX17" fmla="*/ 2726007 w 4745365"/>
              <a:gd name="connsiteY17" fmla="*/ 1743278 h 2310802"/>
              <a:gd name="connsiteX18" fmla="*/ 2720020 w 4745365"/>
              <a:gd name="connsiteY18" fmla="*/ 1683894 h 2310802"/>
              <a:gd name="connsiteX19" fmla="*/ 3507980 w 4745365"/>
              <a:gd name="connsiteY19" fmla="*/ 895934 h 2310802"/>
              <a:gd name="connsiteX20" fmla="*/ 3583993 w 4745365"/>
              <a:gd name="connsiteY20" fmla="*/ 899772 h 2310802"/>
              <a:gd name="connsiteX21" fmla="*/ 3585020 w 4745365"/>
              <a:gd name="connsiteY21" fmla="*/ 889585 h 2310802"/>
              <a:gd name="connsiteX22" fmla="*/ 4676504 w 4745365"/>
              <a:gd name="connsiteY22" fmla="*/ 0 h 2310802"/>
              <a:gd name="connsiteX0" fmla="*/ 4676504 w 4745365"/>
              <a:gd name="connsiteY0" fmla="*/ 0 h 2310802"/>
              <a:gd name="connsiteX1" fmla="*/ 4745365 w 4745365"/>
              <a:gd name="connsiteY1" fmla="*/ 3477 h 2310802"/>
              <a:gd name="connsiteX2" fmla="*/ 4745365 w 4745365"/>
              <a:gd name="connsiteY2" fmla="*/ 2224761 h 2310802"/>
              <a:gd name="connsiteX3" fmla="*/ 4676504 w 4745365"/>
              <a:gd name="connsiteY3" fmla="*/ 2228238 h 2310802"/>
              <a:gd name="connsiteX4" fmla="*/ 4193487 w 4745365"/>
              <a:gd name="connsiteY4" fmla="*/ 2118374 h 2310802"/>
              <a:gd name="connsiteX5" fmla="*/ 4171520 w 4745365"/>
              <a:gd name="connsiteY5" fmla="*/ 2105748 h 2310802"/>
              <a:gd name="connsiteX6" fmla="*/ 4161369 w 4745365"/>
              <a:gd name="connsiteY6" fmla="*/ 2124450 h 2310802"/>
              <a:gd name="connsiteX7" fmla="*/ 4065152 w 4745365"/>
              <a:gd name="connsiteY7" fmla="*/ 2241066 h 2310802"/>
              <a:gd name="connsiteX8" fmla="*/ 3986221 w 4745365"/>
              <a:gd name="connsiteY8" fmla="*/ 2306190 h 2310802"/>
              <a:gd name="connsiteX9" fmla="*/ 3986221 w 4745365"/>
              <a:gd name="connsiteY9" fmla="*/ 2310802 h 2310802"/>
              <a:gd name="connsiteX10" fmla="*/ 0 w 4745365"/>
              <a:gd name="connsiteY10" fmla="*/ 2310802 h 2310802"/>
              <a:gd name="connsiteX11" fmla="*/ 35977 w 4745365"/>
              <a:gd name="connsiteY11" fmla="*/ 2249411 h 2310802"/>
              <a:gd name="connsiteX12" fmla="*/ 551119 w 4745365"/>
              <a:gd name="connsiteY12" fmla="*/ 1890083 h 2310802"/>
              <a:gd name="connsiteX13" fmla="*/ 575332 w 4745365"/>
              <a:gd name="connsiteY13" fmla="*/ 1748290 h 2310802"/>
              <a:gd name="connsiteX14" fmla="*/ 1504807 w 4745365"/>
              <a:gd name="connsiteY14" fmla="*/ 1035989 h 2310802"/>
              <a:gd name="connsiteX15" fmla="*/ 2335846 w 4745365"/>
              <a:gd name="connsiteY15" fmla="*/ 1575283 h 2310802"/>
              <a:gd name="connsiteX16" fmla="*/ 2387994 w 4745365"/>
              <a:gd name="connsiteY16" fmla="*/ 1743278 h 2310802"/>
              <a:gd name="connsiteX17" fmla="*/ 2726007 w 4745365"/>
              <a:gd name="connsiteY17" fmla="*/ 1743278 h 2310802"/>
              <a:gd name="connsiteX18" fmla="*/ 2720020 w 4745365"/>
              <a:gd name="connsiteY18" fmla="*/ 1683894 h 2310802"/>
              <a:gd name="connsiteX19" fmla="*/ 3507980 w 4745365"/>
              <a:gd name="connsiteY19" fmla="*/ 895934 h 2310802"/>
              <a:gd name="connsiteX20" fmla="*/ 3583993 w 4745365"/>
              <a:gd name="connsiteY20" fmla="*/ 899772 h 2310802"/>
              <a:gd name="connsiteX21" fmla="*/ 3585020 w 4745365"/>
              <a:gd name="connsiteY21" fmla="*/ 889585 h 2310802"/>
              <a:gd name="connsiteX22" fmla="*/ 4676504 w 4745365"/>
              <a:gd name="connsiteY22" fmla="*/ 0 h 2310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45365" h="2310802">
                <a:moveTo>
                  <a:pt x="4676504" y="0"/>
                </a:moveTo>
                <a:lnTo>
                  <a:pt x="4745365" y="3477"/>
                </a:lnTo>
                <a:lnTo>
                  <a:pt x="4745365" y="2224761"/>
                </a:lnTo>
                <a:lnTo>
                  <a:pt x="4676504" y="2228238"/>
                </a:lnTo>
                <a:cubicBezTo>
                  <a:pt x="4503447" y="2228238"/>
                  <a:pt x="4339607" y="2188782"/>
                  <a:pt x="4193487" y="2118374"/>
                </a:cubicBezTo>
                <a:lnTo>
                  <a:pt x="4171520" y="2105748"/>
                </a:lnTo>
                <a:lnTo>
                  <a:pt x="4161369" y="2124450"/>
                </a:lnTo>
                <a:cubicBezTo>
                  <a:pt x="4133048" y="2166370"/>
                  <a:pt x="4100800" y="2205418"/>
                  <a:pt x="4065152" y="2241066"/>
                </a:cubicBezTo>
                <a:lnTo>
                  <a:pt x="3986221" y="2306190"/>
                </a:lnTo>
                <a:lnTo>
                  <a:pt x="3986221" y="2310802"/>
                </a:lnTo>
                <a:lnTo>
                  <a:pt x="0" y="2310802"/>
                </a:lnTo>
                <a:lnTo>
                  <a:pt x="35977" y="2249411"/>
                </a:lnTo>
                <a:cubicBezTo>
                  <a:pt x="146556" y="2054967"/>
                  <a:pt x="326716" y="1890083"/>
                  <a:pt x="551119" y="1890083"/>
                </a:cubicBezTo>
                <a:cubicBezTo>
                  <a:pt x="553569" y="1819535"/>
                  <a:pt x="576031" y="1793438"/>
                  <a:pt x="575332" y="1748290"/>
                </a:cubicBezTo>
                <a:cubicBezTo>
                  <a:pt x="699055" y="1334650"/>
                  <a:pt x="1082288" y="1035078"/>
                  <a:pt x="1504807" y="1035989"/>
                </a:cubicBezTo>
                <a:cubicBezTo>
                  <a:pt x="1865747" y="1036767"/>
                  <a:pt x="2195928" y="1244481"/>
                  <a:pt x="2335846" y="1575283"/>
                </a:cubicBezTo>
                <a:lnTo>
                  <a:pt x="2387994" y="1743278"/>
                </a:lnTo>
                <a:lnTo>
                  <a:pt x="2726007" y="1743278"/>
                </a:lnTo>
                <a:lnTo>
                  <a:pt x="2720020" y="1683894"/>
                </a:lnTo>
                <a:cubicBezTo>
                  <a:pt x="2720020" y="1248716"/>
                  <a:pt x="3072802" y="895934"/>
                  <a:pt x="3507980" y="895934"/>
                </a:cubicBezTo>
                <a:lnTo>
                  <a:pt x="3583993" y="899772"/>
                </a:lnTo>
                <a:cubicBezTo>
                  <a:pt x="3584335" y="896376"/>
                  <a:pt x="3584678" y="892981"/>
                  <a:pt x="3585020" y="889585"/>
                </a:cubicBezTo>
                <a:cubicBezTo>
                  <a:pt x="3688907" y="381900"/>
                  <a:pt x="4138107" y="0"/>
                  <a:pt x="467650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7124" tIns="91416" rIns="137124" bIns="91416" rtlCol="0" anchor="ctr">
            <a:noAutofit/>
          </a:bodyP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19" name="Right Triangle 18">
            <a:extLst>
              <a:ext uri="{FF2B5EF4-FFF2-40B4-BE49-F238E27FC236}">
                <a16:creationId xmlns:a16="http://schemas.microsoft.com/office/drawing/2014/main" id="{B4E55811-A4B5-1B42-B1DB-0E8EDB9625D3}"/>
              </a:ext>
            </a:extLst>
          </p:cNvPr>
          <p:cNvSpPr/>
          <p:nvPr userDrawn="1"/>
        </p:nvSpPr>
        <p:spPr>
          <a:xfrm flipV="1">
            <a:off x="10165" y="-75"/>
            <a:ext cx="1202410" cy="3151589"/>
          </a:xfrm>
          <a:prstGeom prst="r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37124" tIns="91416" rIns="137124" bIns="91416" rtlCol="0" anchor="ct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9" name="Text Placeholder 16">
            <a:extLst>
              <a:ext uri="{FF2B5EF4-FFF2-40B4-BE49-F238E27FC236}">
                <a16:creationId xmlns:a16="http://schemas.microsoft.com/office/drawing/2014/main" id="{4B172E08-CDCC-2845-9F3E-1B39286DEDFF}"/>
              </a:ext>
            </a:extLst>
          </p:cNvPr>
          <p:cNvSpPr>
            <a:spLocks noGrp="1"/>
          </p:cNvSpPr>
          <p:nvPr>
            <p:ph type="body" sz="quarter" idx="10" hasCustomPrompt="1"/>
          </p:nvPr>
        </p:nvSpPr>
        <p:spPr bwMode="gray">
          <a:xfrm>
            <a:off x="1161226" y="1251522"/>
            <a:ext cx="6369780" cy="648398"/>
          </a:xfrm>
          <a:prstGeom prst="rect">
            <a:avLst/>
          </a:prstGeom>
        </p:spPr>
        <p:txBody>
          <a:bodyPr anchor="b" anchorCtr="0"/>
          <a:lstStyle>
            <a:lvl1pPr marL="0" indent="0">
              <a:lnSpc>
                <a:spcPct val="95000"/>
              </a:lnSpc>
              <a:spcBef>
                <a:spcPts val="0"/>
              </a:spcBef>
              <a:spcAft>
                <a:spcPts val="0"/>
              </a:spcAft>
              <a:buNone/>
              <a:defRPr sz="2399" b="0" i="0">
                <a:solidFill>
                  <a:schemeClr val="bg1"/>
                </a:solidFill>
                <a:latin typeface="+mj-lt"/>
                <a:ea typeface="Roboto" panose="02000000000000000000" pitchFamily="2" charset="0"/>
                <a:cs typeface="Roboto" panose="02000000000000000000" pitchFamily="2" charset="0"/>
              </a:defRPr>
            </a:lvl1pPr>
            <a:lvl2pPr marL="456971" indent="0">
              <a:buNone/>
              <a:defRPr/>
            </a:lvl2pPr>
            <a:lvl3pPr marL="913943" indent="0">
              <a:buNone/>
              <a:defRPr/>
            </a:lvl3pPr>
            <a:lvl4pPr marL="1370915" indent="0">
              <a:buNone/>
              <a:defRPr/>
            </a:lvl4pPr>
            <a:lvl5pPr marL="1827886" indent="0">
              <a:buNone/>
              <a:defRPr/>
            </a:lvl5pPr>
          </a:lstStyle>
          <a:p>
            <a:pPr lvl="0"/>
            <a:r>
              <a:rPr lang="en-US"/>
              <a:t>Date Roboto Light 20 Point</a:t>
            </a:r>
          </a:p>
        </p:txBody>
      </p:sp>
      <p:sp>
        <p:nvSpPr>
          <p:cNvPr id="15" name="Text Placeholder 23">
            <a:extLst>
              <a:ext uri="{FF2B5EF4-FFF2-40B4-BE49-F238E27FC236}">
                <a16:creationId xmlns:a16="http://schemas.microsoft.com/office/drawing/2014/main" id="{72E6729F-10D3-874C-B648-888F614371EF}"/>
              </a:ext>
            </a:extLst>
          </p:cNvPr>
          <p:cNvSpPr>
            <a:spLocks noGrp="1"/>
          </p:cNvSpPr>
          <p:nvPr>
            <p:ph type="body" sz="quarter" idx="11" hasCustomPrompt="1"/>
          </p:nvPr>
        </p:nvSpPr>
        <p:spPr bwMode="gray">
          <a:xfrm>
            <a:off x="1161225" y="2629673"/>
            <a:ext cx="9445816" cy="2102713"/>
          </a:xfrm>
          <a:prstGeom prst="rect">
            <a:avLst/>
          </a:prstGeom>
        </p:spPr>
        <p:txBody>
          <a:bodyPr anchor="ctr" anchorCtr="0"/>
          <a:lstStyle>
            <a:lvl1pPr marL="0" indent="0">
              <a:spcBef>
                <a:spcPts val="600"/>
              </a:spcBef>
              <a:buNone/>
              <a:defRPr sz="5398" b="0" i="0">
                <a:solidFill>
                  <a:schemeClr val="bg1"/>
                </a:solidFill>
                <a:latin typeface="+mj-lt"/>
                <a:ea typeface="Roboto Light" panose="02000000000000000000" pitchFamily="2" charset="0"/>
                <a:cs typeface="Roboto Light" panose="02000000000000000000" pitchFamily="2" charset="0"/>
              </a:defRPr>
            </a:lvl1pPr>
            <a:lvl2pPr marL="456971" indent="0">
              <a:buNone/>
              <a:defRPr/>
            </a:lvl2pPr>
            <a:lvl3pPr marL="913943" indent="0">
              <a:buNone/>
              <a:defRPr/>
            </a:lvl3pPr>
            <a:lvl4pPr marL="1370915" indent="0">
              <a:buNone/>
              <a:defRPr/>
            </a:lvl4pPr>
            <a:lvl5pPr marL="1827886" indent="0">
              <a:buNone/>
              <a:defRPr/>
            </a:lvl5pPr>
          </a:lstStyle>
          <a:p>
            <a:r>
              <a:rPr lang="en-US"/>
              <a:t>Title Goes Here Roboto Light 54 Point</a:t>
            </a:r>
          </a:p>
        </p:txBody>
      </p:sp>
      <p:sp>
        <p:nvSpPr>
          <p:cNvPr id="16" name="Text Placeholder 25">
            <a:extLst>
              <a:ext uri="{FF2B5EF4-FFF2-40B4-BE49-F238E27FC236}">
                <a16:creationId xmlns:a16="http://schemas.microsoft.com/office/drawing/2014/main" id="{646CD88F-0893-474C-8B77-C007ECB6A676}"/>
              </a:ext>
            </a:extLst>
          </p:cNvPr>
          <p:cNvSpPr>
            <a:spLocks noGrp="1"/>
          </p:cNvSpPr>
          <p:nvPr>
            <p:ph type="body" sz="quarter" idx="12" hasCustomPrompt="1"/>
          </p:nvPr>
        </p:nvSpPr>
        <p:spPr bwMode="gray">
          <a:xfrm>
            <a:off x="1161226" y="4908299"/>
            <a:ext cx="6393330" cy="289576"/>
          </a:xfrm>
          <a:prstGeom prst="rect">
            <a:avLst/>
          </a:prstGeom>
        </p:spPr>
        <p:txBody>
          <a:bodyPr/>
          <a:lstStyle>
            <a:lvl1pPr marL="0" indent="0">
              <a:buNone/>
              <a:defRPr b="0" i="0" baseline="0">
                <a:solidFill>
                  <a:schemeClr val="bg1"/>
                </a:solidFill>
                <a:latin typeface="Roboto" panose="02000000000000000000" pitchFamily="2" charset="0"/>
                <a:ea typeface="Roboto" panose="02000000000000000000" pitchFamily="2" charset="0"/>
                <a:cs typeface="Roboto" panose="02000000000000000000" pitchFamily="2" charset="0"/>
              </a:defRPr>
            </a:lvl1pPr>
            <a:lvl2pPr marL="456971" indent="0">
              <a:buNone/>
              <a:defRPr/>
            </a:lvl2pPr>
            <a:lvl3pPr marL="913943" indent="0">
              <a:buNone/>
              <a:defRPr/>
            </a:lvl3pPr>
            <a:lvl4pPr marL="1370915" indent="0">
              <a:buNone/>
              <a:defRPr/>
            </a:lvl4pPr>
            <a:lvl5pPr marL="1827886" indent="0">
              <a:buNone/>
              <a:defRPr/>
            </a:lvl5pPr>
          </a:lstStyle>
          <a:p>
            <a:pPr lvl="0"/>
            <a:r>
              <a:rPr lang="en-US"/>
              <a:t>Speaker Name, Roboto Regular 20 Point</a:t>
            </a:r>
          </a:p>
        </p:txBody>
      </p:sp>
      <p:sp>
        <p:nvSpPr>
          <p:cNvPr id="17" name="Text Placeholder 27">
            <a:extLst>
              <a:ext uri="{FF2B5EF4-FFF2-40B4-BE49-F238E27FC236}">
                <a16:creationId xmlns:a16="http://schemas.microsoft.com/office/drawing/2014/main" id="{2FE02546-0BBB-5E4F-8595-0FEDF2169431}"/>
              </a:ext>
            </a:extLst>
          </p:cNvPr>
          <p:cNvSpPr>
            <a:spLocks noGrp="1"/>
          </p:cNvSpPr>
          <p:nvPr>
            <p:ph type="body" sz="quarter" idx="13" hasCustomPrompt="1"/>
          </p:nvPr>
        </p:nvSpPr>
        <p:spPr bwMode="gray">
          <a:xfrm>
            <a:off x="1161226" y="5294971"/>
            <a:ext cx="6393330" cy="291041"/>
          </a:xfrm>
          <a:prstGeom prst="rect">
            <a:avLst/>
          </a:prstGeom>
        </p:spPr>
        <p:txBody>
          <a:bodyPr/>
          <a:lstStyle>
            <a:lvl1pPr marL="0" indent="0">
              <a:buNone/>
              <a:defRPr i="1" baseline="0">
                <a:solidFill>
                  <a:schemeClr val="bg1"/>
                </a:solidFill>
                <a:latin typeface="Roboto" panose="02000000000000000000" pitchFamily="2" charset="0"/>
                <a:ea typeface="Roboto" panose="02000000000000000000" pitchFamily="2" charset="0"/>
              </a:defRPr>
            </a:lvl1pPr>
            <a:lvl2pPr marL="456971" indent="0">
              <a:buNone/>
              <a:defRPr/>
            </a:lvl2pPr>
            <a:lvl3pPr marL="913943" indent="0">
              <a:buNone/>
              <a:defRPr/>
            </a:lvl3pPr>
            <a:lvl4pPr marL="1370915" indent="0">
              <a:buNone/>
              <a:defRPr/>
            </a:lvl4pPr>
            <a:lvl5pPr marL="1827886" indent="0">
              <a:buNone/>
              <a:defRPr/>
            </a:lvl5pPr>
          </a:lstStyle>
          <a:p>
            <a:pPr lvl="0"/>
            <a:r>
              <a:rPr lang="en-US"/>
              <a:t>Speaker Title or Email, Roboto Italic 20 Point</a:t>
            </a:r>
          </a:p>
        </p:txBody>
      </p:sp>
      <p:sp>
        <p:nvSpPr>
          <p:cNvPr id="13" name="Right Triangle 12">
            <a:extLst>
              <a:ext uri="{FF2B5EF4-FFF2-40B4-BE49-F238E27FC236}">
                <a16:creationId xmlns:a16="http://schemas.microsoft.com/office/drawing/2014/main" id="{B216F28F-B699-D648-9BA9-91312449D3D2}"/>
              </a:ext>
            </a:extLst>
          </p:cNvPr>
          <p:cNvSpPr/>
          <p:nvPr userDrawn="1"/>
        </p:nvSpPr>
        <p:spPr>
          <a:xfrm flipV="1">
            <a:off x="0" y="-4"/>
            <a:ext cx="1202409" cy="2703435"/>
          </a:xfrm>
          <a:prstGeom prst="rtTriangle">
            <a:avLst/>
          </a:prstGeom>
          <a:solidFill>
            <a:srgbClr val="0A0808"/>
          </a:solidFill>
          <a:ln>
            <a:noFill/>
          </a:ln>
        </p:spPr>
        <p:style>
          <a:lnRef idx="2">
            <a:schemeClr val="accent1">
              <a:shade val="50000"/>
            </a:schemeClr>
          </a:lnRef>
          <a:fillRef idx="1">
            <a:schemeClr val="accent1"/>
          </a:fillRef>
          <a:effectRef idx="0">
            <a:schemeClr val="accent1"/>
          </a:effectRef>
          <a:fontRef idx="minor">
            <a:schemeClr val="lt1"/>
          </a:fontRef>
        </p:style>
        <p:txBody>
          <a:bodyPr lIns="137124" tIns="91416" rIns="137124" bIns="91416" rtlCol="0" anchor="ct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40" name="Freeform 39">
            <a:extLst>
              <a:ext uri="{FF2B5EF4-FFF2-40B4-BE49-F238E27FC236}">
                <a16:creationId xmlns:a16="http://schemas.microsoft.com/office/drawing/2014/main" id="{CCF69367-A869-1148-948E-9FF2DF284864}"/>
              </a:ext>
            </a:extLst>
          </p:cNvPr>
          <p:cNvSpPr/>
          <p:nvPr userDrawn="1"/>
        </p:nvSpPr>
        <p:spPr>
          <a:xfrm>
            <a:off x="7727999" y="4675237"/>
            <a:ext cx="4461444" cy="2182765"/>
          </a:xfrm>
          <a:custGeom>
            <a:avLst/>
            <a:gdLst>
              <a:gd name="connsiteX0" fmla="*/ 4461444 w 4461444"/>
              <a:gd name="connsiteY0" fmla="*/ 0 h 2182765"/>
              <a:gd name="connsiteX1" fmla="*/ 4461444 w 4461444"/>
              <a:gd name="connsiteY1" fmla="*/ 2182765 h 2182765"/>
              <a:gd name="connsiteX2" fmla="*/ 0 w 4461444"/>
              <a:gd name="connsiteY2" fmla="*/ 2182765 h 2182765"/>
              <a:gd name="connsiteX3" fmla="*/ 24342 w 4461444"/>
              <a:gd name="connsiteY3" fmla="*/ 2153263 h 2182765"/>
              <a:gd name="connsiteX4" fmla="*/ 481037 w 4461444"/>
              <a:gd name="connsiteY4" fmla="*/ 1964093 h 2182765"/>
              <a:gd name="connsiteX5" fmla="*/ 732436 w 4461444"/>
              <a:gd name="connsiteY5" fmla="*/ 2014848 h 2182765"/>
              <a:gd name="connsiteX6" fmla="*/ 787285 w 4461444"/>
              <a:gd name="connsiteY6" fmla="*/ 2044619 h 2182765"/>
              <a:gd name="connsiteX7" fmla="*/ 809805 w 4461444"/>
              <a:gd name="connsiteY7" fmla="*/ 1961250 h 2182765"/>
              <a:gd name="connsiteX8" fmla="*/ 1286315 w 4461444"/>
              <a:gd name="connsiteY8" fmla="*/ 1550577 h 2182765"/>
              <a:gd name="connsiteX9" fmla="*/ 1321466 w 4461444"/>
              <a:gd name="connsiteY9" fmla="*/ 1547033 h 2182765"/>
              <a:gd name="connsiteX10" fmla="*/ 1323271 w 4461444"/>
              <a:gd name="connsiteY10" fmla="*/ 1529127 h 2182765"/>
              <a:gd name="connsiteX11" fmla="*/ 2205095 w 4461444"/>
              <a:gd name="connsiteY11" fmla="*/ 810420 h 2182765"/>
              <a:gd name="connsiteX12" fmla="*/ 2708356 w 4461444"/>
              <a:gd name="connsiteY12" fmla="*/ 964145 h 2182765"/>
              <a:gd name="connsiteX13" fmla="*/ 2798296 w 4461444"/>
              <a:gd name="connsiteY13" fmla="*/ 1038353 h 2182765"/>
              <a:gd name="connsiteX14" fmla="*/ 2868637 w 4461444"/>
              <a:gd name="connsiteY14" fmla="*/ 1020266 h 2182765"/>
              <a:gd name="connsiteX15" fmla="*/ 3050041 w 4461444"/>
              <a:gd name="connsiteY15" fmla="*/ 1001979 h 2182765"/>
              <a:gd name="connsiteX16" fmla="*/ 3231445 w 4461444"/>
              <a:gd name="connsiteY16" fmla="*/ 1020266 h 2182765"/>
              <a:gd name="connsiteX17" fmla="*/ 3245588 w 4461444"/>
              <a:gd name="connsiteY17" fmla="*/ 1023903 h 2182765"/>
              <a:gd name="connsiteX18" fmla="*/ 3297823 w 4461444"/>
              <a:gd name="connsiteY18" fmla="*/ 960592 h 2182765"/>
              <a:gd name="connsiteX19" fmla="*/ 3934298 w 4461444"/>
              <a:gd name="connsiteY19" fmla="*/ 696956 h 2182765"/>
              <a:gd name="connsiteX20" fmla="*/ 4115702 w 4461444"/>
              <a:gd name="connsiteY20" fmla="*/ 715243 h 2182765"/>
              <a:gd name="connsiteX21" fmla="*/ 4127211 w 4461444"/>
              <a:gd name="connsiteY21" fmla="*/ 718203 h 2182765"/>
              <a:gd name="connsiteX22" fmla="*/ 4126073 w 4461444"/>
              <a:gd name="connsiteY22" fmla="*/ 695661 h 2182765"/>
              <a:gd name="connsiteX23" fmla="*/ 4389709 w 4461444"/>
              <a:gd name="connsiteY23" fmla="*/ 59186 h 2182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461444" h="2182765">
                <a:moveTo>
                  <a:pt x="4461444" y="0"/>
                </a:moveTo>
                <a:lnTo>
                  <a:pt x="4461444" y="2182765"/>
                </a:lnTo>
                <a:lnTo>
                  <a:pt x="0" y="2182765"/>
                </a:lnTo>
                <a:lnTo>
                  <a:pt x="24342" y="2153263"/>
                </a:lnTo>
                <a:cubicBezTo>
                  <a:pt x="141221" y="2036384"/>
                  <a:pt x="302687" y="1964093"/>
                  <a:pt x="481037" y="1964093"/>
                </a:cubicBezTo>
                <a:cubicBezTo>
                  <a:pt x="570212" y="1964093"/>
                  <a:pt x="655166" y="1982166"/>
                  <a:pt x="732436" y="2014848"/>
                </a:cubicBezTo>
                <a:lnTo>
                  <a:pt x="787285" y="2044619"/>
                </a:lnTo>
                <a:lnTo>
                  <a:pt x="809805" y="1961250"/>
                </a:lnTo>
                <a:cubicBezTo>
                  <a:pt x="885867" y="1753515"/>
                  <a:pt x="1065582" y="1595745"/>
                  <a:pt x="1286315" y="1550577"/>
                </a:cubicBezTo>
                <a:lnTo>
                  <a:pt x="1321466" y="1547033"/>
                </a:lnTo>
                <a:lnTo>
                  <a:pt x="1323271" y="1529127"/>
                </a:lnTo>
                <a:cubicBezTo>
                  <a:pt x="1407203" y="1118962"/>
                  <a:pt x="1770117" y="810420"/>
                  <a:pt x="2205095" y="810420"/>
                </a:cubicBezTo>
                <a:cubicBezTo>
                  <a:pt x="2391514" y="810420"/>
                  <a:pt x="2564697" y="867091"/>
                  <a:pt x="2708356" y="964145"/>
                </a:cubicBezTo>
                <a:lnTo>
                  <a:pt x="2798296" y="1038353"/>
                </a:lnTo>
                <a:lnTo>
                  <a:pt x="2868637" y="1020266"/>
                </a:lnTo>
                <a:cubicBezTo>
                  <a:pt x="2927232" y="1008276"/>
                  <a:pt x="2987901" y="1001979"/>
                  <a:pt x="3050041" y="1001979"/>
                </a:cubicBezTo>
                <a:cubicBezTo>
                  <a:pt x="3112181" y="1001979"/>
                  <a:pt x="3172850" y="1008276"/>
                  <a:pt x="3231445" y="1020266"/>
                </a:cubicBezTo>
                <a:lnTo>
                  <a:pt x="3245588" y="1023903"/>
                </a:lnTo>
                <a:lnTo>
                  <a:pt x="3297823" y="960592"/>
                </a:lnTo>
                <a:cubicBezTo>
                  <a:pt x="3460711" y="797704"/>
                  <a:pt x="3685739" y="696956"/>
                  <a:pt x="3934298" y="696956"/>
                </a:cubicBezTo>
                <a:cubicBezTo>
                  <a:pt x="3996438" y="696956"/>
                  <a:pt x="4057107" y="703253"/>
                  <a:pt x="4115702" y="715243"/>
                </a:cubicBezTo>
                <a:lnTo>
                  <a:pt x="4127211" y="718203"/>
                </a:lnTo>
                <a:lnTo>
                  <a:pt x="4126073" y="695661"/>
                </a:lnTo>
                <a:cubicBezTo>
                  <a:pt x="4126073" y="447102"/>
                  <a:pt x="4226821" y="222074"/>
                  <a:pt x="4389709" y="59186"/>
                </a:cubicBezTo>
                <a:close/>
              </a:path>
            </a:pathLst>
          </a:custGeom>
          <a:solidFill>
            <a:schemeClr val="bg1"/>
          </a:solidFill>
          <a:ln>
            <a:noFill/>
          </a:ln>
          <a:effectLst>
            <a:outerShdw blurRad="279400" dist="76200" dir="13800000"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37124" tIns="91416" rIns="137124" bIns="91416" rtlCol="0" anchor="ctr">
            <a:noAutofit/>
          </a:bodyPr>
          <a:lstStyle/>
          <a:p>
            <a:pPr lvl="0" algn="ctr"/>
            <a:endParaRPr lang="en-US" sz="1600">
              <a:solidFill>
                <a:schemeClr val="bg1"/>
              </a:solidFill>
              <a:latin typeface="Roboto" panose="02000000000000000000" pitchFamily="2" charset="0"/>
              <a:ea typeface="Roboto" panose="02000000000000000000" pitchFamily="2" charset="0"/>
              <a:cs typeface="Roboto" charset="0"/>
            </a:endParaRPr>
          </a:p>
        </p:txBody>
      </p:sp>
      <p:pic>
        <p:nvPicPr>
          <p:cNvPr id="14" name="Picture 13">
            <a:extLst>
              <a:ext uri="{FF2B5EF4-FFF2-40B4-BE49-F238E27FC236}">
                <a16:creationId xmlns:a16="http://schemas.microsoft.com/office/drawing/2014/main" id="{A1640658-5166-E943-BB94-DD403AE23C38}"/>
              </a:ext>
            </a:extLst>
          </p:cNvPr>
          <p:cNvPicPr>
            <a:picLocks noChangeAspect="1"/>
          </p:cNvPicPr>
          <p:nvPr userDrawn="1"/>
        </p:nvPicPr>
        <p:blipFill>
          <a:blip r:embed="rId2"/>
          <a:stretch>
            <a:fillRect/>
          </a:stretch>
        </p:blipFill>
        <p:spPr>
          <a:xfrm>
            <a:off x="9458461" y="6007610"/>
            <a:ext cx="2478024" cy="849901"/>
          </a:xfrm>
          <a:prstGeom prst="rect">
            <a:avLst/>
          </a:prstGeom>
        </p:spPr>
      </p:pic>
      <p:sp>
        <p:nvSpPr>
          <p:cNvPr id="42" name="TextBox 41">
            <a:extLst>
              <a:ext uri="{FF2B5EF4-FFF2-40B4-BE49-F238E27FC236}">
                <a16:creationId xmlns:a16="http://schemas.microsoft.com/office/drawing/2014/main" id="{6B79F160-49C1-BE40-9B17-29BC0FEDEC1D}"/>
              </a:ext>
            </a:extLst>
          </p:cNvPr>
          <p:cNvSpPr txBox="1"/>
          <p:nvPr userDrawn="1"/>
        </p:nvSpPr>
        <p:spPr>
          <a:xfrm>
            <a:off x="12353544" y="3346704"/>
            <a:ext cx="0" cy="0"/>
          </a:xfrm>
          <a:prstGeom prst="rect">
            <a:avLst/>
          </a:prstGeom>
          <a:noFill/>
        </p:spPr>
        <p:txBody>
          <a:bodyPr wrap="none" lIns="0" tIns="0" rIns="0" bIns="0" rtlCol="0">
            <a:noAutofit/>
          </a:bodyPr>
          <a:lstStyle/>
          <a:p>
            <a:pPr algn="l">
              <a:lnSpc>
                <a:spcPct val="90000"/>
              </a:lnSpc>
              <a:spcAft>
                <a:spcPts val="1000"/>
              </a:spcAft>
            </a:pPr>
            <a:endParaRPr lang="en-US" sz="1799">
              <a:latin typeface="Roboto" panose="02000000000000000000" pitchFamily="2" charset="0"/>
              <a:ea typeface="Roboto" panose="02000000000000000000" pitchFamily="2" charset="0"/>
              <a:cs typeface="Roboto" charset="0"/>
            </a:endParaRPr>
          </a:p>
        </p:txBody>
      </p:sp>
      <p:cxnSp>
        <p:nvCxnSpPr>
          <p:cNvPr id="21" name="Straight Connector 20">
            <a:extLst>
              <a:ext uri="{FF2B5EF4-FFF2-40B4-BE49-F238E27FC236}">
                <a16:creationId xmlns:a16="http://schemas.microsoft.com/office/drawing/2014/main" id="{A8D9DBDD-1A8F-D041-8655-1C53D632E106}"/>
              </a:ext>
            </a:extLst>
          </p:cNvPr>
          <p:cNvCxnSpPr>
            <a:cxnSpLocks/>
          </p:cNvCxnSpPr>
          <p:nvPr userDrawn="1"/>
        </p:nvCxnSpPr>
        <p:spPr>
          <a:xfrm>
            <a:off x="1241751" y="1956269"/>
            <a:ext cx="358449"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92028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lide_option 2 w/ headshot">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98F7C93-3EAF-8F41-BCCE-44689F0C0324}"/>
              </a:ext>
            </a:extLst>
          </p:cNvPr>
          <p:cNvSpPr/>
          <p:nvPr userDrawn="1"/>
        </p:nvSpPr>
        <p:spPr>
          <a:xfrm>
            <a:off x="1" y="-75"/>
            <a:ext cx="12188825" cy="6857509"/>
          </a:xfrm>
          <a:prstGeom prst="rect">
            <a:avLst/>
          </a:prstGeom>
          <a:gradFill>
            <a:gsLst>
              <a:gs pos="0">
                <a:schemeClr val="accent2"/>
              </a:gs>
              <a:gs pos="76000">
                <a:srgbClr val="FF6500"/>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7124" tIns="91416" rIns="137124" bIns="91416" rtlCol="0" anchor="ctr">
            <a:noAutofit/>
          </a:bodyPr>
          <a:lstStyle/>
          <a:p>
            <a:pPr lvl="0"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29" name="Freeform 28">
            <a:extLst>
              <a:ext uri="{FF2B5EF4-FFF2-40B4-BE49-F238E27FC236}">
                <a16:creationId xmlns:a16="http://schemas.microsoft.com/office/drawing/2014/main" id="{C2361DA9-ED0A-9945-BFD7-FC998E37B28B}"/>
              </a:ext>
            </a:extLst>
          </p:cNvPr>
          <p:cNvSpPr/>
          <p:nvPr userDrawn="1"/>
        </p:nvSpPr>
        <p:spPr>
          <a:xfrm>
            <a:off x="7407017" y="4547198"/>
            <a:ext cx="4785372" cy="2310802"/>
          </a:xfrm>
          <a:custGeom>
            <a:avLst/>
            <a:gdLst>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16268 w 4717029"/>
              <a:gd name="connsiteY12" fmla="*/ 1924881 h 2310802"/>
              <a:gd name="connsiteX13" fmla="*/ 537304 w 4717029"/>
              <a:gd name="connsiteY13" fmla="*/ 1927002 h 2310802"/>
              <a:gd name="connsiteX14" fmla="*/ 555320 w 4717029"/>
              <a:gd name="connsiteY14" fmla="*/ 1748290 h 2310802"/>
              <a:gd name="connsiteX15" fmla="*/ 1458267 w 4717029"/>
              <a:gd name="connsiteY15" fmla="*/ 1012367 h 2310802"/>
              <a:gd name="connsiteX16" fmla="*/ 2307510 w 4717029"/>
              <a:gd name="connsiteY16" fmla="*/ 1575283 h 2310802"/>
              <a:gd name="connsiteX17" fmla="*/ 2359658 w 4717029"/>
              <a:gd name="connsiteY17" fmla="*/ 1743278 h 2310802"/>
              <a:gd name="connsiteX18" fmla="*/ 2697671 w 4717029"/>
              <a:gd name="connsiteY18" fmla="*/ 1743278 h 2310802"/>
              <a:gd name="connsiteX19" fmla="*/ 2691684 w 4717029"/>
              <a:gd name="connsiteY19" fmla="*/ 1683894 h 2310802"/>
              <a:gd name="connsiteX20" fmla="*/ 3479644 w 4717029"/>
              <a:gd name="connsiteY20" fmla="*/ 895934 h 2310802"/>
              <a:gd name="connsiteX21" fmla="*/ 3555657 w 4717029"/>
              <a:gd name="connsiteY21" fmla="*/ 899772 h 2310802"/>
              <a:gd name="connsiteX22" fmla="*/ 3556684 w 4717029"/>
              <a:gd name="connsiteY22" fmla="*/ 889585 h 2310802"/>
              <a:gd name="connsiteX23" fmla="*/ 4648168 w 4717029"/>
              <a:gd name="connsiteY23"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16268 w 4717029"/>
              <a:gd name="connsiteY12" fmla="*/ 1924881 h 2310802"/>
              <a:gd name="connsiteX13" fmla="*/ 555320 w 4717029"/>
              <a:gd name="connsiteY13" fmla="*/ 1748290 h 2310802"/>
              <a:gd name="connsiteX14" fmla="*/ 1458267 w 4717029"/>
              <a:gd name="connsiteY14" fmla="*/ 1012367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55320 w 4717029"/>
              <a:gd name="connsiteY13" fmla="*/ 1748290 h 2310802"/>
              <a:gd name="connsiteX14" fmla="*/ 1458267 w 4717029"/>
              <a:gd name="connsiteY14" fmla="*/ 1012367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55320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55320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55320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73608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73608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73608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479620 w 4717029"/>
              <a:gd name="connsiteY14" fmla="*/ 1020114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6903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76504 w 4745365"/>
              <a:gd name="connsiteY0" fmla="*/ 0 h 2310802"/>
              <a:gd name="connsiteX1" fmla="*/ 4745365 w 4745365"/>
              <a:gd name="connsiteY1" fmla="*/ 3477 h 2310802"/>
              <a:gd name="connsiteX2" fmla="*/ 4745365 w 4745365"/>
              <a:gd name="connsiteY2" fmla="*/ 2224761 h 2310802"/>
              <a:gd name="connsiteX3" fmla="*/ 4676504 w 4745365"/>
              <a:gd name="connsiteY3" fmla="*/ 2228238 h 2310802"/>
              <a:gd name="connsiteX4" fmla="*/ 4193487 w 4745365"/>
              <a:gd name="connsiteY4" fmla="*/ 2118374 h 2310802"/>
              <a:gd name="connsiteX5" fmla="*/ 4171520 w 4745365"/>
              <a:gd name="connsiteY5" fmla="*/ 2105748 h 2310802"/>
              <a:gd name="connsiteX6" fmla="*/ 4161369 w 4745365"/>
              <a:gd name="connsiteY6" fmla="*/ 2124450 h 2310802"/>
              <a:gd name="connsiteX7" fmla="*/ 4065152 w 4745365"/>
              <a:gd name="connsiteY7" fmla="*/ 2241066 h 2310802"/>
              <a:gd name="connsiteX8" fmla="*/ 3986221 w 4745365"/>
              <a:gd name="connsiteY8" fmla="*/ 2306190 h 2310802"/>
              <a:gd name="connsiteX9" fmla="*/ 3986221 w 4745365"/>
              <a:gd name="connsiteY9" fmla="*/ 2310802 h 2310802"/>
              <a:gd name="connsiteX10" fmla="*/ 0 w 4745365"/>
              <a:gd name="connsiteY10" fmla="*/ 2310802 h 2310802"/>
              <a:gd name="connsiteX11" fmla="*/ 45422 w 4745365"/>
              <a:gd name="connsiteY11" fmla="*/ 2255761 h 2310802"/>
              <a:gd name="connsiteX12" fmla="*/ 551119 w 4745365"/>
              <a:gd name="connsiteY12" fmla="*/ 1890083 h 2310802"/>
              <a:gd name="connsiteX13" fmla="*/ 575332 w 4745365"/>
              <a:gd name="connsiteY13" fmla="*/ 1748290 h 2310802"/>
              <a:gd name="connsiteX14" fmla="*/ 1504807 w 4745365"/>
              <a:gd name="connsiteY14" fmla="*/ 1035989 h 2310802"/>
              <a:gd name="connsiteX15" fmla="*/ 2335846 w 4745365"/>
              <a:gd name="connsiteY15" fmla="*/ 1575283 h 2310802"/>
              <a:gd name="connsiteX16" fmla="*/ 2387994 w 4745365"/>
              <a:gd name="connsiteY16" fmla="*/ 1743278 h 2310802"/>
              <a:gd name="connsiteX17" fmla="*/ 2726007 w 4745365"/>
              <a:gd name="connsiteY17" fmla="*/ 1743278 h 2310802"/>
              <a:gd name="connsiteX18" fmla="*/ 2720020 w 4745365"/>
              <a:gd name="connsiteY18" fmla="*/ 1683894 h 2310802"/>
              <a:gd name="connsiteX19" fmla="*/ 3507980 w 4745365"/>
              <a:gd name="connsiteY19" fmla="*/ 895934 h 2310802"/>
              <a:gd name="connsiteX20" fmla="*/ 3583993 w 4745365"/>
              <a:gd name="connsiteY20" fmla="*/ 899772 h 2310802"/>
              <a:gd name="connsiteX21" fmla="*/ 3585020 w 4745365"/>
              <a:gd name="connsiteY21" fmla="*/ 889585 h 2310802"/>
              <a:gd name="connsiteX22" fmla="*/ 4676504 w 4745365"/>
              <a:gd name="connsiteY22" fmla="*/ 0 h 2310802"/>
              <a:gd name="connsiteX0" fmla="*/ 4676504 w 4745365"/>
              <a:gd name="connsiteY0" fmla="*/ 0 h 2310802"/>
              <a:gd name="connsiteX1" fmla="*/ 4745365 w 4745365"/>
              <a:gd name="connsiteY1" fmla="*/ 3477 h 2310802"/>
              <a:gd name="connsiteX2" fmla="*/ 4745365 w 4745365"/>
              <a:gd name="connsiteY2" fmla="*/ 2224761 h 2310802"/>
              <a:gd name="connsiteX3" fmla="*/ 4676504 w 4745365"/>
              <a:gd name="connsiteY3" fmla="*/ 2228238 h 2310802"/>
              <a:gd name="connsiteX4" fmla="*/ 4193487 w 4745365"/>
              <a:gd name="connsiteY4" fmla="*/ 2118374 h 2310802"/>
              <a:gd name="connsiteX5" fmla="*/ 4171520 w 4745365"/>
              <a:gd name="connsiteY5" fmla="*/ 2105748 h 2310802"/>
              <a:gd name="connsiteX6" fmla="*/ 4161369 w 4745365"/>
              <a:gd name="connsiteY6" fmla="*/ 2124450 h 2310802"/>
              <a:gd name="connsiteX7" fmla="*/ 4065152 w 4745365"/>
              <a:gd name="connsiteY7" fmla="*/ 2241066 h 2310802"/>
              <a:gd name="connsiteX8" fmla="*/ 3986221 w 4745365"/>
              <a:gd name="connsiteY8" fmla="*/ 2306190 h 2310802"/>
              <a:gd name="connsiteX9" fmla="*/ 3986221 w 4745365"/>
              <a:gd name="connsiteY9" fmla="*/ 2310802 h 2310802"/>
              <a:gd name="connsiteX10" fmla="*/ 0 w 4745365"/>
              <a:gd name="connsiteY10" fmla="*/ 2310802 h 2310802"/>
              <a:gd name="connsiteX11" fmla="*/ 35977 w 4745365"/>
              <a:gd name="connsiteY11" fmla="*/ 2249411 h 2310802"/>
              <a:gd name="connsiteX12" fmla="*/ 551119 w 4745365"/>
              <a:gd name="connsiteY12" fmla="*/ 1890083 h 2310802"/>
              <a:gd name="connsiteX13" fmla="*/ 575332 w 4745365"/>
              <a:gd name="connsiteY13" fmla="*/ 1748290 h 2310802"/>
              <a:gd name="connsiteX14" fmla="*/ 1504807 w 4745365"/>
              <a:gd name="connsiteY14" fmla="*/ 1035989 h 2310802"/>
              <a:gd name="connsiteX15" fmla="*/ 2335846 w 4745365"/>
              <a:gd name="connsiteY15" fmla="*/ 1575283 h 2310802"/>
              <a:gd name="connsiteX16" fmla="*/ 2387994 w 4745365"/>
              <a:gd name="connsiteY16" fmla="*/ 1743278 h 2310802"/>
              <a:gd name="connsiteX17" fmla="*/ 2726007 w 4745365"/>
              <a:gd name="connsiteY17" fmla="*/ 1743278 h 2310802"/>
              <a:gd name="connsiteX18" fmla="*/ 2720020 w 4745365"/>
              <a:gd name="connsiteY18" fmla="*/ 1683894 h 2310802"/>
              <a:gd name="connsiteX19" fmla="*/ 3507980 w 4745365"/>
              <a:gd name="connsiteY19" fmla="*/ 895934 h 2310802"/>
              <a:gd name="connsiteX20" fmla="*/ 3583993 w 4745365"/>
              <a:gd name="connsiteY20" fmla="*/ 899772 h 2310802"/>
              <a:gd name="connsiteX21" fmla="*/ 3585020 w 4745365"/>
              <a:gd name="connsiteY21" fmla="*/ 889585 h 2310802"/>
              <a:gd name="connsiteX22" fmla="*/ 4676504 w 4745365"/>
              <a:gd name="connsiteY22" fmla="*/ 0 h 2310802"/>
              <a:gd name="connsiteX0" fmla="*/ 4676504 w 4745365"/>
              <a:gd name="connsiteY0" fmla="*/ 0 h 2310802"/>
              <a:gd name="connsiteX1" fmla="*/ 4745365 w 4745365"/>
              <a:gd name="connsiteY1" fmla="*/ 3477 h 2310802"/>
              <a:gd name="connsiteX2" fmla="*/ 4745365 w 4745365"/>
              <a:gd name="connsiteY2" fmla="*/ 2224761 h 2310802"/>
              <a:gd name="connsiteX3" fmla="*/ 4676504 w 4745365"/>
              <a:gd name="connsiteY3" fmla="*/ 2228238 h 2310802"/>
              <a:gd name="connsiteX4" fmla="*/ 4193487 w 4745365"/>
              <a:gd name="connsiteY4" fmla="*/ 2118374 h 2310802"/>
              <a:gd name="connsiteX5" fmla="*/ 4171520 w 4745365"/>
              <a:gd name="connsiteY5" fmla="*/ 2105748 h 2310802"/>
              <a:gd name="connsiteX6" fmla="*/ 4161369 w 4745365"/>
              <a:gd name="connsiteY6" fmla="*/ 2124450 h 2310802"/>
              <a:gd name="connsiteX7" fmla="*/ 4065152 w 4745365"/>
              <a:gd name="connsiteY7" fmla="*/ 2241066 h 2310802"/>
              <a:gd name="connsiteX8" fmla="*/ 3986221 w 4745365"/>
              <a:gd name="connsiteY8" fmla="*/ 2306190 h 2310802"/>
              <a:gd name="connsiteX9" fmla="*/ 3986221 w 4745365"/>
              <a:gd name="connsiteY9" fmla="*/ 2310802 h 2310802"/>
              <a:gd name="connsiteX10" fmla="*/ 0 w 4745365"/>
              <a:gd name="connsiteY10" fmla="*/ 2310802 h 2310802"/>
              <a:gd name="connsiteX11" fmla="*/ 35977 w 4745365"/>
              <a:gd name="connsiteY11" fmla="*/ 2249411 h 2310802"/>
              <a:gd name="connsiteX12" fmla="*/ 551119 w 4745365"/>
              <a:gd name="connsiteY12" fmla="*/ 1890083 h 2310802"/>
              <a:gd name="connsiteX13" fmla="*/ 575332 w 4745365"/>
              <a:gd name="connsiteY13" fmla="*/ 1748290 h 2310802"/>
              <a:gd name="connsiteX14" fmla="*/ 1504807 w 4745365"/>
              <a:gd name="connsiteY14" fmla="*/ 1035989 h 2310802"/>
              <a:gd name="connsiteX15" fmla="*/ 2335846 w 4745365"/>
              <a:gd name="connsiteY15" fmla="*/ 1575283 h 2310802"/>
              <a:gd name="connsiteX16" fmla="*/ 2387994 w 4745365"/>
              <a:gd name="connsiteY16" fmla="*/ 1743278 h 2310802"/>
              <a:gd name="connsiteX17" fmla="*/ 2726007 w 4745365"/>
              <a:gd name="connsiteY17" fmla="*/ 1743278 h 2310802"/>
              <a:gd name="connsiteX18" fmla="*/ 2720020 w 4745365"/>
              <a:gd name="connsiteY18" fmla="*/ 1683894 h 2310802"/>
              <a:gd name="connsiteX19" fmla="*/ 3507980 w 4745365"/>
              <a:gd name="connsiteY19" fmla="*/ 895934 h 2310802"/>
              <a:gd name="connsiteX20" fmla="*/ 3583993 w 4745365"/>
              <a:gd name="connsiteY20" fmla="*/ 899772 h 2310802"/>
              <a:gd name="connsiteX21" fmla="*/ 3585020 w 4745365"/>
              <a:gd name="connsiteY21" fmla="*/ 889585 h 2310802"/>
              <a:gd name="connsiteX22" fmla="*/ 4676504 w 4745365"/>
              <a:gd name="connsiteY22" fmla="*/ 0 h 2310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45365" h="2310802">
                <a:moveTo>
                  <a:pt x="4676504" y="0"/>
                </a:moveTo>
                <a:lnTo>
                  <a:pt x="4745365" y="3477"/>
                </a:lnTo>
                <a:lnTo>
                  <a:pt x="4745365" y="2224761"/>
                </a:lnTo>
                <a:lnTo>
                  <a:pt x="4676504" y="2228238"/>
                </a:lnTo>
                <a:cubicBezTo>
                  <a:pt x="4503447" y="2228238"/>
                  <a:pt x="4339607" y="2188782"/>
                  <a:pt x="4193487" y="2118374"/>
                </a:cubicBezTo>
                <a:lnTo>
                  <a:pt x="4171520" y="2105748"/>
                </a:lnTo>
                <a:lnTo>
                  <a:pt x="4161369" y="2124450"/>
                </a:lnTo>
                <a:cubicBezTo>
                  <a:pt x="4133048" y="2166370"/>
                  <a:pt x="4100800" y="2205418"/>
                  <a:pt x="4065152" y="2241066"/>
                </a:cubicBezTo>
                <a:lnTo>
                  <a:pt x="3986221" y="2306190"/>
                </a:lnTo>
                <a:lnTo>
                  <a:pt x="3986221" y="2310802"/>
                </a:lnTo>
                <a:lnTo>
                  <a:pt x="0" y="2310802"/>
                </a:lnTo>
                <a:lnTo>
                  <a:pt x="35977" y="2249411"/>
                </a:lnTo>
                <a:cubicBezTo>
                  <a:pt x="146556" y="2054967"/>
                  <a:pt x="326716" y="1890083"/>
                  <a:pt x="551119" y="1890083"/>
                </a:cubicBezTo>
                <a:cubicBezTo>
                  <a:pt x="553569" y="1819535"/>
                  <a:pt x="576031" y="1793438"/>
                  <a:pt x="575332" y="1748290"/>
                </a:cubicBezTo>
                <a:cubicBezTo>
                  <a:pt x="699055" y="1334650"/>
                  <a:pt x="1082288" y="1035078"/>
                  <a:pt x="1504807" y="1035989"/>
                </a:cubicBezTo>
                <a:cubicBezTo>
                  <a:pt x="1865747" y="1036767"/>
                  <a:pt x="2195928" y="1244481"/>
                  <a:pt x="2335846" y="1575283"/>
                </a:cubicBezTo>
                <a:lnTo>
                  <a:pt x="2387994" y="1743278"/>
                </a:lnTo>
                <a:lnTo>
                  <a:pt x="2726007" y="1743278"/>
                </a:lnTo>
                <a:lnTo>
                  <a:pt x="2720020" y="1683894"/>
                </a:lnTo>
                <a:cubicBezTo>
                  <a:pt x="2720020" y="1248716"/>
                  <a:pt x="3072802" y="895934"/>
                  <a:pt x="3507980" y="895934"/>
                </a:cubicBezTo>
                <a:lnTo>
                  <a:pt x="3583993" y="899772"/>
                </a:lnTo>
                <a:cubicBezTo>
                  <a:pt x="3584335" y="896376"/>
                  <a:pt x="3584678" y="892981"/>
                  <a:pt x="3585020" y="889585"/>
                </a:cubicBezTo>
                <a:cubicBezTo>
                  <a:pt x="3688907" y="381900"/>
                  <a:pt x="4138107" y="0"/>
                  <a:pt x="467650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7124" tIns="91416" rIns="137124" bIns="91416" rtlCol="0" anchor="ctr">
            <a:noAutofit/>
          </a:bodyP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9" name="Text Placeholder 16">
            <a:extLst>
              <a:ext uri="{FF2B5EF4-FFF2-40B4-BE49-F238E27FC236}">
                <a16:creationId xmlns:a16="http://schemas.microsoft.com/office/drawing/2014/main" id="{4B172E08-CDCC-2845-9F3E-1B39286DEDFF}"/>
              </a:ext>
            </a:extLst>
          </p:cNvPr>
          <p:cNvSpPr>
            <a:spLocks noGrp="1"/>
          </p:cNvSpPr>
          <p:nvPr>
            <p:ph type="body" sz="quarter" idx="10" hasCustomPrompt="1"/>
          </p:nvPr>
        </p:nvSpPr>
        <p:spPr bwMode="gray">
          <a:xfrm>
            <a:off x="1161226" y="1251522"/>
            <a:ext cx="6369780" cy="648398"/>
          </a:xfrm>
          <a:prstGeom prst="rect">
            <a:avLst/>
          </a:prstGeom>
        </p:spPr>
        <p:txBody>
          <a:bodyPr anchor="b" anchorCtr="0"/>
          <a:lstStyle>
            <a:lvl1pPr marL="0" indent="0">
              <a:lnSpc>
                <a:spcPct val="95000"/>
              </a:lnSpc>
              <a:spcBef>
                <a:spcPts val="0"/>
              </a:spcBef>
              <a:spcAft>
                <a:spcPts val="0"/>
              </a:spcAft>
              <a:buNone/>
              <a:defRPr sz="2399" b="0" i="0">
                <a:solidFill>
                  <a:schemeClr val="bg1"/>
                </a:solidFill>
                <a:latin typeface="+mj-lt"/>
                <a:ea typeface="Roboto" panose="02000000000000000000" pitchFamily="2" charset="0"/>
                <a:cs typeface="Roboto" panose="02000000000000000000" pitchFamily="2" charset="0"/>
              </a:defRPr>
            </a:lvl1pPr>
            <a:lvl2pPr marL="456971" indent="0">
              <a:buNone/>
              <a:defRPr/>
            </a:lvl2pPr>
            <a:lvl3pPr marL="913943" indent="0">
              <a:buNone/>
              <a:defRPr/>
            </a:lvl3pPr>
            <a:lvl4pPr marL="1370915" indent="0">
              <a:buNone/>
              <a:defRPr/>
            </a:lvl4pPr>
            <a:lvl5pPr marL="1827886" indent="0">
              <a:buNone/>
              <a:defRPr/>
            </a:lvl5pPr>
          </a:lstStyle>
          <a:p>
            <a:pPr lvl="0"/>
            <a:r>
              <a:rPr lang="en-US"/>
              <a:t>Date Roboto Light 20 Point</a:t>
            </a:r>
          </a:p>
        </p:txBody>
      </p:sp>
      <p:sp>
        <p:nvSpPr>
          <p:cNvPr id="15" name="Text Placeholder 23">
            <a:extLst>
              <a:ext uri="{FF2B5EF4-FFF2-40B4-BE49-F238E27FC236}">
                <a16:creationId xmlns:a16="http://schemas.microsoft.com/office/drawing/2014/main" id="{72E6729F-10D3-874C-B648-888F614371EF}"/>
              </a:ext>
            </a:extLst>
          </p:cNvPr>
          <p:cNvSpPr>
            <a:spLocks noGrp="1"/>
          </p:cNvSpPr>
          <p:nvPr>
            <p:ph type="body" sz="quarter" idx="11" hasCustomPrompt="1"/>
          </p:nvPr>
        </p:nvSpPr>
        <p:spPr bwMode="gray">
          <a:xfrm>
            <a:off x="1161225" y="2629673"/>
            <a:ext cx="7039701" cy="2102713"/>
          </a:xfrm>
          <a:prstGeom prst="rect">
            <a:avLst/>
          </a:prstGeom>
        </p:spPr>
        <p:txBody>
          <a:bodyPr anchor="ctr" anchorCtr="0"/>
          <a:lstStyle>
            <a:lvl1pPr marL="0" indent="0">
              <a:spcBef>
                <a:spcPts val="600"/>
              </a:spcBef>
              <a:buNone/>
              <a:defRPr sz="5398" b="0" i="0">
                <a:solidFill>
                  <a:schemeClr val="bg1"/>
                </a:solidFill>
                <a:latin typeface="+mj-lt"/>
                <a:ea typeface="Roboto Light" panose="02000000000000000000" pitchFamily="2" charset="0"/>
                <a:cs typeface="Roboto Light" panose="02000000000000000000" pitchFamily="2" charset="0"/>
              </a:defRPr>
            </a:lvl1pPr>
            <a:lvl2pPr marL="456971" indent="0">
              <a:buNone/>
              <a:defRPr/>
            </a:lvl2pPr>
            <a:lvl3pPr marL="913943" indent="0">
              <a:buNone/>
              <a:defRPr/>
            </a:lvl3pPr>
            <a:lvl4pPr marL="1370915" indent="0">
              <a:buNone/>
              <a:defRPr/>
            </a:lvl4pPr>
            <a:lvl5pPr marL="1827886" indent="0">
              <a:buNone/>
              <a:defRPr/>
            </a:lvl5pPr>
          </a:lstStyle>
          <a:p>
            <a:r>
              <a:rPr lang="en-US"/>
              <a:t>Title Goes Here Roboto Light 54 Point</a:t>
            </a:r>
          </a:p>
        </p:txBody>
      </p:sp>
      <p:sp>
        <p:nvSpPr>
          <p:cNvPr id="16" name="Text Placeholder 25">
            <a:extLst>
              <a:ext uri="{FF2B5EF4-FFF2-40B4-BE49-F238E27FC236}">
                <a16:creationId xmlns:a16="http://schemas.microsoft.com/office/drawing/2014/main" id="{646CD88F-0893-474C-8B77-C007ECB6A676}"/>
              </a:ext>
            </a:extLst>
          </p:cNvPr>
          <p:cNvSpPr>
            <a:spLocks noGrp="1"/>
          </p:cNvSpPr>
          <p:nvPr>
            <p:ph type="body" sz="quarter" idx="12" hasCustomPrompt="1"/>
          </p:nvPr>
        </p:nvSpPr>
        <p:spPr bwMode="gray">
          <a:xfrm>
            <a:off x="1161226" y="4908299"/>
            <a:ext cx="6393330" cy="289576"/>
          </a:xfrm>
          <a:prstGeom prst="rect">
            <a:avLst/>
          </a:prstGeom>
        </p:spPr>
        <p:txBody>
          <a:bodyPr/>
          <a:lstStyle>
            <a:lvl1pPr marL="0" indent="0">
              <a:buNone/>
              <a:defRPr b="0" i="0" baseline="0">
                <a:solidFill>
                  <a:schemeClr val="bg1"/>
                </a:solidFill>
                <a:latin typeface="Roboto" panose="02000000000000000000" pitchFamily="2" charset="0"/>
                <a:ea typeface="Roboto" panose="02000000000000000000" pitchFamily="2" charset="0"/>
                <a:cs typeface="Roboto" panose="02000000000000000000" pitchFamily="2" charset="0"/>
              </a:defRPr>
            </a:lvl1pPr>
            <a:lvl2pPr marL="456971" indent="0">
              <a:buNone/>
              <a:defRPr/>
            </a:lvl2pPr>
            <a:lvl3pPr marL="913943" indent="0">
              <a:buNone/>
              <a:defRPr/>
            </a:lvl3pPr>
            <a:lvl4pPr marL="1370915" indent="0">
              <a:buNone/>
              <a:defRPr/>
            </a:lvl4pPr>
            <a:lvl5pPr marL="1827886" indent="0">
              <a:buNone/>
              <a:defRPr/>
            </a:lvl5pPr>
          </a:lstStyle>
          <a:p>
            <a:pPr lvl="0"/>
            <a:r>
              <a:rPr lang="en-US"/>
              <a:t>Speaker Name, Roboto Regular 20 Point</a:t>
            </a:r>
          </a:p>
        </p:txBody>
      </p:sp>
      <p:sp>
        <p:nvSpPr>
          <p:cNvPr id="17" name="Text Placeholder 27">
            <a:extLst>
              <a:ext uri="{FF2B5EF4-FFF2-40B4-BE49-F238E27FC236}">
                <a16:creationId xmlns:a16="http://schemas.microsoft.com/office/drawing/2014/main" id="{2FE02546-0BBB-5E4F-8595-0FEDF2169431}"/>
              </a:ext>
            </a:extLst>
          </p:cNvPr>
          <p:cNvSpPr>
            <a:spLocks noGrp="1"/>
          </p:cNvSpPr>
          <p:nvPr>
            <p:ph type="body" sz="quarter" idx="13" hasCustomPrompt="1"/>
          </p:nvPr>
        </p:nvSpPr>
        <p:spPr bwMode="gray">
          <a:xfrm>
            <a:off x="1161226" y="5294971"/>
            <a:ext cx="6393330" cy="291041"/>
          </a:xfrm>
          <a:prstGeom prst="rect">
            <a:avLst/>
          </a:prstGeom>
        </p:spPr>
        <p:txBody>
          <a:bodyPr/>
          <a:lstStyle>
            <a:lvl1pPr marL="0" indent="0">
              <a:buNone/>
              <a:defRPr i="1" baseline="0">
                <a:solidFill>
                  <a:schemeClr val="bg1"/>
                </a:solidFill>
                <a:latin typeface="Roboto" panose="02000000000000000000" pitchFamily="2" charset="0"/>
                <a:ea typeface="Roboto" panose="02000000000000000000" pitchFamily="2" charset="0"/>
              </a:defRPr>
            </a:lvl1pPr>
            <a:lvl2pPr marL="456971" indent="0">
              <a:buNone/>
              <a:defRPr/>
            </a:lvl2pPr>
            <a:lvl3pPr marL="913943" indent="0">
              <a:buNone/>
              <a:defRPr/>
            </a:lvl3pPr>
            <a:lvl4pPr marL="1370915" indent="0">
              <a:buNone/>
              <a:defRPr/>
            </a:lvl4pPr>
            <a:lvl5pPr marL="1827886" indent="0">
              <a:buNone/>
              <a:defRPr/>
            </a:lvl5pPr>
          </a:lstStyle>
          <a:p>
            <a:pPr lvl="0"/>
            <a:r>
              <a:rPr lang="en-US"/>
              <a:t>Speaker Title or Email, Roboto Italic 20 Point</a:t>
            </a:r>
          </a:p>
        </p:txBody>
      </p:sp>
      <p:sp>
        <p:nvSpPr>
          <p:cNvPr id="13" name="Right Triangle 12">
            <a:extLst>
              <a:ext uri="{FF2B5EF4-FFF2-40B4-BE49-F238E27FC236}">
                <a16:creationId xmlns:a16="http://schemas.microsoft.com/office/drawing/2014/main" id="{B216F28F-B699-D648-9BA9-91312449D3D2}"/>
              </a:ext>
            </a:extLst>
          </p:cNvPr>
          <p:cNvSpPr/>
          <p:nvPr userDrawn="1"/>
        </p:nvSpPr>
        <p:spPr>
          <a:xfrm flipV="1">
            <a:off x="0" y="-4"/>
            <a:ext cx="1202409" cy="2703435"/>
          </a:xfrm>
          <a:prstGeom prst="rtTriangle">
            <a:avLst/>
          </a:prstGeom>
          <a:solidFill>
            <a:srgbClr val="0A0808"/>
          </a:solidFill>
          <a:ln>
            <a:noFill/>
          </a:ln>
        </p:spPr>
        <p:style>
          <a:lnRef idx="2">
            <a:schemeClr val="accent1">
              <a:shade val="50000"/>
            </a:schemeClr>
          </a:lnRef>
          <a:fillRef idx="1">
            <a:schemeClr val="accent1"/>
          </a:fillRef>
          <a:effectRef idx="0">
            <a:schemeClr val="accent1"/>
          </a:effectRef>
          <a:fontRef idx="minor">
            <a:schemeClr val="lt1"/>
          </a:fontRef>
        </p:style>
        <p:txBody>
          <a:bodyPr lIns="137124" tIns="91416" rIns="137124" bIns="91416" rtlCol="0" anchor="ct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40" name="Freeform 39">
            <a:extLst>
              <a:ext uri="{FF2B5EF4-FFF2-40B4-BE49-F238E27FC236}">
                <a16:creationId xmlns:a16="http://schemas.microsoft.com/office/drawing/2014/main" id="{CCF69367-A869-1148-948E-9FF2DF284864}"/>
              </a:ext>
            </a:extLst>
          </p:cNvPr>
          <p:cNvSpPr/>
          <p:nvPr userDrawn="1"/>
        </p:nvSpPr>
        <p:spPr>
          <a:xfrm>
            <a:off x="7727999" y="4675237"/>
            <a:ext cx="4461444" cy="2182765"/>
          </a:xfrm>
          <a:custGeom>
            <a:avLst/>
            <a:gdLst>
              <a:gd name="connsiteX0" fmla="*/ 4461444 w 4461444"/>
              <a:gd name="connsiteY0" fmla="*/ 0 h 2182765"/>
              <a:gd name="connsiteX1" fmla="*/ 4461444 w 4461444"/>
              <a:gd name="connsiteY1" fmla="*/ 2182765 h 2182765"/>
              <a:gd name="connsiteX2" fmla="*/ 0 w 4461444"/>
              <a:gd name="connsiteY2" fmla="*/ 2182765 h 2182765"/>
              <a:gd name="connsiteX3" fmla="*/ 24342 w 4461444"/>
              <a:gd name="connsiteY3" fmla="*/ 2153263 h 2182765"/>
              <a:gd name="connsiteX4" fmla="*/ 481037 w 4461444"/>
              <a:gd name="connsiteY4" fmla="*/ 1964093 h 2182765"/>
              <a:gd name="connsiteX5" fmla="*/ 732436 w 4461444"/>
              <a:gd name="connsiteY5" fmla="*/ 2014848 h 2182765"/>
              <a:gd name="connsiteX6" fmla="*/ 787285 w 4461444"/>
              <a:gd name="connsiteY6" fmla="*/ 2044619 h 2182765"/>
              <a:gd name="connsiteX7" fmla="*/ 809805 w 4461444"/>
              <a:gd name="connsiteY7" fmla="*/ 1961250 h 2182765"/>
              <a:gd name="connsiteX8" fmla="*/ 1286315 w 4461444"/>
              <a:gd name="connsiteY8" fmla="*/ 1550577 h 2182765"/>
              <a:gd name="connsiteX9" fmla="*/ 1321466 w 4461444"/>
              <a:gd name="connsiteY9" fmla="*/ 1547033 h 2182765"/>
              <a:gd name="connsiteX10" fmla="*/ 1323271 w 4461444"/>
              <a:gd name="connsiteY10" fmla="*/ 1529127 h 2182765"/>
              <a:gd name="connsiteX11" fmla="*/ 2205095 w 4461444"/>
              <a:gd name="connsiteY11" fmla="*/ 810420 h 2182765"/>
              <a:gd name="connsiteX12" fmla="*/ 2708356 w 4461444"/>
              <a:gd name="connsiteY12" fmla="*/ 964145 h 2182765"/>
              <a:gd name="connsiteX13" fmla="*/ 2798296 w 4461444"/>
              <a:gd name="connsiteY13" fmla="*/ 1038353 h 2182765"/>
              <a:gd name="connsiteX14" fmla="*/ 2868637 w 4461444"/>
              <a:gd name="connsiteY14" fmla="*/ 1020266 h 2182765"/>
              <a:gd name="connsiteX15" fmla="*/ 3050041 w 4461444"/>
              <a:gd name="connsiteY15" fmla="*/ 1001979 h 2182765"/>
              <a:gd name="connsiteX16" fmla="*/ 3231445 w 4461444"/>
              <a:gd name="connsiteY16" fmla="*/ 1020266 h 2182765"/>
              <a:gd name="connsiteX17" fmla="*/ 3245588 w 4461444"/>
              <a:gd name="connsiteY17" fmla="*/ 1023903 h 2182765"/>
              <a:gd name="connsiteX18" fmla="*/ 3297823 w 4461444"/>
              <a:gd name="connsiteY18" fmla="*/ 960592 h 2182765"/>
              <a:gd name="connsiteX19" fmla="*/ 3934298 w 4461444"/>
              <a:gd name="connsiteY19" fmla="*/ 696956 h 2182765"/>
              <a:gd name="connsiteX20" fmla="*/ 4115702 w 4461444"/>
              <a:gd name="connsiteY20" fmla="*/ 715243 h 2182765"/>
              <a:gd name="connsiteX21" fmla="*/ 4127211 w 4461444"/>
              <a:gd name="connsiteY21" fmla="*/ 718203 h 2182765"/>
              <a:gd name="connsiteX22" fmla="*/ 4126073 w 4461444"/>
              <a:gd name="connsiteY22" fmla="*/ 695661 h 2182765"/>
              <a:gd name="connsiteX23" fmla="*/ 4389709 w 4461444"/>
              <a:gd name="connsiteY23" fmla="*/ 59186 h 2182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461444" h="2182765">
                <a:moveTo>
                  <a:pt x="4461444" y="0"/>
                </a:moveTo>
                <a:lnTo>
                  <a:pt x="4461444" y="2182765"/>
                </a:lnTo>
                <a:lnTo>
                  <a:pt x="0" y="2182765"/>
                </a:lnTo>
                <a:lnTo>
                  <a:pt x="24342" y="2153263"/>
                </a:lnTo>
                <a:cubicBezTo>
                  <a:pt x="141221" y="2036384"/>
                  <a:pt x="302687" y="1964093"/>
                  <a:pt x="481037" y="1964093"/>
                </a:cubicBezTo>
                <a:cubicBezTo>
                  <a:pt x="570212" y="1964093"/>
                  <a:pt x="655166" y="1982166"/>
                  <a:pt x="732436" y="2014848"/>
                </a:cubicBezTo>
                <a:lnTo>
                  <a:pt x="787285" y="2044619"/>
                </a:lnTo>
                <a:lnTo>
                  <a:pt x="809805" y="1961250"/>
                </a:lnTo>
                <a:cubicBezTo>
                  <a:pt x="885867" y="1753515"/>
                  <a:pt x="1065582" y="1595745"/>
                  <a:pt x="1286315" y="1550577"/>
                </a:cubicBezTo>
                <a:lnTo>
                  <a:pt x="1321466" y="1547033"/>
                </a:lnTo>
                <a:lnTo>
                  <a:pt x="1323271" y="1529127"/>
                </a:lnTo>
                <a:cubicBezTo>
                  <a:pt x="1407203" y="1118962"/>
                  <a:pt x="1770117" y="810420"/>
                  <a:pt x="2205095" y="810420"/>
                </a:cubicBezTo>
                <a:cubicBezTo>
                  <a:pt x="2391514" y="810420"/>
                  <a:pt x="2564697" y="867091"/>
                  <a:pt x="2708356" y="964145"/>
                </a:cubicBezTo>
                <a:lnTo>
                  <a:pt x="2798296" y="1038353"/>
                </a:lnTo>
                <a:lnTo>
                  <a:pt x="2868637" y="1020266"/>
                </a:lnTo>
                <a:cubicBezTo>
                  <a:pt x="2927232" y="1008276"/>
                  <a:pt x="2987901" y="1001979"/>
                  <a:pt x="3050041" y="1001979"/>
                </a:cubicBezTo>
                <a:cubicBezTo>
                  <a:pt x="3112181" y="1001979"/>
                  <a:pt x="3172850" y="1008276"/>
                  <a:pt x="3231445" y="1020266"/>
                </a:cubicBezTo>
                <a:lnTo>
                  <a:pt x="3245588" y="1023903"/>
                </a:lnTo>
                <a:lnTo>
                  <a:pt x="3297823" y="960592"/>
                </a:lnTo>
                <a:cubicBezTo>
                  <a:pt x="3460711" y="797704"/>
                  <a:pt x="3685739" y="696956"/>
                  <a:pt x="3934298" y="696956"/>
                </a:cubicBezTo>
                <a:cubicBezTo>
                  <a:pt x="3996438" y="696956"/>
                  <a:pt x="4057107" y="703253"/>
                  <a:pt x="4115702" y="715243"/>
                </a:cubicBezTo>
                <a:lnTo>
                  <a:pt x="4127211" y="718203"/>
                </a:lnTo>
                <a:lnTo>
                  <a:pt x="4126073" y="695661"/>
                </a:lnTo>
                <a:cubicBezTo>
                  <a:pt x="4126073" y="447102"/>
                  <a:pt x="4226821" y="222074"/>
                  <a:pt x="4389709" y="59186"/>
                </a:cubicBezTo>
                <a:close/>
              </a:path>
            </a:pathLst>
          </a:custGeom>
          <a:solidFill>
            <a:schemeClr val="bg1"/>
          </a:solidFill>
          <a:ln>
            <a:noFill/>
          </a:ln>
          <a:effectLst>
            <a:outerShdw blurRad="279400" dist="76200" dir="13800000"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37124" tIns="91416" rIns="137124" bIns="91416" rtlCol="0" anchor="ctr">
            <a:noAutofit/>
          </a:bodyPr>
          <a:lstStyle/>
          <a:p>
            <a:pPr lvl="0" algn="ctr"/>
            <a:endParaRPr lang="en-US" sz="1600">
              <a:solidFill>
                <a:schemeClr val="bg1"/>
              </a:solidFill>
              <a:latin typeface="Roboto" panose="02000000000000000000" pitchFamily="2" charset="0"/>
              <a:ea typeface="Roboto" panose="02000000000000000000" pitchFamily="2" charset="0"/>
              <a:cs typeface="Roboto" charset="0"/>
            </a:endParaRPr>
          </a:p>
        </p:txBody>
      </p:sp>
      <p:pic>
        <p:nvPicPr>
          <p:cNvPr id="14" name="Picture 13">
            <a:extLst>
              <a:ext uri="{FF2B5EF4-FFF2-40B4-BE49-F238E27FC236}">
                <a16:creationId xmlns:a16="http://schemas.microsoft.com/office/drawing/2014/main" id="{A1640658-5166-E943-BB94-DD403AE23C38}"/>
              </a:ext>
            </a:extLst>
          </p:cNvPr>
          <p:cNvPicPr>
            <a:picLocks noChangeAspect="1"/>
          </p:cNvPicPr>
          <p:nvPr userDrawn="1"/>
        </p:nvPicPr>
        <p:blipFill>
          <a:blip r:embed="rId2"/>
          <a:stretch>
            <a:fillRect/>
          </a:stretch>
        </p:blipFill>
        <p:spPr>
          <a:xfrm>
            <a:off x="9458461" y="6007610"/>
            <a:ext cx="2478024" cy="849901"/>
          </a:xfrm>
          <a:prstGeom prst="rect">
            <a:avLst/>
          </a:prstGeom>
        </p:spPr>
      </p:pic>
      <p:sp>
        <p:nvSpPr>
          <p:cNvPr id="42" name="TextBox 41">
            <a:extLst>
              <a:ext uri="{FF2B5EF4-FFF2-40B4-BE49-F238E27FC236}">
                <a16:creationId xmlns:a16="http://schemas.microsoft.com/office/drawing/2014/main" id="{6B79F160-49C1-BE40-9B17-29BC0FEDEC1D}"/>
              </a:ext>
            </a:extLst>
          </p:cNvPr>
          <p:cNvSpPr txBox="1"/>
          <p:nvPr userDrawn="1"/>
        </p:nvSpPr>
        <p:spPr>
          <a:xfrm>
            <a:off x="12353544" y="3346704"/>
            <a:ext cx="0" cy="0"/>
          </a:xfrm>
          <a:prstGeom prst="rect">
            <a:avLst/>
          </a:prstGeom>
          <a:noFill/>
        </p:spPr>
        <p:txBody>
          <a:bodyPr wrap="none" lIns="0" tIns="0" rIns="0" bIns="0" rtlCol="0">
            <a:noAutofit/>
          </a:bodyPr>
          <a:lstStyle/>
          <a:p>
            <a:pPr algn="l">
              <a:lnSpc>
                <a:spcPct val="90000"/>
              </a:lnSpc>
              <a:spcAft>
                <a:spcPts val="1000"/>
              </a:spcAft>
            </a:pPr>
            <a:endParaRPr lang="en-US" sz="1799">
              <a:latin typeface="Roboto" panose="02000000000000000000" pitchFamily="2" charset="0"/>
              <a:ea typeface="Roboto" panose="02000000000000000000" pitchFamily="2" charset="0"/>
              <a:cs typeface="Roboto" charset="0"/>
            </a:endParaRPr>
          </a:p>
        </p:txBody>
      </p:sp>
      <p:cxnSp>
        <p:nvCxnSpPr>
          <p:cNvPr id="21" name="Straight Connector 20">
            <a:extLst>
              <a:ext uri="{FF2B5EF4-FFF2-40B4-BE49-F238E27FC236}">
                <a16:creationId xmlns:a16="http://schemas.microsoft.com/office/drawing/2014/main" id="{A8D9DBDD-1A8F-D041-8655-1C53D632E106}"/>
              </a:ext>
            </a:extLst>
          </p:cNvPr>
          <p:cNvCxnSpPr>
            <a:cxnSpLocks/>
          </p:cNvCxnSpPr>
          <p:nvPr userDrawn="1"/>
        </p:nvCxnSpPr>
        <p:spPr>
          <a:xfrm>
            <a:off x="1241751" y="1956269"/>
            <a:ext cx="358449"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Diamond 17">
            <a:extLst>
              <a:ext uri="{FF2B5EF4-FFF2-40B4-BE49-F238E27FC236}">
                <a16:creationId xmlns:a16="http://schemas.microsoft.com/office/drawing/2014/main" id="{22291FCB-13B8-DF4C-BE04-ED5865D9155F}"/>
              </a:ext>
            </a:extLst>
          </p:cNvPr>
          <p:cNvSpPr/>
          <p:nvPr userDrawn="1"/>
        </p:nvSpPr>
        <p:spPr>
          <a:xfrm>
            <a:off x="8747094" y="732346"/>
            <a:ext cx="2909484" cy="2909484"/>
          </a:xfrm>
          <a:prstGeom prst="diamond">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37124" tIns="91416" rIns="137124" bIns="91416" rtlCol="0" anchor="ctr"/>
          <a:lstStyle/>
          <a:p>
            <a:pPr algn="ctr"/>
            <a:endParaRPr lang="en-US" sz="1799">
              <a:latin typeface="Roboto" panose="02000000000000000000" pitchFamily="2" charset="0"/>
              <a:ea typeface="Roboto" panose="02000000000000000000" pitchFamily="2" charset="0"/>
              <a:cs typeface="Roboto" charset="0"/>
            </a:endParaRPr>
          </a:p>
        </p:txBody>
      </p:sp>
      <p:sp>
        <p:nvSpPr>
          <p:cNvPr id="20" name="Picture Placeholder 6">
            <a:extLst>
              <a:ext uri="{FF2B5EF4-FFF2-40B4-BE49-F238E27FC236}">
                <a16:creationId xmlns:a16="http://schemas.microsoft.com/office/drawing/2014/main" id="{7603D8C8-3BD3-884E-98BF-50C856DE6406}"/>
              </a:ext>
            </a:extLst>
          </p:cNvPr>
          <p:cNvSpPr>
            <a:spLocks noGrp="1"/>
          </p:cNvSpPr>
          <p:nvPr>
            <p:ph type="pic" sz="quarter" idx="15" hasCustomPrompt="1"/>
          </p:nvPr>
        </p:nvSpPr>
        <p:spPr>
          <a:xfrm>
            <a:off x="8753600" y="558610"/>
            <a:ext cx="2889058" cy="2887103"/>
          </a:xfrm>
          <a:prstGeom prst="diamond">
            <a:avLst/>
          </a:prstGeom>
          <a:solidFill>
            <a:schemeClr val="bg1">
              <a:lumMod val="95000"/>
            </a:schemeClr>
          </a:solidFill>
          <a:ln w="38100">
            <a:solidFill>
              <a:schemeClr val="bg1"/>
            </a:solidFill>
          </a:ln>
        </p:spPr>
        <p:txBody>
          <a:bodyPr vert="horz" lIns="0" tIns="0" rIns="0" bIns="0" rtlCol="0" anchor="ctr">
            <a:noAutofit/>
          </a:bodyPr>
          <a:lstStyle>
            <a:lvl1pPr>
              <a:defRPr lang="en-US" dirty="0">
                <a:latin typeface="Roboto" panose="02000000000000000000" pitchFamily="2" charset="0"/>
                <a:ea typeface="Roboto" panose="02000000000000000000" pitchFamily="2" charset="0"/>
              </a:defRPr>
            </a:lvl1pPr>
          </a:lstStyle>
          <a:p>
            <a:pPr marL="0" lvl="0" indent="0" algn="ctr">
              <a:buNone/>
            </a:pPr>
            <a:r>
              <a:rPr lang="en-US"/>
              <a:t>CLICK TO INSERT IMAGE</a:t>
            </a:r>
          </a:p>
        </p:txBody>
      </p:sp>
    </p:spTree>
    <p:extLst>
      <p:ext uri="{BB962C8B-B14F-4D97-AF65-F5344CB8AC3E}">
        <p14:creationId xmlns:p14="http://schemas.microsoft.com/office/powerpoint/2010/main" val="3192625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_With Image_Custom">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Picture Placeholder 6">
            <a:extLst>
              <a:ext uri="{FF2B5EF4-FFF2-40B4-BE49-F238E27FC236}">
                <a16:creationId xmlns:a16="http://schemas.microsoft.com/office/drawing/2014/main" id="{B649F28F-3FD3-40E3-A545-D17891D161A2}"/>
              </a:ext>
            </a:extLst>
          </p:cNvPr>
          <p:cNvSpPr>
            <a:spLocks noGrp="1"/>
          </p:cNvSpPr>
          <p:nvPr>
            <p:ph type="pic" sz="quarter" idx="17" hasCustomPrompt="1"/>
          </p:nvPr>
        </p:nvSpPr>
        <p:spPr>
          <a:xfrm>
            <a:off x="3899141" y="7388"/>
            <a:ext cx="8289684" cy="6850612"/>
          </a:xfrm>
          <a:prstGeom prst="rect">
            <a:avLst/>
          </a:prstGeom>
          <a:solidFill>
            <a:schemeClr val="bg1">
              <a:lumMod val="95000"/>
            </a:schemeClr>
          </a:solidFill>
        </p:spPr>
        <p:txBody>
          <a:bodyPr anchor="ctr"/>
          <a:lstStyle>
            <a:lvl1pPr marL="0" indent="0" algn="ctr">
              <a:buNone/>
              <a:defRPr>
                <a:latin typeface="Roboto" panose="02000000000000000000" pitchFamily="2" charset="0"/>
                <a:ea typeface="Roboto" panose="02000000000000000000" pitchFamily="2" charset="0"/>
              </a:defRPr>
            </a:lvl1pPr>
          </a:lstStyle>
          <a:p>
            <a:r>
              <a:rPr lang="en-US"/>
              <a:t>                                                    CLICK TO INSERT IMAGE</a:t>
            </a:r>
          </a:p>
        </p:txBody>
      </p:sp>
      <p:grpSp>
        <p:nvGrpSpPr>
          <p:cNvPr id="7" name="Group 6">
            <a:extLst>
              <a:ext uri="{FF2B5EF4-FFF2-40B4-BE49-F238E27FC236}">
                <a16:creationId xmlns:a16="http://schemas.microsoft.com/office/drawing/2014/main" id="{AA3A0859-3A61-4F2D-A9CE-F6EEDDF64779}"/>
              </a:ext>
            </a:extLst>
          </p:cNvPr>
          <p:cNvGrpSpPr/>
          <p:nvPr userDrawn="1"/>
        </p:nvGrpSpPr>
        <p:grpSpPr>
          <a:xfrm>
            <a:off x="0" y="0"/>
            <a:ext cx="11635865" cy="6858000"/>
            <a:chOff x="0" y="0"/>
            <a:chExt cx="10367594" cy="6858000"/>
          </a:xfrm>
        </p:grpSpPr>
        <p:sp>
          <p:nvSpPr>
            <p:cNvPr id="8" name="Freeform 19">
              <a:extLst>
                <a:ext uri="{FF2B5EF4-FFF2-40B4-BE49-F238E27FC236}">
                  <a16:creationId xmlns:a16="http://schemas.microsoft.com/office/drawing/2014/main" id="{89A44110-75C9-4AC3-AC47-BDA012664C3E}"/>
                </a:ext>
              </a:extLst>
            </p:cNvPr>
            <p:cNvSpPr/>
            <p:nvPr/>
          </p:nvSpPr>
          <p:spPr>
            <a:xfrm>
              <a:off x="0" y="0"/>
              <a:ext cx="10367594" cy="6858000"/>
            </a:xfrm>
            <a:custGeom>
              <a:avLst/>
              <a:gdLst>
                <a:gd name="connsiteX0" fmla="*/ 0 w 10367594"/>
                <a:gd name="connsiteY0" fmla="*/ 0 h 6858000"/>
                <a:gd name="connsiteX1" fmla="*/ 10367594 w 10367594"/>
                <a:gd name="connsiteY1" fmla="*/ 0 h 6858000"/>
                <a:gd name="connsiteX2" fmla="*/ 3509594 w 10367594"/>
                <a:gd name="connsiteY2" fmla="*/ 6858000 h 6858000"/>
                <a:gd name="connsiteX3" fmla="*/ 1520714 w 10367594"/>
                <a:gd name="connsiteY3" fmla="*/ 6858000 h 6858000"/>
                <a:gd name="connsiteX4" fmla="*/ 0 w 10367594"/>
                <a:gd name="connsiteY4" fmla="*/ 5544428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67594" h="6858000">
                  <a:moveTo>
                    <a:pt x="0" y="0"/>
                  </a:moveTo>
                  <a:lnTo>
                    <a:pt x="10367594" y="0"/>
                  </a:lnTo>
                  <a:lnTo>
                    <a:pt x="3509594" y="6858000"/>
                  </a:lnTo>
                  <a:lnTo>
                    <a:pt x="1520714" y="6858000"/>
                  </a:lnTo>
                  <a:lnTo>
                    <a:pt x="0" y="5544428"/>
                  </a:lnTo>
                  <a:close/>
                </a:path>
              </a:pathLst>
            </a:custGeom>
            <a:gradFill>
              <a:gsLst>
                <a:gs pos="0">
                  <a:schemeClr val="accent2"/>
                </a:gs>
                <a:gs pos="76000">
                  <a:srgbClr val="FF6500"/>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rIns="137160" bIns="91440" rtlCol="0" anchor="ctr">
              <a:noAutofit/>
            </a:bodyPr>
            <a:lstStyle/>
            <a:p>
              <a:pPr lvl="0" algn="ctr"/>
              <a:endParaRPr lang="en-US" sz="1600">
                <a:solidFill>
                  <a:schemeClr val="bg1"/>
                </a:solidFill>
                <a:latin typeface="Roboto" panose="02000000000000000000" pitchFamily="2" charset="0"/>
                <a:ea typeface="Roboto" panose="02000000000000000000" pitchFamily="2" charset="0"/>
              </a:endParaRPr>
            </a:p>
          </p:txBody>
        </p:sp>
        <p:sp>
          <p:nvSpPr>
            <p:cNvPr id="9" name="Freeform 20">
              <a:extLst>
                <a:ext uri="{FF2B5EF4-FFF2-40B4-BE49-F238E27FC236}">
                  <a16:creationId xmlns:a16="http://schemas.microsoft.com/office/drawing/2014/main" id="{B5062EF4-1C43-4AC0-BB60-08C00AB6C068}"/>
                </a:ext>
              </a:extLst>
            </p:cNvPr>
            <p:cNvSpPr/>
            <p:nvPr userDrawn="1"/>
          </p:nvSpPr>
          <p:spPr>
            <a:xfrm>
              <a:off x="0" y="5544428"/>
              <a:ext cx="1523890" cy="1313572"/>
            </a:xfrm>
            <a:custGeom>
              <a:avLst/>
              <a:gdLst>
                <a:gd name="connsiteX0" fmla="*/ 3176 w 1523890"/>
                <a:gd name="connsiteY0" fmla="*/ 0 h 1313572"/>
                <a:gd name="connsiteX1" fmla="*/ 1523890 w 1523890"/>
                <a:gd name="connsiteY1" fmla="*/ 1313572 h 1313572"/>
                <a:gd name="connsiteX2" fmla="*/ 0 w 1523890"/>
                <a:gd name="connsiteY2" fmla="*/ 420643 h 1313572"/>
                <a:gd name="connsiteX3" fmla="*/ 0 w 1523890"/>
                <a:gd name="connsiteY3" fmla="*/ 17461 h 1313572"/>
              </a:gdLst>
              <a:ahLst/>
              <a:cxnLst>
                <a:cxn ang="0">
                  <a:pos x="connsiteX0" y="connsiteY0"/>
                </a:cxn>
                <a:cxn ang="0">
                  <a:pos x="connsiteX1" y="connsiteY1"/>
                </a:cxn>
                <a:cxn ang="0">
                  <a:pos x="connsiteX2" y="connsiteY2"/>
                </a:cxn>
                <a:cxn ang="0">
                  <a:pos x="connsiteX3" y="connsiteY3"/>
                </a:cxn>
              </a:cxnLst>
              <a:rect l="l" t="t" r="r" b="b"/>
              <a:pathLst>
                <a:path w="1523890" h="1313572">
                  <a:moveTo>
                    <a:pt x="3176" y="0"/>
                  </a:moveTo>
                  <a:lnTo>
                    <a:pt x="1523890" y="1313572"/>
                  </a:lnTo>
                  <a:lnTo>
                    <a:pt x="0" y="420643"/>
                  </a:lnTo>
                  <a:lnTo>
                    <a:pt x="0" y="17461"/>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rIns="137160" bIns="91440" rtlCol="0" anchor="ctr">
              <a:noAutofit/>
            </a:bodyPr>
            <a:lstStyle/>
            <a:p>
              <a:pPr lvl="0" algn="ctr"/>
              <a:endParaRPr lang="en-US" sz="1600">
                <a:solidFill>
                  <a:schemeClr val="bg1"/>
                </a:solidFill>
                <a:latin typeface="Roboto" panose="02000000000000000000" pitchFamily="2" charset="0"/>
                <a:ea typeface="Roboto" panose="02000000000000000000" pitchFamily="2" charset="0"/>
              </a:endParaRPr>
            </a:p>
          </p:txBody>
        </p:sp>
      </p:grpSp>
      <p:sp>
        <p:nvSpPr>
          <p:cNvPr id="10" name="Right Triangle 9">
            <a:extLst>
              <a:ext uri="{FF2B5EF4-FFF2-40B4-BE49-F238E27FC236}">
                <a16:creationId xmlns:a16="http://schemas.microsoft.com/office/drawing/2014/main" id="{9BEE8FDF-E5E9-4E90-BB11-9AACB3A185CF}"/>
              </a:ext>
            </a:extLst>
          </p:cNvPr>
          <p:cNvSpPr/>
          <p:nvPr userDrawn="1"/>
        </p:nvSpPr>
        <p:spPr>
          <a:xfrm rot="10800000">
            <a:off x="9585961" y="0"/>
            <a:ext cx="2602865" cy="2217420"/>
          </a:xfrm>
          <a:prstGeom prst="rtTriangle">
            <a:avLst/>
          </a:prstGeom>
          <a:solidFill>
            <a:srgbClr val="FF4D00">
              <a:alpha val="8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latin typeface="Roboto" panose="02000000000000000000" pitchFamily="2" charset="0"/>
            </a:endParaRPr>
          </a:p>
        </p:txBody>
      </p:sp>
      <p:sp>
        <p:nvSpPr>
          <p:cNvPr id="13" name="Text Placeholder 16">
            <a:extLst>
              <a:ext uri="{FF2B5EF4-FFF2-40B4-BE49-F238E27FC236}">
                <a16:creationId xmlns:a16="http://schemas.microsoft.com/office/drawing/2014/main" id="{8A742799-E7EE-B249-B855-6E66A99BEF43}"/>
              </a:ext>
            </a:extLst>
          </p:cNvPr>
          <p:cNvSpPr>
            <a:spLocks noGrp="1"/>
          </p:cNvSpPr>
          <p:nvPr>
            <p:ph type="body" sz="quarter" idx="10" hasCustomPrompt="1"/>
          </p:nvPr>
        </p:nvSpPr>
        <p:spPr bwMode="gray">
          <a:xfrm>
            <a:off x="1161226" y="1251522"/>
            <a:ext cx="6369780" cy="648398"/>
          </a:xfrm>
          <a:prstGeom prst="rect">
            <a:avLst/>
          </a:prstGeom>
        </p:spPr>
        <p:txBody>
          <a:bodyPr anchor="b" anchorCtr="0"/>
          <a:lstStyle>
            <a:lvl1pPr marL="0" indent="0">
              <a:lnSpc>
                <a:spcPct val="95000"/>
              </a:lnSpc>
              <a:spcBef>
                <a:spcPts val="0"/>
              </a:spcBef>
              <a:spcAft>
                <a:spcPts val="0"/>
              </a:spcAft>
              <a:buNone/>
              <a:defRPr sz="2399" b="0" i="0">
                <a:solidFill>
                  <a:schemeClr val="bg1"/>
                </a:solidFill>
                <a:latin typeface="+mj-lt"/>
                <a:ea typeface="Roboto" panose="02000000000000000000" pitchFamily="2" charset="0"/>
                <a:cs typeface="Roboto" panose="02000000000000000000" pitchFamily="2" charset="0"/>
              </a:defRPr>
            </a:lvl1pPr>
            <a:lvl2pPr marL="456971" indent="0">
              <a:buNone/>
              <a:defRPr/>
            </a:lvl2pPr>
            <a:lvl3pPr marL="913943" indent="0">
              <a:buNone/>
              <a:defRPr/>
            </a:lvl3pPr>
            <a:lvl4pPr marL="1370915" indent="0">
              <a:buNone/>
              <a:defRPr/>
            </a:lvl4pPr>
            <a:lvl5pPr marL="1827886" indent="0">
              <a:buNone/>
              <a:defRPr/>
            </a:lvl5pPr>
          </a:lstStyle>
          <a:p>
            <a:pPr lvl="0"/>
            <a:r>
              <a:rPr lang="en-US"/>
              <a:t>Date Roboto Light 20 Point</a:t>
            </a:r>
          </a:p>
        </p:txBody>
      </p:sp>
      <p:sp>
        <p:nvSpPr>
          <p:cNvPr id="14" name="Text Placeholder 23">
            <a:extLst>
              <a:ext uri="{FF2B5EF4-FFF2-40B4-BE49-F238E27FC236}">
                <a16:creationId xmlns:a16="http://schemas.microsoft.com/office/drawing/2014/main" id="{A4D87C16-E3D4-4E46-862C-5B297107DAA7}"/>
              </a:ext>
            </a:extLst>
          </p:cNvPr>
          <p:cNvSpPr>
            <a:spLocks noGrp="1"/>
          </p:cNvSpPr>
          <p:nvPr>
            <p:ph type="body" sz="quarter" idx="11" hasCustomPrompt="1"/>
          </p:nvPr>
        </p:nvSpPr>
        <p:spPr bwMode="gray">
          <a:xfrm>
            <a:off x="1161225" y="2629673"/>
            <a:ext cx="5148136" cy="2102713"/>
          </a:xfrm>
          <a:prstGeom prst="rect">
            <a:avLst/>
          </a:prstGeom>
        </p:spPr>
        <p:txBody>
          <a:bodyPr anchor="ctr" anchorCtr="0"/>
          <a:lstStyle>
            <a:lvl1pPr marL="0" indent="0">
              <a:spcBef>
                <a:spcPts val="600"/>
              </a:spcBef>
              <a:buNone/>
              <a:defRPr sz="5398" b="0" i="0">
                <a:solidFill>
                  <a:schemeClr val="bg1"/>
                </a:solidFill>
                <a:latin typeface="+mj-lt"/>
                <a:ea typeface="Roboto Light" panose="02000000000000000000" pitchFamily="2" charset="0"/>
                <a:cs typeface="Roboto Light" panose="02000000000000000000" pitchFamily="2" charset="0"/>
              </a:defRPr>
            </a:lvl1pPr>
            <a:lvl2pPr marL="456971" indent="0">
              <a:buNone/>
              <a:defRPr/>
            </a:lvl2pPr>
            <a:lvl3pPr marL="913943" indent="0">
              <a:buNone/>
              <a:defRPr/>
            </a:lvl3pPr>
            <a:lvl4pPr marL="1370915" indent="0">
              <a:buNone/>
              <a:defRPr/>
            </a:lvl4pPr>
            <a:lvl5pPr marL="1827886" indent="0">
              <a:buNone/>
              <a:defRPr/>
            </a:lvl5pPr>
          </a:lstStyle>
          <a:p>
            <a:r>
              <a:rPr lang="en-US"/>
              <a:t>Title Goes Here Roboto Light 54 Point</a:t>
            </a:r>
          </a:p>
        </p:txBody>
      </p:sp>
      <p:sp>
        <p:nvSpPr>
          <p:cNvPr id="15" name="Text Placeholder 25">
            <a:extLst>
              <a:ext uri="{FF2B5EF4-FFF2-40B4-BE49-F238E27FC236}">
                <a16:creationId xmlns:a16="http://schemas.microsoft.com/office/drawing/2014/main" id="{7079C3FF-9D8D-8246-A054-D86497FCC529}"/>
              </a:ext>
            </a:extLst>
          </p:cNvPr>
          <p:cNvSpPr>
            <a:spLocks noGrp="1"/>
          </p:cNvSpPr>
          <p:nvPr>
            <p:ph type="body" sz="quarter" idx="12" hasCustomPrompt="1"/>
          </p:nvPr>
        </p:nvSpPr>
        <p:spPr bwMode="gray">
          <a:xfrm>
            <a:off x="1161226" y="4908299"/>
            <a:ext cx="4933187" cy="289576"/>
          </a:xfrm>
          <a:prstGeom prst="rect">
            <a:avLst/>
          </a:prstGeom>
        </p:spPr>
        <p:txBody>
          <a:bodyPr/>
          <a:lstStyle>
            <a:lvl1pPr marL="0" indent="0">
              <a:buNone/>
              <a:defRPr b="0" i="0" baseline="0">
                <a:solidFill>
                  <a:schemeClr val="bg1"/>
                </a:solidFill>
                <a:latin typeface="Roboto" panose="02000000000000000000" pitchFamily="2" charset="0"/>
                <a:ea typeface="Roboto" panose="02000000000000000000" pitchFamily="2" charset="0"/>
                <a:cs typeface="Roboto" panose="02000000000000000000" pitchFamily="2" charset="0"/>
              </a:defRPr>
            </a:lvl1pPr>
            <a:lvl2pPr marL="456971" indent="0">
              <a:buNone/>
              <a:defRPr/>
            </a:lvl2pPr>
            <a:lvl3pPr marL="913943" indent="0">
              <a:buNone/>
              <a:defRPr/>
            </a:lvl3pPr>
            <a:lvl4pPr marL="1370915" indent="0">
              <a:buNone/>
              <a:defRPr/>
            </a:lvl4pPr>
            <a:lvl5pPr marL="1827886" indent="0">
              <a:buNone/>
              <a:defRPr/>
            </a:lvl5pPr>
          </a:lstStyle>
          <a:p>
            <a:pPr lvl="0"/>
            <a:r>
              <a:rPr lang="en-US"/>
              <a:t>Speaker Name, Roboto Regular 20 Point</a:t>
            </a:r>
          </a:p>
        </p:txBody>
      </p:sp>
      <p:sp>
        <p:nvSpPr>
          <p:cNvPr id="22" name="Text Placeholder 27">
            <a:extLst>
              <a:ext uri="{FF2B5EF4-FFF2-40B4-BE49-F238E27FC236}">
                <a16:creationId xmlns:a16="http://schemas.microsoft.com/office/drawing/2014/main" id="{12E9ED7C-F9A0-8D40-86E4-EE84DC932C73}"/>
              </a:ext>
            </a:extLst>
          </p:cNvPr>
          <p:cNvSpPr>
            <a:spLocks noGrp="1"/>
          </p:cNvSpPr>
          <p:nvPr>
            <p:ph type="body" sz="quarter" idx="13" hasCustomPrompt="1"/>
          </p:nvPr>
        </p:nvSpPr>
        <p:spPr bwMode="gray">
          <a:xfrm>
            <a:off x="1161226" y="5294971"/>
            <a:ext cx="4121975" cy="291041"/>
          </a:xfrm>
          <a:prstGeom prst="rect">
            <a:avLst/>
          </a:prstGeom>
        </p:spPr>
        <p:txBody>
          <a:bodyPr/>
          <a:lstStyle>
            <a:lvl1pPr marL="0" indent="0">
              <a:buNone/>
              <a:defRPr i="1" baseline="0">
                <a:solidFill>
                  <a:schemeClr val="bg1"/>
                </a:solidFill>
                <a:latin typeface="Roboto" panose="02000000000000000000" pitchFamily="2" charset="0"/>
                <a:ea typeface="Roboto" panose="02000000000000000000" pitchFamily="2" charset="0"/>
              </a:defRPr>
            </a:lvl1pPr>
            <a:lvl2pPr marL="456971" indent="0">
              <a:buNone/>
              <a:defRPr/>
            </a:lvl2pPr>
            <a:lvl3pPr marL="913943" indent="0">
              <a:buNone/>
              <a:defRPr/>
            </a:lvl3pPr>
            <a:lvl4pPr marL="1370915" indent="0">
              <a:buNone/>
              <a:defRPr/>
            </a:lvl4pPr>
            <a:lvl5pPr marL="1827886" indent="0">
              <a:buNone/>
              <a:defRPr/>
            </a:lvl5pPr>
          </a:lstStyle>
          <a:p>
            <a:pPr lvl="0"/>
            <a:r>
              <a:rPr lang="en-US"/>
              <a:t>Speaker Title or Email, Roboto Italic 20 Point</a:t>
            </a:r>
          </a:p>
        </p:txBody>
      </p:sp>
      <p:pic>
        <p:nvPicPr>
          <p:cNvPr id="17" name="Picture 16">
            <a:extLst>
              <a:ext uri="{FF2B5EF4-FFF2-40B4-BE49-F238E27FC236}">
                <a16:creationId xmlns:a16="http://schemas.microsoft.com/office/drawing/2014/main" id="{01572B8A-3E9A-9F41-B79E-0463DD4D0655}"/>
              </a:ext>
            </a:extLst>
          </p:cNvPr>
          <p:cNvPicPr>
            <a:picLocks noChangeAspect="1"/>
          </p:cNvPicPr>
          <p:nvPr userDrawn="1"/>
        </p:nvPicPr>
        <p:blipFill>
          <a:blip r:embed="rId3"/>
          <a:stretch>
            <a:fillRect/>
          </a:stretch>
        </p:blipFill>
        <p:spPr>
          <a:xfrm>
            <a:off x="9458461" y="6007610"/>
            <a:ext cx="2478024" cy="849901"/>
          </a:xfrm>
          <a:prstGeom prst="rect">
            <a:avLst/>
          </a:prstGeom>
        </p:spPr>
      </p:pic>
      <p:cxnSp>
        <p:nvCxnSpPr>
          <p:cNvPr id="16" name="Straight Connector 15">
            <a:extLst>
              <a:ext uri="{FF2B5EF4-FFF2-40B4-BE49-F238E27FC236}">
                <a16:creationId xmlns:a16="http://schemas.microsoft.com/office/drawing/2014/main" id="{AC27FE5D-2C9B-1C42-89ED-25032BF17A07}"/>
              </a:ext>
            </a:extLst>
          </p:cNvPr>
          <p:cNvCxnSpPr>
            <a:cxnSpLocks/>
          </p:cNvCxnSpPr>
          <p:nvPr userDrawn="1"/>
        </p:nvCxnSpPr>
        <p:spPr>
          <a:xfrm>
            <a:off x="1241751" y="1956269"/>
            <a:ext cx="358449"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4966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2_Title Slide_option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ext Placeholder 16">
            <a:extLst>
              <a:ext uri="{FF2B5EF4-FFF2-40B4-BE49-F238E27FC236}">
                <a16:creationId xmlns:a16="http://schemas.microsoft.com/office/drawing/2014/main" id="{6253D099-6F45-4C8B-9E60-07B7DBC6D796}"/>
              </a:ext>
            </a:extLst>
          </p:cNvPr>
          <p:cNvSpPr>
            <a:spLocks noGrp="1"/>
          </p:cNvSpPr>
          <p:nvPr>
            <p:ph type="body" sz="quarter" idx="10" hasCustomPrompt="1"/>
          </p:nvPr>
        </p:nvSpPr>
        <p:spPr bwMode="gray">
          <a:xfrm>
            <a:off x="1161225" y="1251522"/>
            <a:ext cx="6369780" cy="648398"/>
          </a:xfrm>
          <a:prstGeom prst="rect">
            <a:avLst/>
          </a:prstGeom>
        </p:spPr>
        <p:txBody>
          <a:bodyPr anchor="b" anchorCtr="0"/>
          <a:lstStyle>
            <a:lvl1pPr marL="0" indent="0">
              <a:lnSpc>
                <a:spcPct val="95000"/>
              </a:lnSpc>
              <a:spcBef>
                <a:spcPts val="0"/>
              </a:spcBef>
              <a:spcAft>
                <a:spcPts val="0"/>
              </a:spcAft>
              <a:buNone/>
              <a:defRPr sz="2400" b="0" i="0">
                <a:solidFill>
                  <a:schemeClr val="tx1"/>
                </a:solidFill>
                <a:latin typeface="+mj-lt"/>
                <a:ea typeface="Roboto" charset="0"/>
                <a:cs typeface="Roboto" charset="0"/>
              </a:defRPr>
            </a:lvl1pPr>
            <a:lvl2pPr marL="457108" indent="0">
              <a:buNone/>
              <a:defRPr/>
            </a:lvl2pPr>
            <a:lvl3pPr marL="914217" indent="0">
              <a:buNone/>
              <a:defRPr/>
            </a:lvl3pPr>
            <a:lvl4pPr marL="1371326" indent="0">
              <a:buNone/>
              <a:defRPr/>
            </a:lvl4pPr>
            <a:lvl5pPr marL="1828435" indent="0">
              <a:buNone/>
              <a:defRPr/>
            </a:lvl5pPr>
          </a:lstStyle>
          <a:p>
            <a:pPr lvl="0"/>
            <a:r>
              <a:rPr lang="en-US" dirty="0"/>
              <a:t>Date Roboto Light 20 Point</a:t>
            </a:r>
          </a:p>
        </p:txBody>
      </p:sp>
      <p:sp>
        <p:nvSpPr>
          <p:cNvPr id="6" name="Text Placeholder 23">
            <a:extLst>
              <a:ext uri="{FF2B5EF4-FFF2-40B4-BE49-F238E27FC236}">
                <a16:creationId xmlns:a16="http://schemas.microsoft.com/office/drawing/2014/main" id="{DD308AA3-29BC-4C59-ABCE-F77972B458B0}"/>
              </a:ext>
            </a:extLst>
          </p:cNvPr>
          <p:cNvSpPr>
            <a:spLocks noGrp="1"/>
          </p:cNvSpPr>
          <p:nvPr>
            <p:ph type="body" sz="quarter" idx="11" hasCustomPrompt="1"/>
          </p:nvPr>
        </p:nvSpPr>
        <p:spPr bwMode="gray">
          <a:xfrm>
            <a:off x="1161224" y="2629671"/>
            <a:ext cx="7363651" cy="2102713"/>
          </a:xfrm>
          <a:prstGeom prst="rect">
            <a:avLst/>
          </a:prstGeom>
        </p:spPr>
        <p:txBody>
          <a:bodyPr anchor="ctr" anchorCtr="0"/>
          <a:lstStyle>
            <a:lvl1pPr marL="0" indent="0">
              <a:spcBef>
                <a:spcPts val="600"/>
              </a:spcBef>
              <a:buNone/>
              <a:defRPr sz="5400" b="0" i="0">
                <a:solidFill>
                  <a:schemeClr val="accent2"/>
                </a:solidFill>
                <a:latin typeface="+mj-lt"/>
                <a:ea typeface="Roboto Lt" charset="0"/>
                <a:cs typeface="Roboto Lt" charset="0"/>
              </a:defRPr>
            </a:lvl1pPr>
            <a:lvl2pPr marL="457108" indent="0">
              <a:buNone/>
              <a:defRPr/>
            </a:lvl2pPr>
            <a:lvl3pPr marL="914217" indent="0">
              <a:buNone/>
              <a:defRPr/>
            </a:lvl3pPr>
            <a:lvl4pPr marL="1371326" indent="0">
              <a:buNone/>
              <a:defRPr/>
            </a:lvl4pPr>
            <a:lvl5pPr marL="1828435" indent="0">
              <a:buNone/>
              <a:defRPr/>
            </a:lvl5pPr>
          </a:lstStyle>
          <a:p>
            <a:r>
              <a:rPr lang="en-US" dirty="0"/>
              <a:t>Title Goes Here Roboto Light 54 Point</a:t>
            </a:r>
          </a:p>
        </p:txBody>
      </p:sp>
      <p:sp>
        <p:nvSpPr>
          <p:cNvPr id="7" name="Text Placeholder 25">
            <a:extLst>
              <a:ext uri="{FF2B5EF4-FFF2-40B4-BE49-F238E27FC236}">
                <a16:creationId xmlns:a16="http://schemas.microsoft.com/office/drawing/2014/main" id="{C35A878D-AAEA-4D61-9042-225148F309CD}"/>
              </a:ext>
            </a:extLst>
          </p:cNvPr>
          <p:cNvSpPr>
            <a:spLocks noGrp="1"/>
          </p:cNvSpPr>
          <p:nvPr>
            <p:ph type="body" sz="quarter" idx="12" hasCustomPrompt="1"/>
          </p:nvPr>
        </p:nvSpPr>
        <p:spPr bwMode="gray">
          <a:xfrm>
            <a:off x="1161225" y="4908299"/>
            <a:ext cx="5679524" cy="289576"/>
          </a:xfrm>
          <a:prstGeom prst="rect">
            <a:avLst/>
          </a:prstGeom>
        </p:spPr>
        <p:txBody>
          <a:bodyPr/>
          <a:lstStyle>
            <a:lvl1pPr marL="0" indent="0">
              <a:buNone/>
              <a:defRPr b="0" i="0" baseline="0">
                <a:solidFill>
                  <a:schemeClr val="tx1"/>
                </a:solidFill>
                <a:latin typeface="Roboto" charset="0"/>
                <a:ea typeface="Roboto" charset="0"/>
                <a:cs typeface="Roboto" charset="0"/>
              </a:defRPr>
            </a:lvl1pPr>
            <a:lvl2pPr marL="457108" indent="0">
              <a:buNone/>
              <a:defRPr/>
            </a:lvl2pPr>
            <a:lvl3pPr marL="914217" indent="0">
              <a:buNone/>
              <a:defRPr/>
            </a:lvl3pPr>
            <a:lvl4pPr marL="1371326" indent="0">
              <a:buNone/>
              <a:defRPr/>
            </a:lvl4pPr>
            <a:lvl5pPr marL="1828435" indent="0">
              <a:buNone/>
              <a:defRPr/>
            </a:lvl5pPr>
          </a:lstStyle>
          <a:p>
            <a:pPr lvl="0"/>
            <a:r>
              <a:rPr lang="en-US" dirty="0"/>
              <a:t>Speaker Name, Roboto Regular 20 Point</a:t>
            </a:r>
          </a:p>
        </p:txBody>
      </p:sp>
      <p:sp>
        <p:nvSpPr>
          <p:cNvPr id="9" name="Text Placeholder 27">
            <a:extLst>
              <a:ext uri="{FF2B5EF4-FFF2-40B4-BE49-F238E27FC236}">
                <a16:creationId xmlns:a16="http://schemas.microsoft.com/office/drawing/2014/main" id="{3B63A259-5A46-4D5E-8DD9-405690153FCB}"/>
              </a:ext>
            </a:extLst>
          </p:cNvPr>
          <p:cNvSpPr>
            <a:spLocks noGrp="1"/>
          </p:cNvSpPr>
          <p:nvPr>
            <p:ph type="body" sz="quarter" idx="13" hasCustomPrompt="1"/>
          </p:nvPr>
        </p:nvSpPr>
        <p:spPr bwMode="gray">
          <a:xfrm>
            <a:off x="1161225" y="5294969"/>
            <a:ext cx="5679524" cy="291041"/>
          </a:xfrm>
          <a:prstGeom prst="rect">
            <a:avLst/>
          </a:prstGeom>
        </p:spPr>
        <p:txBody>
          <a:bodyPr/>
          <a:lstStyle>
            <a:lvl1pPr marL="0" indent="0">
              <a:buNone/>
              <a:defRPr i="1" baseline="0">
                <a:solidFill>
                  <a:schemeClr val="tx1"/>
                </a:solidFill>
              </a:defRPr>
            </a:lvl1pPr>
            <a:lvl2pPr marL="457108" indent="0">
              <a:buNone/>
              <a:defRPr/>
            </a:lvl2pPr>
            <a:lvl3pPr marL="914217" indent="0">
              <a:buNone/>
              <a:defRPr/>
            </a:lvl3pPr>
            <a:lvl4pPr marL="1371326" indent="0">
              <a:buNone/>
              <a:defRPr/>
            </a:lvl4pPr>
            <a:lvl5pPr marL="1828435" indent="0">
              <a:buNone/>
              <a:defRPr/>
            </a:lvl5pPr>
          </a:lstStyle>
          <a:p>
            <a:pPr lvl="0"/>
            <a:r>
              <a:rPr lang="en-US" dirty="0"/>
              <a:t>Speaker Title or Email, Roboto Italic 20 Point</a:t>
            </a:r>
          </a:p>
        </p:txBody>
      </p:sp>
      <p:pic>
        <p:nvPicPr>
          <p:cNvPr id="10" name="Picture 9">
            <a:extLst>
              <a:ext uri="{FF2B5EF4-FFF2-40B4-BE49-F238E27FC236}">
                <a16:creationId xmlns:a16="http://schemas.microsoft.com/office/drawing/2014/main" id="{D4909AF7-D9AD-824D-9C4C-B8EE0A3E9459}"/>
              </a:ext>
            </a:extLst>
          </p:cNvPr>
          <p:cNvPicPr>
            <a:picLocks noChangeAspect="1"/>
          </p:cNvPicPr>
          <p:nvPr userDrawn="1"/>
        </p:nvPicPr>
        <p:blipFill>
          <a:blip r:embed="rId3"/>
          <a:stretch>
            <a:fillRect/>
          </a:stretch>
        </p:blipFill>
        <p:spPr>
          <a:xfrm>
            <a:off x="1015520" y="216483"/>
            <a:ext cx="2478024" cy="849901"/>
          </a:xfrm>
          <a:prstGeom prst="rect">
            <a:avLst/>
          </a:prstGeom>
        </p:spPr>
      </p:pic>
      <p:cxnSp>
        <p:nvCxnSpPr>
          <p:cNvPr id="12" name="Straight Connector 11">
            <a:extLst>
              <a:ext uri="{FF2B5EF4-FFF2-40B4-BE49-F238E27FC236}">
                <a16:creationId xmlns:a16="http://schemas.microsoft.com/office/drawing/2014/main" id="{7275E8EC-091A-494D-992E-229C3913829C}"/>
              </a:ext>
            </a:extLst>
          </p:cNvPr>
          <p:cNvCxnSpPr>
            <a:cxnSpLocks/>
          </p:cNvCxnSpPr>
          <p:nvPr userDrawn="1"/>
        </p:nvCxnSpPr>
        <p:spPr>
          <a:xfrm>
            <a:off x="1173323" y="1956269"/>
            <a:ext cx="422013"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669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Subtitle">
    <p:spTree>
      <p:nvGrpSpPr>
        <p:cNvPr id="1" name=""/>
        <p:cNvGrpSpPr/>
        <p:nvPr/>
      </p:nvGrpSpPr>
      <p:grpSpPr>
        <a:xfrm>
          <a:off x="0" y="0"/>
          <a:ext cx="0" cy="0"/>
          <a:chOff x="0" y="0"/>
          <a:chExt cx="0" cy="0"/>
        </a:xfrm>
      </p:grpSpPr>
      <p:sp>
        <p:nvSpPr>
          <p:cNvPr id="12" name="Right Triangle 11">
            <a:extLst>
              <a:ext uri="{FF2B5EF4-FFF2-40B4-BE49-F238E27FC236}">
                <a16:creationId xmlns:a16="http://schemas.microsoft.com/office/drawing/2014/main" id="{12049EA9-905E-A64E-B171-8585662FA12C}"/>
              </a:ext>
            </a:extLst>
          </p:cNvPr>
          <p:cNvSpPr/>
          <p:nvPr userDrawn="1"/>
        </p:nvSpPr>
        <p:spPr>
          <a:xfrm>
            <a:off x="0" y="2761950"/>
            <a:ext cx="702453" cy="4096050"/>
          </a:xfrm>
          <a:prstGeom prst="r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37124" tIns="91416" rIns="137124" bIns="91416" rtlCol="0" anchor="ct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95" name="Title 1">
            <a:extLst>
              <a:ext uri="{FF2B5EF4-FFF2-40B4-BE49-F238E27FC236}">
                <a16:creationId xmlns:a16="http://schemas.microsoft.com/office/drawing/2014/main" id="{48E5717B-9E58-49D2-9749-1479F91EEFDC}"/>
              </a:ext>
            </a:extLst>
          </p:cNvPr>
          <p:cNvSpPr>
            <a:spLocks noGrp="1"/>
          </p:cNvSpPr>
          <p:nvPr userDrawn="1">
            <p:ph type="title" hasCustomPrompt="1"/>
          </p:nvPr>
        </p:nvSpPr>
        <p:spPr>
          <a:xfrm>
            <a:off x="493714" y="482604"/>
            <a:ext cx="11188532" cy="562427"/>
          </a:xfrm>
          <a:prstGeom prst="rect">
            <a:avLst/>
          </a:prstGeom>
        </p:spPr>
        <p:txBody>
          <a:bodyPr lIns="0"/>
          <a:lstStyle>
            <a:lvl1pPr>
              <a:defRPr baseline="0">
                <a:solidFill>
                  <a:schemeClr val="bg1"/>
                </a:solidFill>
              </a:defRPr>
            </a:lvl1pPr>
          </a:lstStyle>
          <a:p>
            <a:r>
              <a:rPr lang="en-US"/>
              <a:t>Roboto Light, 36 Points, 1 Line</a:t>
            </a:r>
          </a:p>
        </p:txBody>
      </p:sp>
      <p:sp>
        <p:nvSpPr>
          <p:cNvPr id="2" name="TextBox 1">
            <a:extLst>
              <a:ext uri="{FF2B5EF4-FFF2-40B4-BE49-F238E27FC236}">
                <a16:creationId xmlns:a16="http://schemas.microsoft.com/office/drawing/2014/main" id="{23179817-899D-4A7E-B58B-236E81BA41DD}"/>
              </a:ext>
            </a:extLst>
          </p:cNvPr>
          <p:cNvSpPr txBox="1"/>
          <p:nvPr userDrawn="1"/>
        </p:nvSpPr>
        <p:spPr>
          <a:xfrm>
            <a:off x="1023709"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a:solidFill>
                  <a:schemeClr val="tx1">
                    <a:lumMod val="60000"/>
                    <a:lumOff val="40000"/>
                  </a:schemeClr>
                </a:solidFill>
                <a:latin typeface="Roboto" panose="02000000000000000000" pitchFamily="2" charset="0"/>
                <a:ea typeface="Roboto" panose="02000000000000000000" pitchFamily="2" charset="0"/>
                <a:cs typeface="Roboto" charset="0"/>
              </a:rPr>
              <a:t>© Informatica. Proprietary and Confidential.</a:t>
            </a:r>
          </a:p>
        </p:txBody>
      </p:sp>
      <p:pic>
        <p:nvPicPr>
          <p:cNvPr id="14" name="Picture 13">
            <a:extLst>
              <a:ext uri="{FF2B5EF4-FFF2-40B4-BE49-F238E27FC236}">
                <a16:creationId xmlns:a16="http://schemas.microsoft.com/office/drawing/2014/main" id="{E3830A18-1BA6-A441-91F2-379D124B21D2}"/>
              </a:ext>
            </a:extLst>
          </p:cNvPr>
          <p:cNvPicPr>
            <a:picLocks noChangeAspect="1"/>
          </p:cNvPicPr>
          <p:nvPr userDrawn="1"/>
        </p:nvPicPr>
        <p:blipFill>
          <a:blip r:embed="rId2"/>
          <a:srcRect/>
          <a:stretch/>
        </p:blipFill>
        <p:spPr>
          <a:xfrm>
            <a:off x="9744604" y="6098796"/>
            <a:ext cx="2039100" cy="699990"/>
          </a:xfrm>
          <a:prstGeom prst="rect">
            <a:avLst/>
          </a:prstGeom>
        </p:spPr>
      </p:pic>
      <p:sp>
        <p:nvSpPr>
          <p:cNvPr id="15" name="Right Triangle 14">
            <a:extLst>
              <a:ext uri="{FF2B5EF4-FFF2-40B4-BE49-F238E27FC236}">
                <a16:creationId xmlns:a16="http://schemas.microsoft.com/office/drawing/2014/main" id="{8B066616-86C1-FB43-B05B-46516410BE2C}"/>
              </a:ext>
            </a:extLst>
          </p:cNvPr>
          <p:cNvSpPr/>
          <p:nvPr userDrawn="1"/>
        </p:nvSpPr>
        <p:spPr>
          <a:xfrm>
            <a:off x="1" y="2761950"/>
            <a:ext cx="590764" cy="4096050"/>
          </a:xfrm>
          <a:prstGeom prst="rtTriangle">
            <a:avLst/>
          </a:prstGeom>
          <a:gradFill>
            <a:gsLst>
              <a:gs pos="0">
                <a:schemeClr val="accent2"/>
              </a:gs>
              <a:gs pos="76000">
                <a:srgbClr val="FF6500"/>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7124" tIns="91416" rIns="137124" bIns="91416" rtlCol="0" anchor="ctr">
            <a:noAutofit/>
          </a:bodyPr>
          <a:lstStyle/>
          <a:p>
            <a:pPr lvl="0"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5" name="TextBox 4">
            <a:extLst>
              <a:ext uri="{FF2B5EF4-FFF2-40B4-BE49-F238E27FC236}">
                <a16:creationId xmlns:a16="http://schemas.microsoft.com/office/drawing/2014/main" id="{8FA70B36-FD85-46EB-9073-620538C6248E}"/>
              </a:ext>
            </a:extLst>
          </p:cNvPr>
          <p:cNvSpPr txBox="1"/>
          <p:nvPr userDrawn="1"/>
        </p:nvSpPr>
        <p:spPr>
          <a:xfrm>
            <a:off x="176868" y="6365108"/>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063" rtl="0" eaLnBrk="1" latinLnBrk="0" hangingPunct="1"/>
            <a:fld id="{64202F7F-356F-46E2-8791-88745C87F5D9}" type="slidenum">
              <a:rPr lang="en-US" sz="900" b="0" i="0" kern="1200" smtClean="0">
                <a:solidFill>
                  <a:schemeClr val="bg1"/>
                </a:solidFill>
                <a:latin typeface="Roboto" panose="02000000000000000000" pitchFamily="2" charset="0"/>
                <a:ea typeface="Roboto" panose="02000000000000000000" pitchFamily="2" charset="0"/>
                <a:cs typeface="Roboto" charset="0"/>
              </a:rPr>
              <a:pPr marL="0" lvl="0" algn="ctr" defTabSz="457063" rtl="0" eaLnBrk="1" latinLnBrk="0" hangingPunct="1"/>
              <a:t>‹#›</a:t>
            </a:fld>
            <a:endParaRPr lang="en-US" sz="900" b="0" i="0" kern="1200">
              <a:solidFill>
                <a:schemeClr val="bg1"/>
              </a:solidFill>
              <a:latin typeface="Roboto" panose="02000000000000000000" pitchFamily="2" charset="0"/>
              <a:ea typeface="Roboto" panose="02000000000000000000" pitchFamily="2" charset="0"/>
              <a:cs typeface="Roboto" charset="0"/>
            </a:endParaRPr>
          </a:p>
        </p:txBody>
      </p:sp>
      <p:sp>
        <p:nvSpPr>
          <p:cNvPr id="13" name="Text Placeholder 4">
            <a:extLst>
              <a:ext uri="{FF2B5EF4-FFF2-40B4-BE49-F238E27FC236}">
                <a16:creationId xmlns:a16="http://schemas.microsoft.com/office/drawing/2014/main" id="{BA1994A4-FF51-E44C-81EF-6626F8AE75F5}"/>
              </a:ext>
            </a:extLst>
          </p:cNvPr>
          <p:cNvSpPr>
            <a:spLocks noGrp="1"/>
          </p:cNvSpPr>
          <p:nvPr>
            <p:ph type="body" sz="quarter" idx="13" hasCustomPrompt="1"/>
          </p:nvPr>
        </p:nvSpPr>
        <p:spPr>
          <a:xfrm>
            <a:off x="493714" y="1058901"/>
            <a:ext cx="11188532" cy="331601"/>
          </a:xfrm>
          <a:prstGeom prst="rect">
            <a:avLst/>
          </a:prstGeom>
        </p:spPr>
        <p:txBody>
          <a:bodyPr lIns="0" anchor="t"/>
          <a:lstStyle>
            <a:lvl1pPr marL="0" indent="0">
              <a:buNone/>
              <a:defRPr sz="2399" i="0">
                <a:solidFill>
                  <a:schemeClr val="bg1"/>
                </a:solidFill>
                <a:latin typeface="Roboto" panose="02000000000000000000" pitchFamily="2" charset="0"/>
                <a:ea typeface="Roboto" panose="02000000000000000000" pitchFamily="2" charset="0"/>
              </a:defRPr>
            </a:lvl1pPr>
            <a:lvl2pPr marL="169812" indent="0">
              <a:buNone/>
              <a:defRPr/>
            </a:lvl2pPr>
            <a:lvl3pPr marL="344384" indent="0">
              <a:buNone/>
              <a:defRPr/>
            </a:lvl3pPr>
            <a:lvl4pPr marL="458650" indent="0">
              <a:buNone/>
              <a:defRPr/>
            </a:lvl4pPr>
            <a:lvl5pPr marL="630048" indent="0">
              <a:buNone/>
              <a:defRPr/>
            </a:lvl5pPr>
          </a:lstStyle>
          <a:p>
            <a:pPr lvl="0"/>
            <a:r>
              <a:rPr lang="en-US"/>
              <a:t>Subtitle goes here, </a:t>
            </a:r>
            <a:r>
              <a:rPr lang="en-US" err="1"/>
              <a:t>Roboto</a:t>
            </a:r>
            <a:r>
              <a:rPr lang="en-US"/>
              <a:t> Regular 24 point, no longer than one line</a:t>
            </a:r>
          </a:p>
        </p:txBody>
      </p:sp>
    </p:spTree>
    <p:extLst>
      <p:ext uri="{BB962C8B-B14F-4D97-AF65-F5344CB8AC3E}">
        <p14:creationId xmlns:p14="http://schemas.microsoft.com/office/powerpoint/2010/main" val="829404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Subtitle_Blank">
    <p:spTree>
      <p:nvGrpSpPr>
        <p:cNvPr id="1" name=""/>
        <p:cNvGrpSpPr/>
        <p:nvPr/>
      </p:nvGrpSpPr>
      <p:grpSpPr>
        <a:xfrm>
          <a:off x="0" y="0"/>
          <a:ext cx="0" cy="0"/>
          <a:chOff x="0" y="0"/>
          <a:chExt cx="0" cy="0"/>
        </a:xfrm>
      </p:grpSpPr>
      <p:sp>
        <p:nvSpPr>
          <p:cNvPr id="95" name="Title 1">
            <a:extLst>
              <a:ext uri="{FF2B5EF4-FFF2-40B4-BE49-F238E27FC236}">
                <a16:creationId xmlns:a16="http://schemas.microsoft.com/office/drawing/2014/main" id="{48E5717B-9E58-49D2-9749-1479F91EEFDC}"/>
              </a:ext>
            </a:extLst>
          </p:cNvPr>
          <p:cNvSpPr>
            <a:spLocks noGrp="1"/>
          </p:cNvSpPr>
          <p:nvPr userDrawn="1">
            <p:ph type="title" hasCustomPrompt="1"/>
          </p:nvPr>
        </p:nvSpPr>
        <p:spPr>
          <a:xfrm>
            <a:off x="493714" y="482604"/>
            <a:ext cx="11188532" cy="562427"/>
          </a:xfrm>
          <a:prstGeom prst="rect">
            <a:avLst/>
          </a:prstGeom>
        </p:spPr>
        <p:txBody>
          <a:bodyPr lIns="0"/>
          <a:lstStyle>
            <a:lvl1pPr>
              <a:defRPr baseline="0">
                <a:solidFill>
                  <a:schemeClr val="bg1"/>
                </a:solidFill>
              </a:defRPr>
            </a:lvl1pPr>
          </a:lstStyle>
          <a:p>
            <a:r>
              <a:rPr lang="en-US"/>
              <a:t>Roboto Light, 36 Points, 1 Line</a:t>
            </a:r>
          </a:p>
        </p:txBody>
      </p:sp>
      <p:sp>
        <p:nvSpPr>
          <p:cNvPr id="4" name="TextBox 3">
            <a:extLst>
              <a:ext uri="{FF2B5EF4-FFF2-40B4-BE49-F238E27FC236}">
                <a16:creationId xmlns:a16="http://schemas.microsoft.com/office/drawing/2014/main" id="{47A81E79-1835-49D7-B14C-AAB7A90FD00F}"/>
              </a:ext>
            </a:extLst>
          </p:cNvPr>
          <p:cNvSpPr txBox="1"/>
          <p:nvPr userDrawn="1"/>
        </p:nvSpPr>
        <p:spPr>
          <a:xfrm>
            <a:off x="176868" y="6365108"/>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063" rtl="0" eaLnBrk="1" latinLnBrk="0" hangingPunct="1"/>
            <a:fld id="{64202F7F-356F-46E2-8791-88745C87F5D9}" type="slidenum">
              <a:rPr lang="en-US" sz="900" b="0" i="0" kern="1200" smtClean="0">
                <a:solidFill>
                  <a:schemeClr val="tx1">
                    <a:lumMod val="20000"/>
                    <a:lumOff val="80000"/>
                  </a:schemeClr>
                </a:solidFill>
                <a:latin typeface="Roboto" panose="02000000000000000000" pitchFamily="2" charset="0"/>
                <a:ea typeface="Roboto" panose="02000000000000000000" pitchFamily="2" charset="0"/>
                <a:cs typeface="Roboto" charset="0"/>
              </a:rPr>
              <a:pPr marL="0" lvl="0" algn="ctr" defTabSz="457063" rtl="0" eaLnBrk="1" latinLnBrk="0" hangingPunct="1"/>
              <a:t>‹#›</a:t>
            </a:fld>
            <a:endParaRPr lang="en-US" sz="900" b="0" i="0" kern="1200">
              <a:solidFill>
                <a:schemeClr val="tx1">
                  <a:lumMod val="20000"/>
                  <a:lumOff val="80000"/>
                </a:schemeClr>
              </a:solidFill>
              <a:latin typeface="Roboto" panose="02000000000000000000" pitchFamily="2" charset="0"/>
              <a:ea typeface="Roboto" panose="02000000000000000000" pitchFamily="2" charset="0"/>
              <a:cs typeface="Roboto" charset="0"/>
            </a:endParaRPr>
          </a:p>
        </p:txBody>
      </p:sp>
      <p:sp>
        <p:nvSpPr>
          <p:cNvPr id="5" name="TextBox 4">
            <a:extLst>
              <a:ext uri="{FF2B5EF4-FFF2-40B4-BE49-F238E27FC236}">
                <a16:creationId xmlns:a16="http://schemas.microsoft.com/office/drawing/2014/main" id="{7D5BD8C4-D207-44D5-AD0F-37CEB10A287C}"/>
              </a:ext>
            </a:extLst>
          </p:cNvPr>
          <p:cNvSpPr txBox="1"/>
          <p:nvPr userDrawn="1"/>
        </p:nvSpPr>
        <p:spPr>
          <a:xfrm>
            <a:off x="1023709"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a:solidFill>
                  <a:schemeClr val="tx1">
                    <a:lumMod val="60000"/>
                    <a:lumOff val="40000"/>
                  </a:schemeClr>
                </a:solidFill>
                <a:latin typeface="Roboto" panose="02000000000000000000" pitchFamily="2" charset="0"/>
                <a:ea typeface="Roboto" panose="02000000000000000000" pitchFamily="2" charset="0"/>
                <a:cs typeface="Roboto" charset="0"/>
              </a:rPr>
              <a:t>© Informatica. Proprietary and Confidential.</a:t>
            </a:r>
          </a:p>
        </p:txBody>
      </p:sp>
      <p:sp>
        <p:nvSpPr>
          <p:cNvPr id="8" name="Text Placeholder 4">
            <a:extLst>
              <a:ext uri="{FF2B5EF4-FFF2-40B4-BE49-F238E27FC236}">
                <a16:creationId xmlns:a16="http://schemas.microsoft.com/office/drawing/2014/main" id="{56B65957-0EEE-1643-8EDF-9C65E4BE4C26}"/>
              </a:ext>
            </a:extLst>
          </p:cNvPr>
          <p:cNvSpPr>
            <a:spLocks noGrp="1"/>
          </p:cNvSpPr>
          <p:nvPr>
            <p:ph type="body" sz="quarter" idx="13" hasCustomPrompt="1"/>
          </p:nvPr>
        </p:nvSpPr>
        <p:spPr>
          <a:xfrm>
            <a:off x="493714" y="1058901"/>
            <a:ext cx="11188532" cy="331601"/>
          </a:xfrm>
          <a:prstGeom prst="rect">
            <a:avLst/>
          </a:prstGeom>
        </p:spPr>
        <p:txBody>
          <a:bodyPr lIns="0" anchor="t"/>
          <a:lstStyle>
            <a:lvl1pPr marL="0" indent="0">
              <a:buNone/>
              <a:defRPr sz="2399" i="0">
                <a:solidFill>
                  <a:schemeClr val="bg1"/>
                </a:solidFill>
                <a:latin typeface="Roboto" panose="02000000000000000000" pitchFamily="2" charset="0"/>
                <a:ea typeface="Roboto" panose="02000000000000000000" pitchFamily="2" charset="0"/>
              </a:defRPr>
            </a:lvl1pPr>
            <a:lvl2pPr marL="169812" indent="0">
              <a:buNone/>
              <a:defRPr/>
            </a:lvl2pPr>
            <a:lvl3pPr marL="344384" indent="0">
              <a:buNone/>
              <a:defRPr/>
            </a:lvl3pPr>
            <a:lvl4pPr marL="458650" indent="0">
              <a:buNone/>
              <a:defRPr/>
            </a:lvl4pPr>
            <a:lvl5pPr marL="630048" indent="0">
              <a:buNone/>
              <a:defRPr/>
            </a:lvl5pPr>
          </a:lstStyle>
          <a:p>
            <a:pPr lvl="0"/>
            <a:r>
              <a:rPr lang="en-US"/>
              <a:t>Subtitle goes here, </a:t>
            </a:r>
            <a:r>
              <a:rPr lang="en-US" err="1"/>
              <a:t>Roboto</a:t>
            </a:r>
            <a:r>
              <a:rPr lang="en-US"/>
              <a:t> Regular 24 point, no longer than one line</a:t>
            </a:r>
          </a:p>
        </p:txBody>
      </p:sp>
    </p:spTree>
    <p:extLst>
      <p:ext uri="{BB962C8B-B14F-4D97-AF65-F5344CB8AC3E}">
        <p14:creationId xmlns:p14="http://schemas.microsoft.com/office/powerpoint/2010/main" val="2351383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Subtitle_Blank+Logo">
    <p:spTree>
      <p:nvGrpSpPr>
        <p:cNvPr id="1" name=""/>
        <p:cNvGrpSpPr/>
        <p:nvPr/>
      </p:nvGrpSpPr>
      <p:grpSpPr>
        <a:xfrm>
          <a:off x="0" y="0"/>
          <a:ext cx="0" cy="0"/>
          <a:chOff x="0" y="0"/>
          <a:chExt cx="0" cy="0"/>
        </a:xfrm>
      </p:grpSpPr>
      <p:sp>
        <p:nvSpPr>
          <p:cNvPr id="95" name="Title 1">
            <a:extLst>
              <a:ext uri="{FF2B5EF4-FFF2-40B4-BE49-F238E27FC236}">
                <a16:creationId xmlns:a16="http://schemas.microsoft.com/office/drawing/2014/main" id="{48E5717B-9E58-49D2-9749-1479F91EEFDC}"/>
              </a:ext>
            </a:extLst>
          </p:cNvPr>
          <p:cNvSpPr>
            <a:spLocks noGrp="1"/>
          </p:cNvSpPr>
          <p:nvPr userDrawn="1">
            <p:ph type="title" hasCustomPrompt="1"/>
          </p:nvPr>
        </p:nvSpPr>
        <p:spPr>
          <a:xfrm>
            <a:off x="493714" y="482604"/>
            <a:ext cx="11188532" cy="562427"/>
          </a:xfrm>
          <a:prstGeom prst="rect">
            <a:avLst/>
          </a:prstGeom>
        </p:spPr>
        <p:txBody>
          <a:bodyPr lIns="0"/>
          <a:lstStyle>
            <a:lvl1pPr>
              <a:defRPr baseline="0">
                <a:solidFill>
                  <a:schemeClr val="bg1"/>
                </a:solidFill>
              </a:defRPr>
            </a:lvl1pPr>
          </a:lstStyle>
          <a:p>
            <a:r>
              <a:rPr lang="en-US"/>
              <a:t>Roboto Light, 36 Points, 1 Line</a:t>
            </a:r>
          </a:p>
        </p:txBody>
      </p:sp>
      <p:sp>
        <p:nvSpPr>
          <p:cNvPr id="4" name="TextBox 3">
            <a:extLst>
              <a:ext uri="{FF2B5EF4-FFF2-40B4-BE49-F238E27FC236}">
                <a16:creationId xmlns:a16="http://schemas.microsoft.com/office/drawing/2014/main" id="{47A81E79-1835-49D7-B14C-AAB7A90FD00F}"/>
              </a:ext>
            </a:extLst>
          </p:cNvPr>
          <p:cNvSpPr txBox="1"/>
          <p:nvPr userDrawn="1"/>
        </p:nvSpPr>
        <p:spPr>
          <a:xfrm>
            <a:off x="176868" y="6365108"/>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063" rtl="0" eaLnBrk="1" latinLnBrk="0" hangingPunct="1"/>
            <a:fld id="{64202F7F-356F-46E2-8791-88745C87F5D9}" type="slidenum">
              <a:rPr lang="en-US" sz="900" b="0" i="0" kern="1200" smtClean="0">
                <a:solidFill>
                  <a:schemeClr val="tx1">
                    <a:lumMod val="20000"/>
                    <a:lumOff val="80000"/>
                  </a:schemeClr>
                </a:solidFill>
                <a:latin typeface="Roboto" panose="02000000000000000000" pitchFamily="2" charset="0"/>
                <a:ea typeface="Roboto" panose="02000000000000000000" pitchFamily="2" charset="0"/>
                <a:cs typeface="Roboto" charset="0"/>
              </a:rPr>
              <a:pPr marL="0" lvl="0" algn="ctr" defTabSz="457063" rtl="0" eaLnBrk="1" latinLnBrk="0" hangingPunct="1"/>
              <a:t>‹#›</a:t>
            </a:fld>
            <a:endParaRPr lang="en-US" sz="900" b="0" i="0" kern="1200">
              <a:solidFill>
                <a:schemeClr val="tx1">
                  <a:lumMod val="20000"/>
                  <a:lumOff val="80000"/>
                </a:schemeClr>
              </a:solidFill>
              <a:latin typeface="Roboto" panose="02000000000000000000" pitchFamily="2" charset="0"/>
              <a:ea typeface="Roboto" panose="02000000000000000000" pitchFamily="2" charset="0"/>
              <a:cs typeface="Roboto" charset="0"/>
            </a:endParaRPr>
          </a:p>
        </p:txBody>
      </p:sp>
      <p:sp>
        <p:nvSpPr>
          <p:cNvPr id="5" name="TextBox 4">
            <a:extLst>
              <a:ext uri="{FF2B5EF4-FFF2-40B4-BE49-F238E27FC236}">
                <a16:creationId xmlns:a16="http://schemas.microsoft.com/office/drawing/2014/main" id="{7D5BD8C4-D207-44D5-AD0F-37CEB10A287C}"/>
              </a:ext>
            </a:extLst>
          </p:cNvPr>
          <p:cNvSpPr txBox="1"/>
          <p:nvPr userDrawn="1"/>
        </p:nvSpPr>
        <p:spPr>
          <a:xfrm>
            <a:off x="1023709"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a:solidFill>
                  <a:schemeClr val="tx1">
                    <a:lumMod val="60000"/>
                    <a:lumOff val="40000"/>
                  </a:schemeClr>
                </a:solidFill>
                <a:latin typeface="Roboto" panose="02000000000000000000" pitchFamily="2" charset="0"/>
                <a:ea typeface="Roboto" panose="02000000000000000000" pitchFamily="2" charset="0"/>
                <a:cs typeface="Roboto" charset="0"/>
              </a:rPr>
              <a:t>© Informatica. Proprietary and Confidential.</a:t>
            </a:r>
          </a:p>
        </p:txBody>
      </p:sp>
      <p:pic>
        <p:nvPicPr>
          <p:cNvPr id="6" name="Picture 5">
            <a:extLst>
              <a:ext uri="{FF2B5EF4-FFF2-40B4-BE49-F238E27FC236}">
                <a16:creationId xmlns:a16="http://schemas.microsoft.com/office/drawing/2014/main" id="{F93BFED6-E2B1-46C4-8752-34CA7600C508}"/>
              </a:ext>
            </a:extLst>
          </p:cNvPr>
          <p:cNvPicPr>
            <a:picLocks noChangeAspect="1"/>
          </p:cNvPicPr>
          <p:nvPr userDrawn="1"/>
        </p:nvPicPr>
        <p:blipFill>
          <a:blip r:embed="rId2"/>
          <a:srcRect/>
          <a:stretch/>
        </p:blipFill>
        <p:spPr>
          <a:xfrm>
            <a:off x="9735978" y="6098796"/>
            <a:ext cx="2039100" cy="699990"/>
          </a:xfrm>
          <a:prstGeom prst="rect">
            <a:avLst/>
          </a:prstGeom>
        </p:spPr>
      </p:pic>
      <p:sp>
        <p:nvSpPr>
          <p:cNvPr id="7" name="Text Placeholder 4">
            <a:extLst>
              <a:ext uri="{FF2B5EF4-FFF2-40B4-BE49-F238E27FC236}">
                <a16:creationId xmlns:a16="http://schemas.microsoft.com/office/drawing/2014/main" id="{15F2AAB4-5BEE-514B-9210-28D158BFCCA0}"/>
              </a:ext>
            </a:extLst>
          </p:cNvPr>
          <p:cNvSpPr>
            <a:spLocks noGrp="1"/>
          </p:cNvSpPr>
          <p:nvPr>
            <p:ph type="body" sz="quarter" idx="13" hasCustomPrompt="1"/>
          </p:nvPr>
        </p:nvSpPr>
        <p:spPr>
          <a:xfrm>
            <a:off x="493714" y="1058901"/>
            <a:ext cx="11188532" cy="331601"/>
          </a:xfrm>
          <a:prstGeom prst="rect">
            <a:avLst/>
          </a:prstGeom>
        </p:spPr>
        <p:txBody>
          <a:bodyPr lIns="0" anchor="t"/>
          <a:lstStyle>
            <a:lvl1pPr marL="0" indent="0">
              <a:buNone/>
              <a:defRPr sz="2399" i="0">
                <a:solidFill>
                  <a:schemeClr val="bg1"/>
                </a:solidFill>
                <a:latin typeface="Roboto" panose="02000000000000000000" pitchFamily="2" charset="0"/>
                <a:ea typeface="Roboto" panose="02000000000000000000" pitchFamily="2" charset="0"/>
              </a:defRPr>
            </a:lvl1pPr>
            <a:lvl2pPr marL="169812" indent="0">
              <a:buNone/>
              <a:defRPr/>
            </a:lvl2pPr>
            <a:lvl3pPr marL="344384" indent="0">
              <a:buNone/>
              <a:defRPr/>
            </a:lvl3pPr>
            <a:lvl4pPr marL="458650" indent="0">
              <a:buNone/>
              <a:defRPr/>
            </a:lvl4pPr>
            <a:lvl5pPr marL="630048" indent="0">
              <a:buNone/>
              <a:defRPr/>
            </a:lvl5pPr>
          </a:lstStyle>
          <a:p>
            <a:pPr lvl="0"/>
            <a:r>
              <a:rPr lang="en-US"/>
              <a:t>Subtitle goes here, </a:t>
            </a:r>
            <a:r>
              <a:rPr lang="en-US" err="1"/>
              <a:t>Roboto</a:t>
            </a:r>
            <a:r>
              <a:rPr lang="en-US"/>
              <a:t> Regular 24 point, no longer than one line</a:t>
            </a:r>
          </a:p>
        </p:txBody>
      </p:sp>
    </p:spTree>
    <p:extLst>
      <p:ext uri="{BB962C8B-B14F-4D97-AF65-F5344CB8AC3E}">
        <p14:creationId xmlns:p14="http://schemas.microsoft.com/office/powerpoint/2010/main" val="1493709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Subtitle/Content">
    <p:spTree>
      <p:nvGrpSpPr>
        <p:cNvPr id="1" name=""/>
        <p:cNvGrpSpPr/>
        <p:nvPr/>
      </p:nvGrpSpPr>
      <p:grpSpPr>
        <a:xfrm>
          <a:off x="0" y="0"/>
          <a:ext cx="0" cy="0"/>
          <a:chOff x="0" y="0"/>
          <a:chExt cx="0" cy="0"/>
        </a:xfrm>
      </p:grpSpPr>
      <p:sp>
        <p:nvSpPr>
          <p:cNvPr id="10" name="Right Triangle 9">
            <a:extLst>
              <a:ext uri="{FF2B5EF4-FFF2-40B4-BE49-F238E27FC236}">
                <a16:creationId xmlns:a16="http://schemas.microsoft.com/office/drawing/2014/main" id="{E33FD542-C6FE-4ED5-960B-A6ACAD4EC3E0}"/>
              </a:ext>
            </a:extLst>
          </p:cNvPr>
          <p:cNvSpPr/>
          <p:nvPr userDrawn="1"/>
        </p:nvSpPr>
        <p:spPr>
          <a:xfrm>
            <a:off x="0" y="2761950"/>
            <a:ext cx="702453" cy="4096050"/>
          </a:xfrm>
          <a:prstGeom prst="r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37124" tIns="91416" rIns="137124" bIns="91416" rtlCol="0" anchor="ct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11" name="Content Placeholder 5">
            <a:extLst>
              <a:ext uri="{FF2B5EF4-FFF2-40B4-BE49-F238E27FC236}">
                <a16:creationId xmlns:a16="http://schemas.microsoft.com/office/drawing/2014/main" id="{956D1FDC-5FA5-4B2D-A5AA-86637FA3B976}"/>
              </a:ext>
            </a:extLst>
          </p:cNvPr>
          <p:cNvSpPr>
            <a:spLocks noGrp="1"/>
          </p:cNvSpPr>
          <p:nvPr userDrawn="1">
            <p:ph sz="quarter" idx="14" hasCustomPrompt="1"/>
          </p:nvPr>
        </p:nvSpPr>
        <p:spPr>
          <a:xfrm>
            <a:off x="934126" y="1854200"/>
            <a:ext cx="10650537" cy="4165600"/>
          </a:xfrm>
          <a:prstGeom prst="rect">
            <a:avLst/>
          </a:prstGeom>
        </p:spPr>
        <p:txBody>
          <a:bodyPr vert="horz" lIns="0" tIns="0" rIns="0" bIns="0" rtlCol="0">
            <a:noAutofit/>
          </a:bodyPr>
          <a:lstStyle>
            <a:lvl1pPr>
              <a:spcBef>
                <a:spcPts val="1200"/>
              </a:spcBef>
              <a:defRPr lang="en-US" dirty="0">
                <a:latin typeface="Roboto" panose="02000000000000000000" pitchFamily="2" charset="0"/>
                <a:ea typeface="Roboto" panose="02000000000000000000" pitchFamily="2" charset="0"/>
              </a:defRPr>
            </a:lvl1pPr>
            <a:lvl2pPr>
              <a:spcBef>
                <a:spcPts val="600"/>
              </a:spcBef>
              <a:defRPr lang="en-US" dirty="0">
                <a:latin typeface="Roboto" panose="02000000000000000000" pitchFamily="2" charset="0"/>
                <a:ea typeface="Roboto" panose="02000000000000000000" pitchFamily="2" charset="0"/>
              </a:defRPr>
            </a:lvl2pPr>
            <a:lvl3pPr>
              <a:spcBef>
                <a:spcPts val="600"/>
              </a:spcBef>
              <a:defRPr lang="en-US" dirty="0">
                <a:latin typeface="Roboto" panose="02000000000000000000" pitchFamily="2" charset="0"/>
                <a:ea typeface="Roboto" panose="02000000000000000000" pitchFamily="2" charset="0"/>
              </a:defRPr>
            </a:lvl3pPr>
          </a:lstStyle>
          <a:p>
            <a:pPr lvl="0"/>
            <a:r>
              <a:rPr lang="en-US"/>
              <a:t>First bullet, Roboto Regular 20 point</a:t>
            </a:r>
          </a:p>
          <a:p>
            <a:pPr lvl="1"/>
            <a:r>
              <a:rPr lang="en-US"/>
              <a:t>Second bullet, </a:t>
            </a:r>
            <a:r>
              <a:rPr lang="en-US" err="1"/>
              <a:t>Roboto</a:t>
            </a:r>
            <a:r>
              <a:rPr lang="en-US"/>
              <a:t> Regular 18 point</a:t>
            </a:r>
          </a:p>
          <a:p>
            <a:pPr lvl="2"/>
            <a:r>
              <a:rPr lang="en-US"/>
              <a:t>Third bullet, </a:t>
            </a:r>
            <a:r>
              <a:rPr lang="en-US" err="1"/>
              <a:t>Roboto</a:t>
            </a:r>
            <a:r>
              <a:rPr lang="en-US"/>
              <a:t> Regular 16 point</a:t>
            </a:r>
          </a:p>
        </p:txBody>
      </p:sp>
      <p:sp>
        <p:nvSpPr>
          <p:cNvPr id="3" name="TextBox 2">
            <a:extLst>
              <a:ext uri="{FF2B5EF4-FFF2-40B4-BE49-F238E27FC236}">
                <a16:creationId xmlns:a16="http://schemas.microsoft.com/office/drawing/2014/main" id="{8FE6C657-C7BA-4DE2-8E6E-209687CFF525}"/>
              </a:ext>
            </a:extLst>
          </p:cNvPr>
          <p:cNvSpPr txBox="1"/>
          <p:nvPr userDrawn="1"/>
        </p:nvSpPr>
        <p:spPr>
          <a:xfrm>
            <a:off x="1023709"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a:solidFill>
                  <a:schemeClr val="tx1">
                    <a:lumMod val="60000"/>
                    <a:lumOff val="40000"/>
                  </a:schemeClr>
                </a:solidFill>
                <a:latin typeface="Roboto" panose="02000000000000000000" pitchFamily="2" charset="0"/>
                <a:ea typeface="Roboto" panose="02000000000000000000" pitchFamily="2" charset="0"/>
                <a:cs typeface="Roboto" charset="0"/>
              </a:rPr>
              <a:t>© Informatica. Proprietary and Confidential.</a:t>
            </a:r>
          </a:p>
        </p:txBody>
      </p:sp>
      <p:sp>
        <p:nvSpPr>
          <p:cNvPr id="15" name="Title 1">
            <a:extLst>
              <a:ext uri="{FF2B5EF4-FFF2-40B4-BE49-F238E27FC236}">
                <a16:creationId xmlns:a16="http://schemas.microsoft.com/office/drawing/2014/main" id="{EA9FF02E-07BD-8C42-8DB3-7F3EBA36F422}"/>
              </a:ext>
            </a:extLst>
          </p:cNvPr>
          <p:cNvSpPr>
            <a:spLocks noGrp="1"/>
          </p:cNvSpPr>
          <p:nvPr>
            <p:ph type="title" hasCustomPrompt="1"/>
          </p:nvPr>
        </p:nvSpPr>
        <p:spPr>
          <a:xfrm>
            <a:off x="493714" y="482604"/>
            <a:ext cx="11188532" cy="562427"/>
          </a:xfrm>
          <a:prstGeom prst="rect">
            <a:avLst/>
          </a:prstGeom>
        </p:spPr>
        <p:txBody>
          <a:bodyPr lIns="0"/>
          <a:lstStyle>
            <a:lvl1pPr>
              <a:defRPr baseline="0">
                <a:solidFill>
                  <a:schemeClr val="bg1"/>
                </a:solidFill>
              </a:defRPr>
            </a:lvl1pPr>
          </a:lstStyle>
          <a:p>
            <a:r>
              <a:rPr lang="en-US"/>
              <a:t>Roboto Light, 36 Points, 1 Line</a:t>
            </a:r>
          </a:p>
        </p:txBody>
      </p:sp>
      <p:pic>
        <p:nvPicPr>
          <p:cNvPr id="9" name="Picture 8">
            <a:extLst>
              <a:ext uri="{FF2B5EF4-FFF2-40B4-BE49-F238E27FC236}">
                <a16:creationId xmlns:a16="http://schemas.microsoft.com/office/drawing/2014/main" id="{AD7BC26A-261D-884F-A9D2-61B266D20938}"/>
              </a:ext>
            </a:extLst>
          </p:cNvPr>
          <p:cNvPicPr>
            <a:picLocks noChangeAspect="1"/>
          </p:cNvPicPr>
          <p:nvPr userDrawn="1"/>
        </p:nvPicPr>
        <p:blipFill>
          <a:blip r:embed="rId2"/>
          <a:srcRect/>
          <a:stretch/>
        </p:blipFill>
        <p:spPr>
          <a:xfrm>
            <a:off x="9747648" y="6098796"/>
            <a:ext cx="2033013" cy="699990"/>
          </a:xfrm>
          <a:prstGeom prst="rect">
            <a:avLst/>
          </a:prstGeom>
        </p:spPr>
      </p:pic>
      <p:sp>
        <p:nvSpPr>
          <p:cNvPr id="16" name="Right Triangle 15">
            <a:extLst>
              <a:ext uri="{FF2B5EF4-FFF2-40B4-BE49-F238E27FC236}">
                <a16:creationId xmlns:a16="http://schemas.microsoft.com/office/drawing/2014/main" id="{ECD3402A-2EC0-9443-84EB-24606ECF6933}"/>
              </a:ext>
            </a:extLst>
          </p:cNvPr>
          <p:cNvSpPr/>
          <p:nvPr userDrawn="1"/>
        </p:nvSpPr>
        <p:spPr>
          <a:xfrm>
            <a:off x="1" y="2761950"/>
            <a:ext cx="590764" cy="4096050"/>
          </a:xfrm>
          <a:prstGeom prst="rtTriangle">
            <a:avLst/>
          </a:prstGeom>
          <a:gradFill>
            <a:gsLst>
              <a:gs pos="0">
                <a:schemeClr val="accent2"/>
              </a:gs>
              <a:gs pos="76000">
                <a:srgbClr val="FF6500"/>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7124" tIns="91416" rIns="137124" bIns="91416" rtlCol="0" anchor="ctr">
            <a:noAutofit/>
          </a:bodyPr>
          <a:lstStyle/>
          <a:p>
            <a:pPr lvl="0"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23" name="TextBox 22">
            <a:extLst>
              <a:ext uri="{FF2B5EF4-FFF2-40B4-BE49-F238E27FC236}">
                <a16:creationId xmlns:a16="http://schemas.microsoft.com/office/drawing/2014/main" id="{BCF260CE-EC9E-49A9-9345-D0C73BFC8564}"/>
              </a:ext>
            </a:extLst>
          </p:cNvPr>
          <p:cNvSpPr txBox="1"/>
          <p:nvPr userDrawn="1"/>
        </p:nvSpPr>
        <p:spPr>
          <a:xfrm>
            <a:off x="176868" y="6365108"/>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063" rtl="0" eaLnBrk="1" latinLnBrk="0" hangingPunct="1"/>
            <a:fld id="{64202F7F-356F-46E2-8791-88745C87F5D9}" type="slidenum">
              <a:rPr lang="en-US" sz="900" b="0" i="0" kern="1200" smtClean="0">
                <a:solidFill>
                  <a:schemeClr val="bg1"/>
                </a:solidFill>
                <a:latin typeface="Roboto" panose="02000000000000000000" pitchFamily="2" charset="0"/>
                <a:ea typeface="Roboto" panose="02000000000000000000" pitchFamily="2" charset="0"/>
                <a:cs typeface="Roboto" charset="0"/>
              </a:rPr>
              <a:pPr marL="0" lvl="0" algn="ctr" defTabSz="457063" rtl="0" eaLnBrk="1" latinLnBrk="0" hangingPunct="1"/>
              <a:t>‹#›</a:t>
            </a:fld>
            <a:endParaRPr lang="en-US" sz="900" b="0" i="0" kern="1200">
              <a:solidFill>
                <a:schemeClr val="bg1"/>
              </a:solidFill>
              <a:latin typeface="Roboto" panose="02000000000000000000" pitchFamily="2" charset="0"/>
              <a:ea typeface="Roboto" panose="02000000000000000000" pitchFamily="2" charset="0"/>
              <a:cs typeface="Roboto" charset="0"/>
            </a:endParaRPr>
          </a:p>
        </p:txBody>
      </p:sp>
      <p:sp>
        <p:nvSpPr>
          <p:cNvPr id="13" name="Text Placeholder 4">
            <a:extLst>
              <a:ext uri="{FF2B5EF4-FFF2-40B4-BE49-F238E27FC236}">
                <a16:creationId xmlns:a16="http://schemas.microsoft.com/office/drawing/2014/main" id="{5F7C70E8-7B10-CE4C-ACB1-35B84D6BEEB7}"/>
              </a:ext>
            </a:extLst>
          </p:cNvPr>
          <p:cNvSpPr>
            <a:spLocks noGrp="1"/>
          </p:cNvSpPr>
          <p:nvPr>
            <p:ph type="body" sz="quarter" idx="13" hasCustomPrompt="1"/>
          </p:nvPr>
        </p:nvSpPr>
        <p:spPr>
          <a:xfrm>
            <a:off x="493714" y="1058901"/>
            <a:ext cx="11188532" cy="331601"/>
          </a:xfrm>
          <a:prstGeom prst="rect">
            <a:avLst/>
          </a:prstGeom>
        </p:spPr>
        <p:txBody>
          <a:bodyPr lIns="0" anchor="t"/>
          <a:lstStyle>
            <a:lvl1pPr marL="0" indent="0">
              <a:buNone/>
              <a:defRPr sz="2399" i="0">
                <a:solidFill>
                  <a:schemeClr val="bg1"/>
                </a:solidFill>
                <a:latin typeface="Roboto" panose="02000000000000000000" pitchFamily="2" charset="0"/>
                <a:ea typeface="Roboto" panose="02000000000000000000" pitchFamily="2" charset="0"/>
              </a:defRPr>
            </a:lvl1pPr>
            <a:lvl2pPr marL="169812" indent="0">
              <a:buNone/>
              <a:defRPr/>
            </a:lvl2pPr>
            <a:lvl3pPr marL="344384" indent="0">
              <a:buNone/>
              <a:defRPr/>
            </a:lvl3pPr>
            <a:lvl4pPr marL="458650" indent="0">
              <a:buNone/>
              <a:defRPr/>
            </a:lvl4pPr>
            <a:lvl5pPr marL="630048" indent="0">
              <a:buNone/>
              <a:defRPr/>
            </a:lvl5pPr>
          </a:lstStyle>
          <a:p>
            <a:pPr lvl="0"/>
            <a:r>
              <a:rPr lang="en-US"/>
              <a:t>Subtitle goes here, </a:t>
            </a:r>
            <a:r>
              <a:rPr lang="en-US" err="1"/>
              <a:t>Roboto</a:t>
            </a:r>
            <a:r>
              <a:rPr lang="en-US"/>
              <a:t> Regular 24 point, no longer than one line</a:t>
            </a:r>
          </a:p>
        </p:txBody>
      </p:sp>
    </p:spTree>
    <p:extLst>
      <p:ext uri="{BB962C8B-B14F-4D97-AF65-F5344CB8AC3E}">
        <p14:creationId xmlns:p14="http://schemas.microsoft.com/office/powerpoint/2010/main" val="1954093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Subtitle/Content_Blank">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494340A0-560A-4547-9570-D5F0A59ED648}"/>
              </a:ext>
            </a:extLst>
          </p:cNvPr>
          <p:cNvSpPr>
            <a:spLocks noGrp="1"/>
          </p:cNvSpPr>
          <p:nvPr>
            <p:ph type="title" hasCustomPrompt="1"/>
          </p:nvPr>
        </p:nvSpPr>
        <p:spPr>
          <a:xfrm>
            <a:off x="493714" y="482604"/>
            <a:ext cx="11188532" cy="562427"/>
          </a:xfrm>
          <a:prstGeom prst="rect">
            <a:avLst/>
          </a:prstGeom>
        </p:spPr>
        <p:txBody>
          <a:bodyPr lIns="0"/>
          <a:lstStyle>
            <a:lvl1pPr>
              <a:defRPr baseline="0">
                <a:solidFill>
                  <a:schemeClr val="bg1"/>
                </a:solidFill>
              </a:defRPr>
            </a:lvl1pPr>
          </a:lstStyle>
          <a:p>
            <a:r>
              <a:rPr lang="en-US"/>
              <a:t>Roboto Light, 36 Points, 1 Line</a:t>
            </a:r>
          </a:p>
        </p:txBody>
      </p:sp>
      <p:sp>
        <p:nvSpPr>
          <p:cNvPr id="7" name="TextBox 6">
            <a:extLst>
              <a:ext uri="{FF2B5EF4-FFF2-40B4-BE49-F238E27FC236}">
                <a16:creationId xmlns:a16="http://schemas.microsoft.com/office/drawing/2014/main" id="{4B452AA4-2EC9-471F-842D-61D8D88E109D}"/>
              </a:ext>
            </a:extLst>
          </p:cNvPr>
          <p:cNvSpPr txBox="1"/>
          <p:nvPr userDrawn="1"/>
        </p:nvSpPr>
        <p:spPr>
          <a:xfrm>
            <a:off x="176868" y="6365108"/>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063" rtl="0" eaLnBrk="1" latinLnBrk="0" hangingPunct="1"/>
            <a:fld id="{64202F7F-356F-46E2-8791-88745C87F5D9}" type="slidenum">
              <a:rPr lang="en-US" sz="900" b="0" i="0" kern="1200" smtClean="0">
                <a:solidFill>
                  <a:schemeClr val="tx1">
                    <a:lumMod val="20000"/>
                    <a:lumOff val="80000"/>
                  </a:schemeClr>
                </a:solidFill>
                <a:latin typeface="Roboto" panose="02000000000000000000" pitchFamily="2" charset="0"/>
                <a:ea typeface="Roboto" panose="02000000000000000000" pitchFamily="2" charset="0"/>
                <a:cs typeface="Roboto" charset="0"/>
              </a:rPr>
              <a:pPr marL="0" lvl="0" algn="ctr" defTabSz="457063" rtl="0" eaLnBrk="1" latinLnBrk="0" hangingPunct="1"/>
              <a:t>‹#›</a:t>
            </a:fld>
            <a:endParaRPr lang="en-US" sz="900" b="0" i="0" kern="1200">
              <a:solidFill>
                <a:schemeClr val="tx1">
                  <a:lumMod val="20000"/>
                  <a:lumOff val="80000"/>
                </a:schemeClr>
              </a:solidFill>
              <a:latin typeface="Roboto" panose="02000000000000000000" pitchFamily="2" charset="0"/>
              <a:ea typeface="Roboto" panose="02000000000000000000" pitchFamily="2" charset="0"/>
              <a:cs typeface="Roboto" charset="0"/>
            </a:endParaRPr>
          </a:p>
        </p:txBody>
      </p:sp>
      <p:sp>
        <p:nvSpPr>
          <p:cNvPr id="8" name="TextBox 7">
            <a:extLst>
              <a:ext uri="{FF2B5EF4-FFF2-40B4-BE49-F238E27FC236}">
                <a16:creationId xmlns:a16="http://schemas.microsoft.com/office/drawing/2014/main" id="{C164EDE0-FF2B-4169-AB9F-791F1F7F6EEC}"/>
              </a:ext>
            </a:extLst>
          </p:cNvPr>
          <p:cNvSpPr txBox="1"/>
          <p:nvPr userDrawn="1"/>
        </p:nvSpPr>
        <p:spPr>
          <a:xfrm>
            <a:off x="1023709"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a:solidFill>
                  <a:schemeClr val="tx1">
                    <a:lumMod val="60000"/>
                    <a:lumOff val="40000"/>
                  </a:schemeClr>
                </a:solidFill>
                <a:latin typeface="Roboto" panose="02000000000000000000" pitchFamily="2" charset="0"/>
                <a:ea typeface="Roboto" panose="02000000000000000000" pitchFamily="2" charset="0"/>
                <a:cs typeface="Roboto" charset="0"/>
              </a:rPr>
              <a:t>© Informatica. Proprietary and Confidential.</a:t>
            </a:r>
          </a:p>
        </p:txBody>
      </p:sp>
      <p:sp>
        <p:nvSpPr>
          <p:cNvPr id="10" name="Content Placeholder 5">
            <a:extLst>
              <a:ext uri="{FF2B5EF4-FFF2-40B4-BE49-F238E27FC236}">
                <a16:creationId xmlns:a16="http://schemas.microsoft.com/office/drawing/2014/main" id="{2435A5BA-D5E8-EB43-8833-96FECF09870B}"/>
              </a:ext>
            </a:extLst>
          </p:cNvPr>
          <p:cNvSpPr>
            <a:spLocks noGrp="1"/>
          </p:cNvSpPr>
          <p:nvPr>
            <p:ph sz="quarter" idx="14" hasCustomPrompt="1"/>
          </p:nvPr>
        </p:nvSpPr>
        <p:spPr>
          <a:xfrm>
            <a:off x="934126" y="1854200"/>
            <a:ext cx="10650537" cy="4165600"/>
          </a:xfrm>
          <a:prstGeom prst="rect">
            <a:avLst/>
          </a:prstGeom>
        </p:spPr>
        <p:txBody>
          <a:bodyPr vert="horz" lIns="0" tIns="0" rIns="0" bIns="0" rtlCol="0">
            <a:noAutofit/>
          </a:bodyPr>
          <a:lstStyle>
            <a:lvl1pPr>
              <a:spcBef>
                <a:spcPts val="1200"/>
              </a:spcBef>
              <a:defRPr lang="en-US" dirty="0">
                <a:latin typeface="Roboto" panose="02000000000000000000" pitchFamily="2" charset="0"/>
                <a:ea typeface="Roboto" panose="02000000000000000000" pitchFamily="2" charset="0"/>
              </a:defRPr>
            </a:lvl1pPr>
            <a:lvl2pPr>
              <a:spcBef>
                <a:spcPts val="600"/>
              </a:spcBef>
              <a:defRPr lang="en-US" dirty="0">
                <a:latin typeface="Roboto" panose="02000000000000000000" pitchFamily="2" charset="0"/>
                <a:ea typeface="Roboto" panose="02000000000000000000" pitchFamily="2" charset="0"/>
              </a:defRPr>
            </a:lvl2pPr>
            <a:lvl3pPr>
              <a:spcBef>
                <a:spcPts val="600"/>
              </a:spcBef>
              <a:defRPr lang="en-US" dirty="0">
                <a:latin typeface="Roboto" panose="02000000000000000000" pitchFamily="2" charset="0"/>
                <a:ea typeface="Roboto" panose="02000000000000000000" pitchFamily="2" charset="0"/>
              </a:defRPr>
            </a:lvl3pPr>
          </a:lstStyle>
          <a:p>
            <a:pPr lvl="0"/>
            <a:r>
              <a:rPr lang="en-US"/>
              <a:t>First bullet, Roboto Regular 20 point</a:t>
            </a:r>
          </a:p>
          <a:p>
            <a:pPr lvl="1"/>
            <a:r>
              <a:rPr lang="en-US"/>
              <a:t>Second bullet, </a:t>
            </a:r>
            <a:r>
              <a:rPr lang="en-US" err="1"/>
              <a:t>Roboto</a:t>
            </a:r>
            <a:r>
              <a:rPr lang="en-US"/>
              <a:t> Regular 18 point</a:t>
            </a:r>
          </a:p>
          <a:p>
            <a:pPr lvl="2"/>
            <a:r>
              <a:rPr lang="en-US"/>
              <a:t>Third bullet, </a:t>
            </a:r>
            <a:r>
              <a:rPr lang="en-US" err="1"/>
              <a:t>Roboto</a:t>
            </a:r>
            <a:r>
              <a:rPr lang="en-US"/>
              <a:t> Regular 16 point</a:t>
            </a:r>
          </a:p>
        </p:txBody>
      </p:sp>
      <p:sp>
        <p:nvSpPr>
          <p:cNvPr id="12" name="Text Placeholder 4">
            <a:extLst>
              <a:ext uri="{FF2B5EF4-FFF2-40B4-BE49-F238E27FC236}">
                <a16:creationId xmlns:a16="http://schemas.microsoft.com/office/drawing/2014/main" id="{9D9AFE3C-363B-0549-ACC4-E8704C8BBECE}"/>
              </a:ext>
            </a:extLst>
          </p:cNvPr>
          <p:cNvSpPr>
            <a:spLocks noGrp="1"/>
          </p:cNvSpPr>
          <p:nvPr>
            <p:ph type="body" sz="quarter" idx="13" hasCustomPrompt="1"/>
          </p:nvPr>
        </p:nvSpPr>
        <p:spPr>
          <a:xfrm>
            <a:off x="493714" y="1058901"/>
            <a:ext cx="11188532" cy="331601"/>
          </a:xfrm>
          <a:prstGeom prst="rect">
            <a:avLst/>
          </a:prstGeom>
        </p:spPr>
        <p:txBody>
          <a:bodyPr lIns="0" anchor="t"/>
          <a:lstStyle>
            <a:lvl1pPr marL="0" indent="0">
              <a:buNone/>
              <a:defRPr sz="2399" i="0">
                <a:solidFill>
                  <a:schemeClr val="bg1"/>
                </a:solidFill>
                <a:latin typeface="Roboto" panose="02000000000000000000" pitchFamily="2" charset="0"/>
                <a:ea typeface="Roboto" panose="02000000000000000000" pitchFamily="2" charset="0"/>
              </a:defRPr>
            </a:lvl1pPr>
            <a:lvl2pPr marL="169812" indent="0">
              <a:buNone/>
              <a:defRPr/>
            </a:lvl2pPr>
            <a:lvl3pPr marL="344384" indent="0">
              <a:buNone/>
              <a:defRPr/>
            </a:lvl3pPr>
            <a:lvl4pPr marL="458650" indent="0">
              <a:buNone/>
              <a:defRPr/>
            </a:lvl4pPr>
            <a:lvl5pPr marL="630048" indent="0">
              <a:buNone/>
              <a:defRPr/>
            </a:lvl5pPr>
          </a:lstStyle>
          <a:p>
            <a:pPr lvl="0"/>
            <a:r>
              <a:rPr lang="en-US"/>
              <a:t>Subtitle goes here, </a:t>
            </a:r>
            <a:r>
              <a:rPr lang="en-US" err="1"/>
              <a:t>Roboto</a:t>
            </a:r>
            <a:r>
              <a:rPr lang="en-US"/>
              <a:t> Regular 24 point, no longer than one line</a:t>
            </a:r>
          </a:p>
        </p:txBody>
      </p:sp>
    </p:spTree>
    <p:extLst>
      <p:ext uri="{BB962C8B-B14F-4D97-AF65-F5344CB8AC3E}">
        <p14:creationId xmlns:p14="http://schemas.microsoft.com/office/powerpoint/2010/main" val="2730851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Subtitle/Content_Blank+Logo">
    <p:spTree>
      <p:nvGrpSpPr>
        <p:cNvPr id="1" name=""/>
        <p:cNvGrpSpPr/>
        <p:nvPr/>
      </p:nvGrpSpPr>
      <p:grpSpPr>
        <a:xfrm>
          <a:off x="0" y="0"/>
          <a:ext cx="0" cy="0"/>
          <a:chOff x="0" y="0"/>
          <a:chExt cx="0" cy="0"/>
        </a:xfrm>
      </p:grpSpPr>
      <p:sp>
        <p:nvSpPr>
          <p:cNvPr id="23" name="TextBox 22">
            <a:extLst>
              <a:ext uri="{FF2B5EF4-FFF2-40B4-BE49-F238E27FC236}">
                <a16:creationId xmlns:a16="http://schemas.microsoft.com/office/drawing/2014/main" id="{BCF260CE-EC9E-49A9-9345-D0C73BFC8564}"/>
              </a:ext>
            </a:extLst>
          </p:cNvPr>
          <p:cNvSpPr txBox="1"/>
          <p:nvPr userDrawn="1"/>
        </p:nvSpPr>
        <p:spPr>
          <a:xfrm>
            <a:off x="176868" y="6365108"/>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063" rtl="0" eaLnBrk="1" latinLnBrk="0" hangingPunct="1"/>
            <a:fld id="{64202F7F-356F-46E2-8791-88745C87F5D9}" type="slidenum">
              <a:rPr lang="en-US" sz="900" b="0" i="0" kern="1200" smtClean="0">
                <a:solidFill>
                  <a:schemeClr val="tx1">
                    <a:lumMod val="20000"/>
                    <a:lumOff val="80000"/>
                  </a:schemeClr>
                </a:solidFill>
                <a:latin typeface="Roboto" panose="02000000000000000000" pitchFamily="2" charset="0"/>
                <a:ea typeface="Roboto" panose="02000000000000000000" pitchFamily="2" charset="0"/>
                <a:cs typeface="Roboto" charset="0"/>
              </a:rPr>
              <a:pPr marL="0" lvl="0" algn="ctr" defTabSz="457063" rtl="0" eaLnBrk="1" latinLnBrk="0" hangingPunct="1"/>
              <a:t>‹#›</a:t>
            </a:fld>
            <a:endParaRPr lang="en-US" sz="900" b="0" i="0" kern="1200">
              <a:solidFill>
                <a:schemeClr val="tx1">
                  <a:lumMod val="20000"/>
                  <a:lumOff val="80000"/>
                </a:schemeClr>
              </a:solidFill>
              <a:latin typeface="Roboto" panose="02000000000000000000" pitchFamily="2" charset="0"/>
              <a:ea typeface="Roboto" panose="02000000000000000000" pitchFamily="2" charset="0"/>
              <a:cs typeface="Roboto" charset="0"/>
            </a:endParaRPr>
          </a:p>
        </p:txBody>
      </p:sp>
      <p:sp>
        <p:nvSpPr>
          <p:cNvPr id="3" name="TextBox 2">
            <a:extLst>
              <a:ext uri="{FF2B5EF4-FFF2-40B4-BE49-F238E27FC236}">
                <a16:creationId xmlns:a16="http://schemas.microsoft.com/office/drawing/2014/main" id="{8FE6C657-C7BA-4DE2-8E6E-209687CFF525}"/>
              </a:ext>
            </a:extLst>
          </p:cNvPr>
          <p:cNvSpPr txBox="1"/>
          <p:nvPr userDrawn="1"/>
        </p:nvSpPr>
        <p:spPr>
          <a:xfrm>
            <a:off x="1023709"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a:solidFill>
                  <a:schemeClr val="tx1">
                    <a:lumMod val="60000"/>
                    <a:lumOff val="40000"/>
                  </a:schemeClr>
                </a:solidFill>
                <a:latin typeface="Roboto" panose="02000000000000000000" pitchFamily="2" charset="0"/>
                <a:ea typeface="Roboto" panose="02000000000000000000" pitchFamily="2" charset="0"/>
                <a:cs typeface="Roboto" charset="0"/>
              </a:rPr>
              <a:t>© Informatica. Proprietary and Confidential.</a:t>
            </a:r>
          </a:p>
        </p:txBody>
      </p:sp>
      <p:sp>
        <p:nvSpPr>
          <p:cNvPr id="15" name="Title 1">
            <a:extLst>
              <a:ext uri="{FF2B5EF4-FFF2-40B4-BE49-F238E27FC236}">
                <a16:creationId xmlns:a16="http://schemas.microsoft.com/office/drawing/2014/main" id="{EA9FF02E-07BD-8C42-8DB3-7F3EBA36F422}"/>
              </a:ext>
            </a:extLst>
          </p:cNvPr>
          <p:cNvSpPr>
            <a:spLocks noGrp="1"/>
          </p:cNvSpPr>
          <p:nvPr>
            <p:ph type="title" hasCustomPrompt="1"/>
          </p:nvPr>
        </p:nvSpPr>
        <p:spPr>
          <a:xfrm>
            <a:off x="493714" y="482604"/>
            <a:ext cx="11188532" cy="562427"/>
          </a:xfrm>
          <a:prstGeom prst="rect">
            <a:avLst/>
          </a:prstGeom>
        </p:spPr>
        <p:txBody>
          <a:bodyPr lIns="0"/>
          <a:lstStyle>
            <a:lvl1pPr>
              <a:defRPr baseline="0">
                <a:solidFill>
                  <a:schemeClr val="bg1"/>
                </a:solidFill>
              </a:defRPr>
            </a:lvl1pPr>
          </a:lstStyle>
          <a:p>
            <a:r>
              <a:rPr lang="en-US"/>
              <a:t>Roboto Light, 36 Points, 1 Line</a:t>
            </a:r>
          </a:p>
        </p:txBody>
      </p:sp>
      <p:pic>
        <p:nvPicPr>
          <p:cNvPr id="9" name="Picture 8">
            <a:extLst>
              <a:ext uri="{FF2B5EF4-FFF2-40B4-BE49-F238E27FC236}">
                <a16:creationId xmlns:a16="http://schemas.microsoft.com/office/drawing/2014/main" id="{AD7BC26A-261D-884F-A9D2-61B266D20938}"/>
              </a:ext>
            </a:extLst>
          </p:cNvPr>
          <p:cNvPicPr>
            <a:picLocks noChangeAspect="1"/>
          </p:cNvPicPr>
          <p:nvPr userDrawn="1"/>
        </p:nvPicPr>
        <p:blipFill>
          <a:blip r:embed="rId2"/>
          <a:srcRect/>
          <a:stretch/>
        </p:blipFill>
        <p:spPr>
          <a:xfrm>
            <a:off x="9747648" y="6098796"/>
            <a:ext cx="2033013" cy="699990"/>
          </a:xfrm>
          <a:prstGeom prst="rect">
            <a:avLst/>
          </a:prstGeom>
        </p:spPr>
      </p:pic>
      <p:sp>
        <p:nvSpPr>
          <p:cNvPr id="10" name="Content Placeholder 5">
            <a:extLst>
              <a:ext uri="{FF2B5EF4-FFF2-40B4-BE49-F238E27FC236}">
                <a16:creationId xmlns:a16="http://schemas.microsoft.com/office/drawing/2014/main" id="{13FABC45-78FC-FA43-8503-54D8CBC1B775}"/>
              </a:ext>
            </a:extLst>
          </p:cNvPr>
          <p:cNvSpPr>
            <a:spLocks noGrp="1"/>
          </p:cNvSpPr>
          <p:nvPr>
            <p:ph sz="quarter" idx="14" hasCustomPrompt="1"/>
          </p:nvPr>
        </p:nvSpPr>
        <p:spPr>
          <a:xfrm>
            <a:off x="934126" y="1854200"/>
            <a:ext cx="10650537" cy="4165600"/>
          </a:xfrm>
          <a:prstGeom prst="rect">
            <a:avLst/>
          </a:prstGeom>
        </p:spPr>
        <p:txBody>
          <a:bodyPr vert="horz" lIns="0" tIns="0" rIns="0" bIns="0" rtlCol="0">
            <a:noAutofit/>
          </a:bodyPr>
          <a:lstStyle>
            <a:lvl1pPr>
              <a:spcBef>
                <a:spcPts val="1200"/>
              </a:spcBef>
              <a:defRPr lang="en-US" dirty="0">
                <a:latin typeface="Roboto" panose="02000000000000000000" pitchFamily="2" charset="0"/>
                <a:ea typeface="Roboto" panose="02000000000000000000" pitchFamily="2" charset="0"/>
              </a:defRPr>
            </a:lvl1pPr>
            <a:lvl2pPr>
              <a:spcBef>
                <a:spcPts val="600"/>
              </a:spcBef>
              <a:defRPr lang="en-US" dirty="0">
                <a:latin typeface="Roboto" panose="02000000000000000000" pitchFamily="2" charset="0"/>
                <a:ea typeface="Roboto" panose="02000000000000000000" pitchFamily="2" charset="0"/>
              </a:defRPr>
            </a:lvl2pPr>
            <a:lvl3pPr>
              <a:spcBef>
                <a:spcPts val="600"/>
              </a:spcBef>
              <a:defRPr lang="en-US" dirty="0">
                <a:latin typeface="Roboto" panose="02000000000000000000" pitchFamily="2" charset="0"/>
                <a:ea typeface="Roboto" panose="02000000000000000000" pitchFamily="2" charset="0"/>
              </a:defRPr>
            </a:lvl3pPr>
          </a:lstStyle>
          <a:p>
            <a:pPr lvl="0"/>
            <a:r>
              <a:rPr lang="en-US"/>
              <a:t>First bullet, Roboto Regular 20 point</a:t>
            </a:r>
          </a:p>
          <a:p>
            <a:pPr lvl="1"/>
            <a:r>
              <a:rPr lang="en-US"/>
              <a:t>Second bullet, </a:t>
            </a:r>
            <a:r>
              <a:rPr lang="en-US" err="1"/>
              <a:t>Roboto</a:t>
            </a:r>
            <a:r>
              <a:rPr lang="en-US"/>
              <a:t> Regular 18 point</a:t>
            </a:r>
          </a:p>
          <a:p>
            <a:pPr lvl="2"/>
            <a:r>
              <a:rPr lang="en-US"/>
              <a:t>Third bullet, </a:t>
            </a:r>
            <a:r>
              <a:rPr lang="en-US" err="1"/>
              <a:t>Roboto</a:t>
            </a:r>
            <a:r>
              <a:rPr lang="en-US"/>
              <a:t> Regular 16 point</a:t>
            </a:r>
          </a:p>
        </p:txBody>
      </p:sp>
      <p:sp>
        <p:nvSpPr>
          <p:cNvPr id="12" name="Text Placeholder 4">
            <a:extLst>
              <a:ext uri="{FF2B5EF4-FFF2-40B4-BE49-F238E27FC236}">
                <a16:creationId xmlns:a16="http://schemas.microsoft.com/office/drawing/2014/main" id="{95A060C1-5A0D-B045-BA4B-9DA505A73EC3}"/>
              </a:ext>
            </a:extLst>
          </p:cNvPr>
          <p:cNvSpPr>
            <a:spLocks noGrp="1"/>
          </p:cNvSpPr>
          <p:nvPr>
            <p:ph type="body" sz="quarter" idx="13" hasCustomPrompt="1"/>
          </p:nvPr>
        </p:nvSpPr>
        <p:spPr>
          <a:xfrm>
            <a:off x="493714" y="1058901"/>
            <a:ext cx="11188532" cy="331601"/>
          </a:xfrm>
          <a:prstGeom prst="rect">
            <a:avLst/>
          </a:prstGeom>
        </p:spPr>
        <p:txBody>
          <a:bodyPr lIns="0" anchor="t"/>
          <a:lstStyle>
            <a:lvl1pPr marL="0" indent="0">
              <a:buNone/>
              <a:defRPr sz="2399" i="0">
                <a:solidFill>
                  <a:schemeClr val="bg1"/>
                </a:solidFill>
                <a:latin typeface="Roboto" panose="02000000000000000000" pitchFamily="2" charset="0"/>
                <a:ea typeface="Roboto" panose="02000000000000000000" pitchFamily="2" charset="0"/>
              </a:defRPr>
            </a:lvl1pPr>
            <a:lvl2pPr marL="169812" indent="0">
              <a:buNone/>
              <a:defRPr/>
            </a:lvl2pPr>
            <a:lvl3pPr marL="344384" indent="0">
              <a:buNone/>
              <a:defRPr/>
            </a:lvl3pPr>
            <a:lvl4pPr marL="458650" indent="0">
              <a:buNone/>
              <a:defRPr/>
            </a:lvl4pPr>
            <a:lvl5pPr marL="630048" indent="0">
              <a:buNone/>
              <a:defRPr/>
            </a:lvl5pPr>
          </a:lstStyle>
          <a:p>
            <a:pPr lvl="0"/>
            <a:r>
              <a:rPr lang="en-US"/>
              <a:t>Subtitle goes here, </a:t>
            </a:r>
            <a:r>
              <a:rPr lang="en-US" err="1"/>
              <a:t>Roboto</a:t>
            </a:r>
            <a:r>
              <a:rPr lang="en-US"/>
              <a:t> Regular 24 point, no longer than one line</a:t>
            </a:r>
          </a:p>
        </p:txBody>
      </p:sp>
    </p:spTree>
    <p:extLst>
      <p:ext uri="{BB962C8B-B14F-4D97-AF65-F5344CB8AC3E}">
        <p14:creationId xmlns:p14="http://schemas.microsoft.com/office/powerpoint/2010/main" val="3031506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Maximum Content 2">
    <p:spTree>
      <p:nvGrpSpPr>
        <p:cNvPr id="1" name=""/>
        <p:cNvGrpSpPr/>
        <p:nvPr/>
      </p:nvGrpSpPr>
      <p:grpSpPr>
        <a:xfrm>
          <a:off x="0" y="0"/>
          <a:ext cx="0" cy="0"/>
          <a:chOff x="0" y="0"/>
          <a:chExt cx="0" cy="0"/>
        </a:xfrm>
      </p:grpSpPr>
      <p:sp>
        <p:nvSpPr>
          <p:cNvPr id="11" name="Right Triangle 10">
            <a:extLst>
              <a:ext uri="{FF2B5EF4-FFF2-40B4-BE49-F238E27FC236}">
                <a16:creationId xmlns:a16="http://schemas.microsoft.com/office/drawing/2014/main" id="{2AA65756-40EB-3E43-B125-8EC7A5C49D84}"/>
              </a:ext>
            </a:extLst>
          </p:cNvPr>
          <p:cNvSpPr/>
          <p:nvPr userDrawn="1"/>
        </p:nvSpPr>
        <p:spPr>
          <a:xfrm>
            <a:off x="0" y="2761950"/>
            <a:ext cx="702453" cy="4096050"/>
          </a:xfrm>
          <a:prstGeom prst="r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37124" tIns="91416" rIns="137124" bIns="91416" rtlCol="0" anchor="ct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2" name="Title 1"/>
          <p:cNvSpPr>
            <a:spLocks noGrp="1"/>
          </p:cNvSpPr>
          <p:nvPr userDrawn="1">
            <p:ph type="title" hasCustomPrompt="1"/>
          </p:nvPr>
        </p:nvSpPr>
        <p:spPr>
          <a:xfrm>
            <a:off x="488951" y="482602"/>
            <a:ext cx="11188699" cy="1066798"/>
          </a:xfrm>
          <a:prstGeom prst="rect">
            <a:avLst/>
          </a:prstGeom>
        </p:spPr>
        <p:txBody>
          <a:bodyPr lIns="0"/>
          <a:lstStyle>
            <a:lvl1pPr>
              <a:defRPr baseline="0">
                <a:solidFill>
                  <a:schemeClr val="bg1"/>
                </a:solidFill>
              </a:defRPr>
            </a:lvl1pPr>
          </a:lstStyle>
          <a:p>
            <a:r>
              <a:rPr lang="en-US"/>
              <a:t>Headline Goes Here, Roboto Light, 36 Points, Can Span 2 Lines</a:t>
            </a:r>
          </a:p>
        </p:txBody>
      </p:sp>
      <p:sp>
        <p:nvSpPr>
          <p:cNvPr id="3" name="TextBox 2">
            <a:extLst>
              <a:ext uri="{FF2B5EF4-FFF2-40B4-BE49-F238E27FC236}">
                <a16:creationId xmlns:a16="http://schemas.microsoft.com/office/drawing/2014/main" id="{9E4B4709-7C2B-4FD8-9933-DAF4E15383F8}"/>
              </a:ext>
            </a:extLst>
          </p:cNvPr>
          <p:cNvSpPr txBox="1"/>
          <p:nvPr userDrawn="1"/>
        </p:nvSpPr>
        <p:spPr>
          <a:xfrm>
            <a:off x="1023709"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a:solidFill>
                  <a:schemeClr val="tx1">
                    <a:lumMod val="60000"/>
                    <a:lumOff val="40000"/>
                  </a:schemeClr>
                </a:solidFill>
                <a:latin typeface="Roboto" panose="02000000000000000000" pitchFamily="2" charset="0"/>
                <a:ea typeface="Roboto" panose="02000000000000000000" pitchFamily="2" charset="0"/>
                <a:cs typeface="Roboto" charset="0"/>
              </a:rPr>
              <a:t>© Informatica. Proprietary and Confidential.</a:t>
            </a:r>
          </a:p>
        </p:txBody>
      </p:sp>
      <p:pic>
        <p:nvPicPr>
          <p:cNvPr id="13" name="Picture 12">
            <a:extLst>
              <a:ext uri="{FF2B5EF4-FFF2-40B4-BE49-F238E27FC236}">
                <a16:creationId xmlns:a16="http://schemas.microsoft.com/office/drawing/2014/main" id="{298A41F6-DCD2-8E47-991D-36AB287E9871}"/>
              </a:ext>
            </a:extLst>
          </p:cNvPr>
          <p:cNvPicPr>
            <a:picLocks noChangeAspect="1"/>
          </p:cNvPicPr>
          <p:nvPr userDrawn="1"/>
        </p:nvPicPr>
        <p:blipFill>
          <a:blip r:embed="rId2"/>
          <a:srcRect/>
          <a:stretch/>
        </p:blipFill>
        <p:spPr>
          <a:xfrm>
            <a:off x="9744604" y="6098796"/>
            <a:ext cx="2039100" cy="699990"/>
          </a:xfrm>
          <a:prstGeom prst="rect">
            <a:avLst/>
          </a:prstGeom>
        </p:spPr>
      </p:pic>
      <p:sp>
        <p:nvSpPr>
          <p:cNvPr id="9" name="Right Triangle 8">
            <a:extLst>
              <a:ext uri="{FF2B5EF4-FFF2-40B4-BE49-F238E27FC236}">
                <a16:creationId xmlns:a16="http://schemas.microsoft.com/office/drawing/2014/main" id="{F960A616-A0FC-BC49-B808-CB7DF4FA2A0B}"/>
              </a:ext>
            </a:extLst>
          </p:cNvPr>
          <p:cNvSpPr/>
          <p:nvPr userDrawn="1"/>
        </p:nvSpPr>
        <p:spPr>
          <a:xfrm>
            <a:off x="1" y="2761950"/>
            <a:ext cx="590764" cy="4096050"/>
          </a:xfrm>
          <a:prstGeom prst="rtTriangle">
            <a:avLst/>
          </a:prstGeom>
          <a:gradFill>
            <a:gsLst>
              <a:gs pos="0">
                <a:schemeClr val="accent2"/>
              </a:gs>
              <a:gs pos="76000">
                <a:srgbClr val="FF6500"/>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7124" tIns="91416" rIns="137124" bIns="91416" rtlCol="0" anchor="ctr">
            <a:noAutofit/>
          </a:bodyPr>
          <a:lstStyle/>
          <a:p>
            <a:pPr lvl="0"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5" name="TextBox 4">
            <a:extLst>
              <a:ext uri="{FF2B5EF4-FFF2-40B4-BE49-F238E27FC236}">
                <a16:creationId xmlns:a16="http://schemas.microsoft.com/office/drawing/2014/main" id="{3D625EBE-6EFB-4A48-B9E9-BB18863DFEC3}"/>
              </a:ext>
            </a:extLst>
          </p:cNvPr>
          <p:cNvSpPr txBox="1"/>
          <p:nvPr userDrawn="1"/>
        </p:nvSpPr>
        <p:spPr>
          <a:xfrm>
            <a:off x="176868" y="6365108"/>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063" rtl="0" eaLnBrk="1" latinLnBrk="0" hangingPunct="1"/>
            <a:fld id="{64202F7F-356F-46E2-8791-88745C87F5D9}" type="slidenum">
              <a:rPr lang="en-US" sz="900" b="0" i="0" kern="1200" smtClean="0">
                <a:solidFill>
                  <a:schemeClr val="bg1"/>
                </a:solidFill>
                <a:latin typeface="Roboto" panose="02000000000000000000" pitchFamily="2" charset="0"/>
                <a:ea typeface="Roboto" panose="02000000000000000000" pitchFamily="2" charset="0"/>
                <a:cs typeface="Roboto" charset="0"/>
              </a:rPr>
              <a:pPr marL="0" lvl="0" algn="ctr" defTabSz="457063" rtl="0" eaLnBrk="1" latinLnBrk="0" hangingPunct="1"/>
              <a:t>‹#›</a:t>
            </a:fld>
            <a:endParaRPr lang="en-US" sz="900" b="0" i="0" kern="1200">
              <a:solidFill>
                <a:schemeClr val="bg1"/>
              </a:solidFill>
              <a:latin typeface="Roboto" panose="02000000000000000000" pitchFamily="2" charset="0"/>
              <a:ea typeface="Roboto" panose="02000000000000000000" pitchFamily="2" charset="0"/>
              <a:cs typeface="Roboto" charset="0"/>
            </a:endParaRPr>
          </a:p>
        </p:txBody>
      </p:sp>
    </p:spTree>
    <p:extLst>
      <p:ext uri="{BB962C8B-B14F-4D97-AF65-F5344CB8AC3E}">
        <p14:creationId xmlns:p14="http://schemas.microsoft.com/office/powerpoint/2010/main" val="3499774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Only (No Logo)">
    <p:spTree>
      <p:nvGrpSpPr>
        <p:cNvPr id="1" name=""/>
        <p:cNvGrpSpPr/>
        <p:nvPr/>
      </p:nvGrpSpPr>
      <p:grpSpPr>
        <a:xfrm>
          <a:off x="0" y="0"/>
          <a:ext cx="0" cy="0"/>
          <a:chOff x="0" y="0"/>
          <a:chExt cx="0" cy="0"/>
        </a:xfrm>
      </p:grpSpPr>
      <p:sp>
        <p:nvSpPr>
          <p:cNvPr id="11" name="Right Triangle 10">
            <a:extLst>
              <a:ext uri="{FF2B5EF4-FFF2-40B4-BE49-F238E27FC236}">
                <a16:creationId xmlns:a16="http://schemas.microsoft.com/office/drawing/2014/main" id="{2AA65756-40EB-3E43-B125-8EC7A5C49D84}"/>
              </a:ext>
            </a:extLst>
          </p:cNvPr>
          <p:cNvSpPr/>
          <p:nvPr userDrawn="1"/>
        </p:nvSpPr>
        <p:spPr>
          <a:xfrm>
            <a:off x="0" y="2761950"/>
            <a:ext cx="702453" cy="4096050"/>
          </a:xfrm>
          <a:prstGeom prst="r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37124" tIns="91416" rIns="137124" bIns="91416" rtlCol="0" anchor="ct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2" name="Title 1"/>
          <p:cNvSpPr>
            <a:spLocks noGrp="1"/>
          </p:cNvSpPr>
          <p:nvPr userDrawn="1">
            <p:ph type="title" hasCustomPrompt="1"/>
          </p:nvPr>
        </p:nvSpPr>
        <p:spPr>
          <a:xfrm>
            <a:off x="488951" y="482602"/>
            <a:ext cx="11188699" cy="1066798"/>
          </a:xfrm>
          <a:prstGeom prst="rect">
            <a:avLst/>
          </a:prstGeom>
        </p:spPr>
        <p:txBody>
          <a:bodyPr lIns="0"/>
          <a:lstStyle>
            <a:lvl1pPr>
              <a:defRPr baseline="0">
                <a:solidFill>
                  <a:schemeClr val="bg1"/>
                </a:solidFill>
              </a:defRPr>
            </a:lvl1pPr>
          </a:lstStyle>
          <a:p>
            <a:r>
              <a:rPr lang="en-US"/>
              <a:t>Headline Goes Here, Roboto Light, 36 Points, Can Span 2 Lines</a:t>
            </a:r>
          </a:p>
        </p:txBody>
      </p:sp>
      <p:sp>
        <p:nvSpPr>
          <p:cNvPr id="3" name="TextBox 2">
            <a:extLst>
              <a:ext uri="{FF2B5EF4-FFF2-40B4-BE49-F238E27FC236}">
                <a16:creationId xmlns:a16="http://schemas.microsoft.com/office/drawing/2014/main" id="{9E4B4709-7C2B-4FD8-9933-DAF4E15383F8}"/>
              </a:ext>
            </a:extLst>
          </p:cNvPr>
          <p:cNvSpPr txBox="1"/>
          <p:nvPr userDrawn="1"/>
        </p:nvSpPr>
        <p:spPr>
          <a:xfrm>
            <a:off x="1023709"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a:solidFill>
                  <a:schemeClr val="tx1">
                    <a:lumMod val="60000"/>
                    <a:lumOff val="40000"/>
                  </a:schemeClr>
                </a:solidFill>
                <a:latin typeface="Roboto" panose="02000000000000000000" pitchFamily="2" charset="0"/>
                <a:ea typeface="Roboto" panose="02000000000000000000" pitchFamily="2" charset="0"/>
                <a:cs typeface="Roboto" charset="0"/>
              </a:rPr>
              <a:t>© Informatica. Proprietary and Confidential.</a:t>
            </a:r>
          </a:p>
        </p:txBody>
      </p:sp>
      <p:sp>
        <p:nvSpPr>
          <p:cNvPr id="8" name="Right Triangle 7">
            <a:extLst>
              <a:ext uri="{FF2B5EF4-FFF2-40B4-BE49-F238E27FC236}">
                <a16:creationId xmlns:a16="http://schemas.microsoft.com/office/drawing/2014/main" id="{82FF268A-F497-AC42-AF8D-A16E40D9D2C9}"/>
              </a:ext>
            </a:extLst>
          </p:cNvPr>
          <p:cNvSpPr/>
          <p:nvPr userDrawn="1"/>
        </p:nvSpPr>
        <p:spPr>
          <a:xfrm>
            <a:off x="1" y="2761950"/>
            <a:ext cx="590764" cy="4096050"/>
          </a:xfrm>
          <a:prstGeom prst="rtTriangle">
            <a:avLst/>
          </a:prstGeom>
          <a:gradFill>
            <a:gsLst>
              <a:gs pos="0">
                <a:schemeClr val="accent2"/>
              </a:gs>
              <a:gs pos="76000">
                <a:srgbClr val="FF6500"/>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7124" tIns="91416" rIns="137124" bIns="91416" rtlCol="0" anchor="ctr">
            <a:noAutofit/>
          </a:bodyPr>
          <a:lstStyle/>
          <a:p>
            <a:pPr lvl="0"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5" name="TextBox 4">
            <a:extLst>
              <a:ext uri="{FF2B5EF4-FFF2-40B4-BE49-F238E27FC236}">
                <a16:creationId xmlns:a16="http://schemas.microsoft.com/office/drawing/2014/main" id="{3D625EBE-6EFB-4A48-B9E9-BB18863DFEC3}"/>
              </a:ext>
            </a:extLst>
          </p:cNvPr>
          <p:cNvSpPr txBox="1"/>
          <p:nvPr userDrawn="1"/>
        </p:nvSpPr>
        <p:spPr>
          <a:xfrm>
            <a:off x="176868" y="6365108"/>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063" rtl="0" eaLnBrk="1" latinLnBrk="0" hangingPunct="1"/>
            <a:fld id="{64202F7F-356F-46E2-8791-88745C87F5D9}" type="slidenum">
              <a:rPr lang="en-US" sz="900" b="0" i="0" kern="1200" smtClean="0">
                <a:solidFill>
                  <a:schemeClr val="bg1"/>
                </a:solidFill>
                <a:latin typeface="Roboto" panose="02000000000000000000" pitchFamily="2" charset="0"/>
                <a:ea typeface="Roboto" panose="02000000000000000000" pitchFamily="2" charset="0"/>
                <a:cs typeface="Roboto" charset="0"/>
              </a:rPr>
              <a:pPr marL="0" lvl="0" algn="ctr" defTabSz="457063" rtl="0" eaLnBrk="1" latinLnBrk="0" hangingPunct="1"/>
              <a:t>‹#›</a:t>
            </a:fld>
            <a:endParaRPr lang="en-US" sz="900" b="0" i="0" kern="1200">
              <a:solidFill>
                <a:schemeClr val="bg1"/>
              </a:solidFill>
              <a:latin typeface="Roboto" panose="02000000000000000000" pitchFamily="2" charset="0"/>
              <a:ea typeface="Roboto" panose="02000000000000000000" pitchFamily="2" charset="0"/>
              <a:cs typeface="Roboto" charset="0"/>
            </a:endParaRPr>
          </a:p>
        </p:txBody>
      </p:sp>
    </p:spTree>
    <p:extLst>
      <p:ext uri="{BB962C8B-B14F-4D97-AF65-F5344CB8AC3E}">
        <p14:creationId xmlns:p14="http://schemas.microsoft.com/office/powerpoint/2010/main" val="2356493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Only_Blank">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D625EBE-6EFB-4A48-B9E9-BB18863DFEC3}"/>
              </a:ext>
            </a:extLst>
          </p:cNvPr>
          <p:cNvSpPr txBox="1"/>
          <p:nvPr userDrawn="1"/>
        </p:nvSpPr>
        <p:spPr>
          <a:xfrm>
            <a:off x="176868" y="6365108"/>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063" rtl="0" eaLnBrk="1" latinLnBrk="0" hangingPunct="1"/>
            <a:fld id="{64202F7F-356F-46E2-8791-88745C87F5D9}" type="slidenum">
              <a:rPr lang="en-US" sz="900" b="0" i="0" kern="1200" smtClean="0">
                <a:solidFill>
                  <a:schemeClr val="tx1">
                    <a:lumMod val="20000"/>
                    <a:lumOff val="80000"/>
                  </a:schemeClr>
                </a:solidFill>
                <a:latin typeface="Roboto" panose="02000000000000000000" pitchFamily="2" charset="0"/>
                <a:ea typeface="Roboto" panose="02000000000000000000" pitchFamily="2" charset="0"/>
                <a:cs typeface="Roboto" charset="0"/>
              </a:rPr>
              <a:pPr marL="0" lvl="0" algn="ctr" defTabSz="457063" rtl="0" eaLnBrk="1" latinLnBrk="0" hangingPunct="1"/>
              <a:t>‹#›</a:t>
            </a:fld>
            <a:endParaRPr lang="en-US" sz="900" b="0" i="0" kern="1200">
              <a:solidFill>
                <a:schemeClr val="tx1">
                  <a:lumMod val="20000"/>
                  <a:lumOff val="80000"/>
                </a:schemeClr>
              </a:solidFill>
              <a:latin typeface="Roboto" panose="02000000000000000000" pitchFamily="2" charset="0"/>
              <a:ea typeface="Roboto" panose="02000000000000000000" pitchFamily="2" charset="0"/>
              <a:cs typeface="Roboto" charset="0"/>
            </a:endParaRPr>
          </a:p>
        </p:txBody>
      </p:sp>
      <p:sp>
        <p:nvSpPr>
          <p:cNvPr id="2" name="Title 1"/>
          <p:cNvSpPr>
            <a:spLocks noGrp="1"/>
          </p:cNvSpPr>
          <p:nvPr userDrawn="1">
            <p:ph type="title" hasCustomPrompt="1"/>
          </p:nvPr>
        </p:nvSpPr>
        <p:spPr>
          <a:xfrm>
            <a:off x="488951" y="482602"/>
            <a:ext cx="11188699" cy="1066798"/>
          </a:xfrm>
          <a:prstGeom prst="rect">
            <a:avLst/>
          </a:prstGeom>
        </p:spPr>
        <p:txBody>
          <a:bodyPr lIns="0"/>
          <a:lstStyle>
            <a:lvl1pPr>
              <a:defRPr baseline="0">
                <a:solidFill>
                  <a:schemeClr val="bg1"/>
                </a:solidFill>
              </a:defRPr>
            </a:lvl1pPr>
          </a:lstStyle>
          <a:p>
            <a:r>
              <a:rPr lang="en-US"/>
              <a:t>Headline Goes Here, Roboto Light, 36 Points, Can Span 2 Lines</a:t>
            </a:r>
          </a:p>
        </p:txBody>
      </p:sp>
      <p:sp>
        <p:nvSpPr>
          <p:cNvPr id="3" name="TextBox 2">
            <a:extLst>
              <a:ext uri="{FF2B5EF4-FFF2-40B4-BE49-F238E27FC236}">
                <a16:creationId xmlns:a16="http://schemas.microsoft.com/office/drawing/2014/main" id="{9E4B4709-7C2B-4FD8-9933-DAF4E15383F8}"/>
              </a:ext>
            </a:extLst>
          </p:cNvPr>
          <p:cNvSpPr txBox="1"/>
          <p:nvPr userDrawn="1"/>
        </p:nvSpPr>
        <p:spPr>
          <a:xfrm>
            <a:off x="1023709"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a:solidFill>
                  <a:schemeClr val="tx1">
                    <a:lumMod val="60000"/>
                    <a:lumOff val="40000"/>
                  </a:schemeClr>
                </a:solidFill>
                <a:latin typeface="Roboto" panose="02000000000000000000" pitchFamily="2" charset="0"/>
                <a:ea typeface="Roboto" panose="02000000000000000000" pitchFamily="2" charset="0"/>
                <a:cs typeface="Roboto" charset="0"/>
              </a:rPr>
              <a:t>© Informatica. Proprietary and Confidential.</a:t>
            </a:r>
          </a:p>
        </p:txBody>
      </p:sp>
    </p:spTree>
    <p:extLst>
      <p:ext uri="{BB962C8B-B14F-4D97-AF65-F5344CB8AC3E}">
        <p14:creationId xmlns:p14="http://schemas.microsoft.com/office/powerpoint/2010/main" val="1996945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Only_Blank+Logo">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D625EBE-6EFB-4A48-B9E9-BB18863DFEC3}"/>
              </a:ext>
            </a:extLst>
          </p:cNvPr>
          <p:cNvSpPr txBox="1"/>
          <p:nvPr userDrawn="1"/>
        </p:nvSpPr>
        <p:spPr>
          <a:xfrm>
            <a:off x="176868" y="6365108"/>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063" rtl="0" eaLnBrk="1" latinLnBrk="0" hangingPunct="1"/>
            <a:fld id="{64202F7F-356F-46E2-8791-88745C87F5D9}" type="slidenum">
              <a:rPr lang="en-US" sz="900" b="0" i="0" kern="1200" smtClean="0">
                <a:solidFill>
                  <a:schemeClr val="tx1">
                    <a:lumMod val="20000"/>
                    <a:lumOff val="80000"/>
                  </a:schemeClr>
                </a:solidFill>
                <a:latin typeface="Roboto" panose="02000000000000000000" pitchFamily="2" charset="0"/>
                <a:ea typeface="Roboto" panose="02000000000000000000" pitchFamily="2" charset="0"/>
                <a:cs typeface="Roboto" charset="0"/>
              </a:rPr>
              <a:pPr marL="0" lvl="0" algn="ctr" defTabSz="457063" rtl="0" eaLnBrk="1" latinLnBrk="0" hangingPunct="1"/>
              <a:t>‹#›</a:t>
            </a:fld>
            <a:endParaRPr lang="en-US" sz="900" b="0" i="0" kern="1200">
              <a:solidFill>
                <a:schemeClr val="tx1">
                  <a:lumMod val="20000"/>
                  <a:lumOff val="80000"/>
                </a:schemeClr>
              </a:solidFill>
              <a:latin typeface="Roboto" panose="02000000000000000000" pitchFamily="2" charset="0"/>
              <a:ea typeface="Roboto" panose="02000000000000000000" pitchFamily="2" charset="0"/>
              <a:cs typeface="Roboto" charset="0"/>
            </a:endParaRPr>
          </a:p>
        </p:txBody>
      </p:sp>
      <p:sp>
        <p:nvSpPr>
          <p:cNvPr id="2" name="Title 1"/>
          <p:cNvSpPr>
            <a:spLocks noGrp="1"/>
          </p:cNvSpPr>
          <p:nvPr userDrawn="1">
            <p:ph type="title" hasCustomPrompt="1"/>
          </p:nvPr>
        </p:nvSpPr>
        <p:spPr>
          <a:xfrm>
            <a:off x="488951" y="482602"/>
            <a:ext cx="11188699" cy="1066798"/>
          </a:xfrm>
          <a:prstGeom prst="rect">
            <a:avLst/>
          </a:prstGeom>
        </p:spPr>
        <p:txBody>
          <a:bodyPr lIns="0"/>
          <a:lstStyle>
            <a:lvl1pPr>
              <a:defRPr baseline="0">
                <a:solidFill>
                  <a:schemeClr val="bg1"/>
                </a:solidFill>
              </a:defRPr>
            </a:lvl1pPr>
          </a:lstStyle>
          <a:p>
            <a:r>
              <a:rPr lang="en-US"/>
              <a:t>Headline Goes Here, Roboto Light, 36 Points, Can Span 2 Lines</a:t>
            </a:r>
          </a:p>
        </p:txBody>
      </p:sp>
      <p:sp>
        <p:nvSpPr>
          <p:cNvPr id="3" name="TextBox 2">
            <a:extLst>
              <a:ext uri="{FF2B5EF4-FFF2-40B4-BE49-F238E27FC236}">
                <a16:creationId xmlns:a16="http://schemas.microsoft.com/office/drawing/2014/main" id="{9E4B4709-7C2B-4FD8-9933-DAF4E15383F8}"/>
              </a:ext>
            </a:extLst>
          </p:cNvPr>
          <p:cNvSpPr txBox="1"/>
          <p:nvPr userDrawn="1"/>
        </p:nvSpPr>
        <p:spPr>
          <a:xfrm>
            <a:off x="1023709"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a:solidFill>
                  <a:schemeClr val="tx1">
                    <a:lumMod val="60000"/>
                    <a:lumOff val="40000"/>
                  </a:schemeClr>
                </a:solidFill>
                <a:latin typeface="Roboto" panose="02000000000000000000" pitchFamily="2" charset="0"/>
                <a:ea typeface="Roboto" panose="02000000000000000000" pitchFamily="2" charset="0"/>
                <a:cs typeface="Roboto" charset="0"/>
              </a:rPr>
              <a:t>© Informatica. Proprietary and Confidential.</a:t>
            </a:r>
          </a:p>
        </p:txBody>
      </p:sp>
      <p:pic>
        <p:nvPicPr>
          <p:cNvPr id="8" name="Picture 7">
            <a:extLst>
              <a:ext uri="{FF2B5EF4-FFF2-40B4-BE49-F238E27FC236}">
                <a16:creationId xmlns:a16="http://schemas.microsoft.com/office/drawing/2014/main" id="{F9B15683-6072-4877-B962-2555270CD195}"/>
              </a:ext>
            </a:extLst>
          </p:cNvPr>
          <p:cNvPicPr>
            <a:picLocks noChangeAspect="1"/>
          </p:cNvPicPr>
          <p:nvPr userDrawn="1"/>
        </p:nvPicPr>
        <p:blipFill>
          <a:blip r:embed="rId2"/>
          <a:stretch>
            <a:fillRect/>
          </a:stretch>
        </p:blipFill>
        <p:spPr>
          <a:xfrm>
            <a:off x="9742965" y="6094698"/>
            <a:ext cx="2041656" cy="704088"/>
          </a:xfrm>
          <a:prstGeom prst="rect">
            <a:avLst/>
          </a:prstGeom>
        </p:spPr>
      </p:pic>
    </p:spTree>
    <p:extLst>
      <p:ext uri="{BB962C8B-B14F-4D97-AF65-F5344CB8AC3E}">
        <p14:creationId xmlns:p14="http://schemas.microsoft.com/office/powerpoint/2010/main" val="3214701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Maximum Content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D625EBE-6EFB-4A48-B9E9-BB18863DFEC3}"/>
              </a:ext>
            </a:extLst>
          </p:cNvPr>
          <p:cNvSpPr txBox="1"/>
          <p:nvPr userDrawn="1"/>
        </p:nvSpPr>
        <p:spPr>
          <a:xfrm>
            <a:off x="176868" y="6365106"/>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900" b="0" i="0" kern="1200" smtClean="0">
                <a:solidFill>
                  <a:schemeClr val="bg1"/>
                </a:solidFill>
                <a:latin typeface="Roboto" charset="0"/>
                <a:ea typeface="Roboto" charset="0"/>
                <a:cs typeface="Roboto" charset="0"/>
              </a:rPr>
              <a:pPr marL="0" lvl="0" algn="ctr" defTabSz="457200" rtl="0" eaLnBrk="1" latinLnBrk="0" hangingPunct="1"/>
              <a:t>‹#›</a:t>
            </a:fld>
            <a:endParaRPr lang="en-US" sz="900" b="0" i="0" kern="1200" dirty="0">
              <a:solidFill>
                <a:schemeClr val="bg1"/>
              </a:solidFill>
              <a:latin typeface="Roboto" charset="0"/>
              <a:ea typeface="Roboto" charset="0"/>
              <a:cs typeface="Roboto" charset="0"/>
            </a:endParaRPr>
          </a:p>
        </p:txBody>
      </p:sp>
      <p:sp>
        <p:nvSpPr>
          <p:cNvPr id="2" name="Title 1"/>
          <p:cNvSpPr>
            <a:spLocks noGrp="1"/>
          </p:cNvSpPr>
          <p:nvPr userDrawn="1">
            <p:ph type="title" hasCustomPrompt="1"/>
          </p:nvPr>
        </p:nvSpPr>
        <p:spPr>
          <a:xfrm>
            <a:off x="488950" y="482602"/>
            <a:ext cx="11188699" cy="1066798"/>
          </a:xfrm>
          <a:prstGeom prst="rect">
            <a:avLst/>
          </a:prstGeom>
        </p:spPr>
        <p:txBody>
          <a:bodyPr lIns="0"/>
          <a:lstStyle>
            <a:lvl1pPr>
              <a:defRPr baseline="0">
                <a:solidFill>
                  <a:schemeClr val="tx1"/>
                </a:solidFill>
              </a:defRPr>
            </a:lvl1pPr>
          </a:lstStyle>
          <a:p>
            <a:r>
              <a:rPr lang="en-US" dirty="0"/>
              <a:t>Headline Goes Here, Roboto Light, 36 Points, Can Span 2 Lines</a:t>
            </a:r>
          </a:p>
        </p:txBody>
      </p:sp>
      <p:sp>
        <p:nvSpPr>
          <p:cNvPr id="3" name="TextBox 2">
            <a:extLst>
              <a:ext uri="{FF2B5EF4-FFF2-40B4-BE49-F238E27FC236}">
                <a16:creationId xmlns:a16="http://schemas.microsoft.com/office/drawing/2014/main" id="{9E4B4709-7C2B-4FD8-9933-DAF4E15383F8}"/>
              </a:ext>
            </a:extLst>
          </p:cNvPr>
          <p:cNvSpPr txBox="1"/>
          <p:nvPr userDrawn="1"/>
        </p:nvSpPr>
        <p:spPr>
          <a:xfrm>
            <a:off x="1023708"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dirty="0">
                <a:solidFill>
                  <a:schemeClr val="tx1"/>
                </a:solidFill>
                <a:latin typeface="Roboto" charset="0"/>
                <a:ea typeface="Roboto" charset="0"/>
                <a:cs typeface="Roboto" charset="0"/>
              </a:rPr>
              <a:t>© Informatica. Proprietary and Confidential.</a:t>
            </a:r>
          </a:p>
        </p:txBody>
      </p:sp>
      <p:pic>
        <p:nvPicPr>
          <p:cNvPr id="13" name="Picture 12">
            <a:extLst>
              <a:ext uri="{FF2B5EF4-FFF2-40B4-BE49-F238E27FC236}">
                <a16:creationId xmlns:a16="http://schemas.microsoft.com/office/drawing/2014/main" id="{298A41F6-DCD2-8E47-991D-36AB287E9871}"/>
              </a:ext>
            </a:extLst>
          </p:cNvPr>
          <p:cNvPicPr>
            <a:picLocks noChangeAspect="1"/>
          </p:cNvPicPr>
          <p:nvPr userDrawn="1"/>
        </p:nvPicPr>
        <p:blipFill>
          <a:blip r:embed="rId3"/>
          <a:stretch>
            <a:fillRect/>
          </a:stretch>
        </p:blipFill>
        <p:spPr>
          <a:xfrm>
            <a:off x="9743687" y="6098796"/>
            <a:ext cx="2040934" cy="699990"/>
          </a:xfrm>
          <a:prstGeom prst="rect">
            <a:avLst/>
          </a:prstGeom>
        </p:spPr>
      </p:pic>
    </p:spTree>
    <p:extLst>
      <p:ext uri="{BB962C8B-B14F-4D97-AF65-F5344CB8AC3E}">
        <p14:creationId xmlns:p14="http://schemas.microsoft.com/office/powerpoint/2010/main" val="2693017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Content_option 2">
    <p:spTree>
      <p:nvGrpSpPr>
        <p:cNvPr id="1" name=""/>
        <p:cNvGrpSpPr/>
        <p:nvPr/>
      </p:nvGrpSpPr>
      <p:grpSpPr>
        <a:xfrm>
          <a:off x="0" y="0"/>
          <a:ext cx="0" cy="0"/>
          <a:chOff x="0" y="0"/>
          <a:chExt cx="0" cy="0"/>
        </a:xfrm>
      </p:grpSpPr>
      <p:sp>
        <p:nvSpPr>
          <p:cNvPr id="10" name="Right Triangle 9">
            <a:extLst>
              <a:ext uri="{FF2B5EF4-FFF2-40B4-BE49-F238E27FC236}">
                <a16:creationId xmlns:a16="http://schemas.microsoft.com/office/drawing/2014/main" id="{305657F6-864B-40E2-A0B1-E5E5C88D05EC}"/>
              </a:ext>
            </a:extLst>
          </p:cNvPr>
          <p:cNvSpPr/>
          <p:nvPr userDrawn="1"/>
        </p:nvSpPr>
        <p:spPr>
          <a:xfrm>
            <a:off x="0" y="2761950"/>
            <a:ext cx="702453" cy="4096050"/>
          </a:xfrm>
          <a:prstGeom prst="r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37124" tIns="91416" rIns="137124" bIns="91416" rtlCol="0" anchor="ct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12" name="Right Triangle 11">
            <a:extLst>
              <a:ext uri="{FF2B5EF4-FFF2-40B4-BE49-F238E27FC236}">
                <a16:creationId xmlns:a16="http://schemas.microsoft.com/office/drawing/2014/main" id="{883C04E1-43E6-4A85-BD16-2905CB4D336E}"/>
              </a:ext>
            </a:extLst>
          </p:cNvPr>
          <p:cNvSpPr/>
          <p:nvPr userDrawn="1"/>
        </p:nvSpPr>
        <p:spPr>
          <a:xfrm>
            <a:off x="1" y="2761950"/>
            <a:ext cx="590764" cy="4096050"/>
          </a:xfrm>
          <a:prstGeom prst="rtTriangle">
            <a:avLst/>
          </a:prstGeom>
          <a:gradFill>
            <a:gsLst>
              <a:gs pos="0">
                <a:schemeClr val="accent2"/>
              </a:gs>
              <a:gs pos="76000">
                <a:srgbClr val="FF6500"/>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7124" tIns="91416" rIns="137124" bIns="91416" rtlCol="0" anchor="ctr">
            <a:noAutofit/>
          </a:bodyPr>
          <a:lstStyle/>
          <a:p>
            <a:pPr lvl="0"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23" name="TextBox 22">
            <a:extLst>
              <a:ext uri="{FF2B5EF4-FFF2-40B4-BE49-F238E27FC236}">
                <a16:creationId xmlns:a16="http://schemas.microsoft.com/office/drawing/2014/main" id="{BCF260CE-EC9E-49A9-9345-D0C73BFC8564}"/>
              </a:ext>
            </a:extLst>
          </p:cNvPr>
          <p:cNvSpPr txBox="1"/>
          <p:nvPr userDrawn="1"/>
        </p:nvSpPr>
        <p:spPr>
          <a:xfrm>
            <a:off x="176868" y="6365108"/>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063" rtl="0" eaLnBrk="1" latinLnBrk="0" hangingPunct="1"/>
            <a:fld id="{64202F7F-356F-46E2-8791-88745C87F5D9}" type="slidenum">
              <a:rPr lang="en-US" sz="900" b="0" i="0" kern="1200" smtClean="0">
                <a:solidFill>
                  <a:schemeClr val="bg1"/>
                </a:solidFill>
                <a:latin typeface="Roboto" panose="02000000000000000000" pitchFamily="2" charset="0"/>
                <a:ea typeface="Roboto" panose="02000000000000000000" pitchFamily="2" charset="0"/>
                <a:cs typeface="Roboto" charset="0"/>
              </a:rPr>
              <a:pPr marL="0" lvl="0" algn="ctr" defTabSz="457063" rtl="0" eaLnBrk="1" latinLnBrk="0" hangingPunct="1"/>
              <a:t>‹#›</a:t>
            </a:fld>
            <a:endParaRPr lang="en-US" sz="900" b="0" i="0" kern="1200">
              <a:solidFill>
                <a:schemeClr val="bg1"/>
              </a:solidFill>
              <a:latin typeface="Roboto" panose="02000000000000000000" pitchFamily="2" charset="0"/>
              <a:ea typeface="Roboto" panose="02000000000000000000" pitchFamily="2" charset="0"/>
              <a:cs typeface="Roboto" charset="0"/>
            </a:endParaRPr>
          </a:p>
        </p:txBody>
      </p:sp>
      <p:sp>
        <p:nvSpPr>
          <p:cNvPr id="3" name="TextBox 2">
            <a:extLst>
              <a:ext uri="{FF2B5EF4-FFF2-40B4-BE49-F238E27FC236}">
                <a16:creationId xmlns:a16="http://schemas.microsoft.com/office/drawing/2014/main" id="{8FE6C657-C7BA-4DE2-8E6E-209687CFF525}"/>
              </a:ext>
            </a:extLst>
          </p:cNvPr>
          <p:cNvSpPr txBox="1"/>
          <p:nvPr userDrawn="1"/>
        </p:nvSpPr>
        <p:spPr>
          <a:xfrm>
            <a:off x="1023709"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a:solidFill>
                  <a:schemeClr val="tx1">
                    <a:lumMod val="60000"/>
                    <a:lumOff val="40000"/>
                  </a:schemeClr>
                </a:solidFill>
                <a:latin typeface="Roboto" panose="02000000000000000000" pitchFamily="2" charset="0"/>
                <a:ea typeface="Roboto" panose="02000000000000000000" pitchFamily="2" charset="0"/>
                <a:cs typeface="Roboto" charset="0"/>
              </a:rPr>
              <a:t>© Informatica. Proprietary and Confidential.</a:t>
            </a:r>
          </a:p>
        </p:txBody>
      </p:sp>
      <p:sp>
        <p:nvSpPr>
          <p:cNvPr id="15" name="Title 1">
            <a:extLst>
              <a:ext uri="{FF2B5EF4-FFF2-40B4-BE49-F238E27FC236}">
                <a16:creationId xmlns:a16="http://schemas.microsoft.com/office/drawing/2014/main" id="{EA9FF02E-07BD-8C42-8DB3-7F3EBA36F422}"/>
              </a:ext>
            </a:extLst>
          </p:cNvPr>
          <p:cNvSpPr>
            <a:spLocks noGrp="1"/>
          </p:cNvSpPr>
          <p:nvPr userDrawn="1">
            <p:ph type="title" hasCustomPrompt="1"/>
          </p:nvPr>
        </p:nvSpPr>
        <p:spPr>
          <a:xfrm>
            <a:off x="493714" y="482604"/>
            <a:ext cx="11188532" cy="562427"/>
          </a:xfrm>
          <a:prstGeom prst="rect">
            <a:avLst/>
          </a:prstGeom>
        </p:spPr>
        <p:txBody>
          <a:bodyPr lIns="0"/>
          <a:lstStyle>
            <a:lvl1pPr>
              <a:defRPr baseline="0">
                <a:solidFill>
                  <a:schemeClr val="bg1"/>
                </a:solidFill>
              </a:defRPr>
            </a:lvl1pPr>
          </a:lstStyle>
          <a:p>
            <a:r>
              <a:rPr lang="en-US"/>
              <a:t>Headline Goes Here, Roboto Light, 36 Points, Can Span 2 Lines</a:t>
            </a:r>
          </a:p>
        </p:txBody>
      </p:sp>
      <p:pic>
        <p:nvPicPr>
          <p:cNvPr id="9" name="Picture 8">
            <a:extLst>
              <a:ext uri="{FF2B5EF4-FFF2-40B4-BE49-F238E27FC236}">
                <a16:creationId xmlns:a16="http://schemas.microsoft.com/office/drawing/2014/main" id="{AD7BC26A-261D-884F-A9D2-61B266D20938}"/>
              </a:ext>
            </a:extLst>
          </p:cNvPr>
          <p:cNvPicPr>
            <a:picLocks noChangeAspect="1"/>
          </p:cNvPicPr>
          <p:nvPr userDrawn="1"/>
        </p:nvPicPr>
        <p:blipFill>
          <a:blip r:embed="rId2"/>
          <a:srcRect/>
          <a:stretch/>
        </p:blipFill>
        <p:spPr>
          <a:xfrm>
            <a:off x="9747648" y="6098796"/>
            <a:ext cx="2033013" cy="699990"/>
          </a:xfrm>
          <a:prstGeom prst="rect">
            <a:avLst/>
          </a:prstGeom>
        </p:spPr>
      </p:pic>
      <p:sp>
        <p:nvSpPr>
          <p:cNvPr id="13" name="Content Placeholder 5">
            <a:extLst>
              <a:ext uri="{FF2B5EF4-FFF2-40B4-BE49-F238E27FC236}">
                <a16:creationId xmlns:a16="http://schemas.microsoft.com/office/drawing/2014/main" id="{94D1F131-29E3-D441-9CBA-0FEDB6502D42}"/>
              </a:ext>
            </a:extLst>
          </p:cNvPr>
          <p:cNvSpPr>
            <a:spLocks noGrp="1"/>
          </p:cNvSpPr>
          <p:nvPr>
            <p:ph sz="quarter" idx="14" hasCustomPrompt="1"/>
          </p:nvPr>
        </p:nvSpPr>
        <p:spPr>
          <a:xfrm>
            <a:off x="934126" y="1854200"/>
            <a:ext cx="10650537" cy="4165600"/>
          </a:xfrm>
          <a:prstGeom prst="rect">
            <a:avLst/>
          </a:prstGeom>
        </p:spPr>
        <p:txBody>
          <a:bodyPr vert="horz" lIns="0" tIns="0" rIns="0" bIns="0" rtlCol="0">
            <a:noAutofit/>
          </a:bodyPr>
          <a:lstStyle>
            <a:lvl1pPr>
              <a:spcBef>
                <a:spcPts val="1200"/>
              </a:spcBef>
              <a:defRPr lang="en-US" dirty="0">
                <a:latin typeface="Roboto" panose="02000000000000000000" pitchFamily="2" charset="0"/>
                <a:ea typeface="Roboto" panose="02000000000000000000" pitchFamily="2" charset="0"/>
              </a:defRPr>
            </a:lvl1pPr>
            <a:lvl2pPr>
              <a:spcBef>
                <a:spcPts val="600"/>
              </a:spcBef>
              <a:defRPr lang="en-US" dirty="0">
                <a:latin typeface="Roboto" panose="02000000000000000000" pitchFamily="2" charset="0"/>
                <a:ea typeface="Roboto" panose="02000000000000000000" pitchFamily="2" charset="0"/>
              </a:defRPr>
            </a:lvl2pPr>
            <a:lvl3pPr>
              <a:spcBef>
                <a:spcPts val="600"/>
              </a:spcBef>
              <a:defRPr lang="en-US" dirty="0">
                <a:latin typeface="Roboto" panose="02000000000000000000" pitchFamily="2" charset="0"/>
                <a:ea typeface="Roboto" panose="02000000000000000000" pitchFamily="2" charset="0"/>
              </a:defRPr>
            </a:lvl3pPr>
          </a:lstStyle>
          <a:p>
            <a:pPr lvl="0"/>
            <a:r>
              <a:rPr lang="en-US"/>
              <a:t>First bullet, Roboto Regular 20 point</a:t>
            </a:r>
          </a:p>
          <a:p>
            <a:pPr lvl="1"/>
            <a:r>
              <a:rPr lang="en-US"/>
              <a:t>Second bullet, </a:t>
            </a:r>
            <a:r>
              <a:rPr lang="en-US" err="1"/>
              <a:t>Roboto</a:t>
            </a:r>
            <a:r>
              <a:rPr lang="en-US"/>
              <a:t> Regular 18 point</a:t>
            </a:r>
          </a:p>
          <a:p>
            <a:pPr lvl="2"/>
            <a:r>
              <a:rPr lang="en-US"/>
              <a:t>Third bullet, </a:t>
            </a:r>
            <a:r>
              <a:rPr lang="en-US" err="1"/>
              <a:t>Roboto</a:t>
            </a:r>
            <a:r>
              <a:rPr lang="en-US"/>
              <a:t> Regular 16 point</a:t>
            </a:r>
          </a:p>
        </p:txBody>
      </p:sp>
    </p:spTree>
    <p:extLst>
      <p:ext uri="{BB962C8B-B14F-4D97-AF65-F5344CB8AC3E}">
        <p14:creationId xmlns:p14="http://schemas.microsoft.com/office/powerpoint/2010/main" val="3022768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Content No Corner/Logo DARK">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494340A0-560A-4547-9570-D5F0A59ED648}"/>
              </a:ext>
            </a:extLst>
          </p:cNvPr>
          <p:cNvSpPr>
            <a:spLocks noGrp="1"/>
          </p:cNvSpPr>
          <p:nvPr>
            <p:ph type="title" hasCustomPrompt="1"/>
          </p:nvPr>
        </p:nvSpPr>
        <p:spPr>
          <a:xfrm>
            <a:off x="493714" y="482604"/>
            <a:ext cx="11188532" cy="562427"/>
          </a:xfrm>
          <a:prstGeom prst="rect">
            <a:avLst/>
          </a:prstGeom>
        </p:spPr>
        <p:txBody>
          <a:bodyPr lIns="0"/>
          <a:lstStyle>
            <a:lvl1pPr>
              <a:defRPr baseline="0">
                <a:solidFill>
                  <a:schemeClr val="bg1"/>
                </a:solidFill>
              </a:defRPr>
            </a:lvl1pPr>
          </a:lstStyle>
          <a:p>
            <a:r>
              <a:rPr lang="en-US"/>
              <a:t>Headline Goes Here, Roboto Light, 36 Points, Can Span 2 Lines</a:t>
            </a:r>
          </a:p>
        </p:txBody>
      </p:sp>
      <p:sp>
        <p:nvSpPr>
          <p:cNvPr id="7" name="TextBox 6">
            <a:extLst>
              <a:ext uri="{FF2B5EF4-FFF2-40B4-BE49-F238E27FC236}">
                <a16:creationId xmlns:a16="http://schemas.microsoft.com/office/drawing/2014/main" id="{8CC97F05-09BC-4E73-930D-6A839EE9C6AC}"/>
              </a:ext>
            </a:extLst>
          </p:cNvPr>
          <p:cNvSpPr txBox="1"/>
          <p:nvPr userDrawn="1"/>
        </p:nvSpPr>
        <p:spPr>
          <a:xfrm>
            <a:off x="176868" y="6365108"/>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063" rtl="0" eaLnBrk="1" latinLnBrk="0" hangingPunct="1"/>
            <a:fld id="{64202F7F-356F-46E2-8791-88745C87F5D9}" type="slidenum">
              <a:rPr lang="en-US" sz="900" b="0" i="0" kern="1200" smtClean="0">
                <a:solidFill>
                  <a:schemeClr val="tx1">
                    <a:lumMod val="20000"/>
                    <a:lumOff val="80000"/>
                  </a:schemeClr>
                </a:solidFill>
                <a:latin typeface="Roboto" panose="02000000000000000000" pitchFamily="2" charset="0"/>
                <a:ea typeface="Roboto" panose="02000000000000000000" pitchFamily="2" charset="0"/>
                <a:cs typeface="Roboto" charset="0"/>
              </a:rPr>
              <a:pPr marL="0" lvl="0" algn="ctr" defTabSz="457063" rtl="0" eaLnBrk="1" latinLnBrk="0" hangingPunct="1"/>
              <a:t>‹#›</a:t>
            </a:fld>
            <a:endParaRPr lang="en-US" sz="900" b="0" i="0" kern="1200">
              <a:solidFill>
                <a:schemeClr val="tx1">
                  <a:lumMod val="20000"/>
                  <a:lumOff val="80000"/>
                </a:schemeClr>
              </a:solidFill>
              <a:latin typeface="Roboto" panose="02000000000000000000" pitchFamily="2" charset="0"/>
              <a:ea typeface="Roboto" panose="02000000000000000000" pitchFamily="2" charset="0"/>
              <a:cs typeface="Roboto" charset="0"/>
            </a:endParaRPr>
          </a:p>
        </p:txBody>
      </p:sp>
      <p:sp>
        <p:nvSpPr>
          <p:cNvPr id="8" name="TextBox 7">
            <a:extLst>
              <a:ext uri="{FF2B5EF4-FFF2-40B4-BE49-F238E27FC236}">
                <a16:creationId xmlns:a16="http://schemas.microsoft.com/office/drawing/2014/main" id="{0638C255-6912-45B3-B5C8-F8DD0C6CACED}"/>
              </a:ext>
            </a:extLst>
          </p:cNvPr>
          <p:cNvSpPr txBox="1"/>
          <p:nvPr userDrawn="1"/>
        </p:nvSpPr>
        <p:spPr>
          <a:xfrm>
            <a:off x="1023709"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a:solidFill>
                  <a:schemeClr val="tx1">
                    <a:lumMod val="60000"/>
                    <a:lumOff val="40000"/>
                  </a:schemeClr>
                </a:solidFill>
                <a:latin typeface="Roboto" panose="02000000000000000000" pitchFamily="2" charset="0"/>
                <a:ea typeface="Roboto" panose="02000000000000000000" pitchFamily="2" charset="0"/>
                <a:cs typeface="Roboto" charset="0"/>
              </a:rPr>
              <a:t>© Informatica. Proprietary and Confidential.</a:t>
            </a:r>
          </a:p>
        </p:txBody>
      </p:sp>
      <p:sp>
        <p:nvSpPr>
          <p:cNvPr id="10" name="Content Placeholder 5">
            <a:extLst>
              <a:ext uri="{FF2B5EF4-FFF2-40B4-BE49-F238E27FC236}">
                <a16:creationId xmlns:a16="http://schemas.microsoft.com/office/drawing/2014/main" id="{A91D8C56-AEFD-BE42-A4DC-D7B05306987F}"/>
              </a:ext>
            </a:extLst>
          </p:cNvPr>
          <p:cNvSpPr>
            <a:spLocks noGrp="1"/>
          </p:cNvSpPr>
          <p:nvPr>
            <p:ph sz="quarter" idx="14" hasCustomPrompt="1"/>
          </p:nvPr>
        </p:nvSpPr>
        <p:spPr>
          <a:xfrm>
            <a:off x="934126" y="1854200"/>
            <a:ext cx="10650537" cy="4165600"/>
          </a:xfrm>
          <a:prstGeom prst="rect">
            <a:avLst/>
          </a:prstGeom>
        </p:spPr>
        <p:txBody>
          <a:bodyPr vert="horz" lIns="0" tIns="0" rIns="0" bIns="0" rtlCol="0">
            <a:noAutofit/>
          </a:bodyPr>
          <a:lstStyle>
            <a:lvl1pPr>
              <a:spcBef>
                <a:spcPts val="1200"/>
              </a:spcBef>
              <a:defRPr lang="en-US" dirty="0">
                <a:latin typeface="Roboto" panose="02000000000000000000" pitchFamily="2" charset="0"/>
                <a:ea typeface="Roboto" panose="02000000000000000000" pitchFamily="2" charset="0"/>
              </a:defRPr>
            </a:lvl1pPr>
            <a:lvl2pPr>
              <a:spcBef>
                <a:spcPts val="600"/>
              </a:spcBef>
              <a:defRPr lang="en-US" dirty="0">
                <a:latin typeface="Roboto" panose="02000000000000000000" pitchFamily="2" charset="0"/>
                <a:ea typeface="Roboto" panose="02000000000000000000" pitchFamily="2" charset="0"/>
              </a:defRPr>
            </a:lvl2pPr>
            <a:lvl3pPr>
              <a:spcBef>
                <a:spcPts val="600"/>
              </a:spcBef>
              <a:defRPr lang="en-US" dirty="0">
                <a:latin typeface="Roboto" panose="02000000000000000000" pitchFamily="2" charset="0"/>
                <a:ea typeface="Roboto" panose="02000000000000000000" pitchFamily="2" charset="0"/>
              </a:defRPr>
            </a:lvl3pPr>
          </a:lstStyle>
          <a:p>
            <a:pPr lvl="0"/>
            <a:r>
              <a:rPr lang="en-US"/>
              <a:t>First bullet, Roboto Regular 20 point</a:t>
            </a:r>
          </a:p>
          <a:p>
            <a:pPr lvl="1"/>
            <a:r>
              <a:rPr lang="en-US"/>
              <a:t>Second bullet, </a:t>
            </a:r>
            <a:r>
              <a:rPr lang="en-US" err="1"/>
              <a:t>Roboto</a:t>
            </a:r>
            <a:r>
              <a:rPr lang="en-US"/>
              <a:t> Regular 18 point</a:t>
            </a:r>
          </a:p>
          <a:p>
            <a:pPr lvl="2"/>
            <a:r>
              <a:rPr lang="en-US"/>
              <a:t>Third bullet, </a:t>
            </a:r>
            <a:r>
              <a:rPr lang="en-US" err="1"/>
              <a:t>Roboto</a:t>
            </a:r>
            <a:r>
              <a:rPr lang="en-US"/>
              <a:t> Regular 16 point</a:t>
            </a:r>
          </a:p>
        </p:txBody>
      </p:sp>
    </p:spTree>
    <p:extLst>
      <p:ext uri="{BB962C8B-B14F-4D97-AF65-F5344CB8AC3E}">
        <p14:creationId xmlns:p14="http://schemas.microsoft.com/office/powerpoint/2010/main" val="1565249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Content_option 3">
    <p:spTree>
      <p:nvGrpSpPr>
        <p:cNvPr id="1" name=""/>
        <p:cNvGrpSpPr/>
        <p:nvPr/>
      </p:nvGrpSpPr>
      <p:grpSpPr>
        <a:xfrm>
          <a:off x="0" y="0"/>
          <a:ext cx="0" cy="0"/>
          <a:chOff x="0" y="0"/>
          <a:chExt cx="0" cy="0"/>
        </a:xfrm>
      </p:grpSpPr>
      <p:sp>
        <p:nvSpPr>
          <p:cNvPr id="23" name="TextBox 22">
            <a:extLst>
              <a:ext uri="{FF2B5EF4-FFF2-40B4-BE49-F238E27FC236}">
                <a16:creationId xmlns:a16="http://schemas.microsoft.com/office/drawing/2014/main" id="{BCF260CE-EC9E-49A9-9345-D0C73BFC8564}"/>
              </a:ext>
            </a:extLst>
          </p:cNvPr>
          <p:cNvSpPr txBox="1"/>
          <p:nvPr userDrawn="1"/>
        </p:nvSpPr>
        <p:spPr>
          <a:xfrm>
            <a:off x="176868" y="6365108"/>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063" rtl="0" eaLnBrk="1" latinLnBrk="0" hangingPunct="1"/>
            <a:fld id="{64202F7F-356F-46E2-8791-88745C87F5D9}" type="slidenum">
              <a:rPr lang="en-US" sz="900" b="0" i="0" kern="1200" smtClean="0">
                <a:solidFill>
                  <a:schemeClr val="tx1">
                    <a:lumMod val="20000"/>
                    <a:lumOff val="80000"/>
                  </a:schemeClr>
                </a:solidFill>
                <a:latin typeface="Roboto" panose="02000000000000000000" pitchFamily="2" charset="0"/>
                <a:ea typeface="Roboto" panose="02000000000000000000" pitchFamily="2" charset="0"/>
                <a:cs typeface="Roboto" charset="0"/>
              </a:rPr>
              <a:pPr marL="0" lvl="0" algn="ctr" defTabSz="457063" rtl="0" eaLnBrk="1" latinLnBrk="0" hangingPunct="1"/>
              <a:t>‹#›</a:t>
            </a:fld>
            <a:endParaRPr lang="en-US" sz="900" b="0" i="0" kern="1200">
              <a:solidFill>
                <a:schemeClr val="tx1">
                  <a:lumMod val="20000"/>
                  <a:lumOff val="80000"/>
                </a:schemeClr>
              </a:solidFill>
              <a:latin typeface="Roboto" panose="02000000000000000000" pitchFamily="2" charset="0"/>
              <a:ea typeface="Roboto" panose="02000000000000000000" pitchFamily="2" charset="0"/>
              <a:cs typeface="Roboto" charset="0"/>
            </a:endParaRPr>
          </a:p>
        </p:txBody>
      </p:sp>
      <p:sp>
        <p:nvSpPr>
          <p:cNvPr id="3" name="TextBox 2">
            <a:extLst>
              <a:ext uri="{FF2B5EF4-FFF2-40B4-BE49-F238E27FC236}">
                <a16:creationId xmlns:a16="http://schemas.microsoft.com/office/drawing/2014/main" id="{8FE6C657-C7BA-4DE2-8E6E-209687CFF525}"/>
              </a:ext>
            </a:extLst>
          </p:cNvPr>
          <p:cNvSpPr txBox="1"/>
          <p:nvPr userDrawn="1"/>
        </p:nvSpPr>
        <p:spPr>
          <a:xfrm>
            <a:off x="1023709"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a:solidFill>
                  <a:schemeClr val="tx1">
                    <a:lumMod val="60000"/>
                    <a:lumOff val="40000"/>
                  </a:schemeClr>
                </a:solidFill>
                <a:latin typeface="Roboto" panose="02000000000000000000" pitchFamily="2" charset="0"/>
                <a:ea typeface="Roboto" panose="02000000000000000000" pitchFamily="2" charset="0"/>
                <a:cs typeface="Roboto" charset="0"/>
              </a:rPr>
              <a:t>© Informatica. Proprietary and Confidential.</a:t>
            </a:r>
          </a:p>
        </p:txBody>
      </p:sp>
      <p:sp>
        <p:nvSpPr>
          <p:cNvPr id="15" name="Title 1">
            <a:extLst>
              <a:ext uri="{FF2B5EF4-FFF2-40B4-BE49-F238E27FC236}">
                <a16:creationId xmlns:a16="http://schemas.microsoft.com/office/drawing/2014/main" id="{EA9FF02E-07BD-8C42-8DB3-7F3EBA36F422}"/>
              </a:ext>
            </a:extLst>
          </p:cNvPr>
          <p:cNvSpPr>
            <a:spLocks noGrp="1"/>
          </p:cNvSpPr>
          <p:nvPr>
            <p:ph type="title" hasCustomPrompt="1"/>
          </p:nvPr>
        </p:nvSpPr>
        <p:spPr>
          <a:xfrm>
            <a:off x="493714" y="482604"/>
            <a:ext cx="11188532" cy="562427"/>
          </a:xfrm>
          <a:prstGeom prst="rect">
            <a:avLst/>
          </a:prstGeom>
        </p:spPr>
        <p:txBody>
          <a:bodyPr lIns="0"/>
          <a:lstStyle>
            <a:lvl1pPr>
              <a:defRPr baseline="0">
                <a:solidFill>
                  <a:schemeClr val="bg1"/>
                </a:solidFill>
              </a:defRPr>
            </a:lvl1pPr>
          </a:lstStyle>
          <a:p>
            <a:r>
              <a:rPr lang="en-US"/>
              <a:t>Headline Goes Here, Roboto Light, 36 Points, Can Span 2 Lines</a:t>
            </a:r>
          </a:p>
        </p:txBody>
      </p:sp>
      <p:pic>
        <p:nvPicPr>
          <p:cNvPr id="9" name="Picture 8">
            <a:extLst>
              <a:ext uri="{FF2B5EF4-FFF2-40B4-BE49-F238E27FC236}">
                <a16:creationId xmlns:a16="http://schemas.microsoft.com/office/drawing/2014/main" id="{AD7BC26A-261D-884F-A9D2-61B266D20938}"/>
              </a:ext>
            </a:extLst>
          </p:cNvPr>
          <p:cNvPicPr>
            <a:picLocks noChangeAspect="1"/>
          </p:cNvPicPr>
          <p:nvPr userDrawn="1"/>
        </p:nvPicPr>
        <p:blipFill>
          <a:blip r:embed="rId2"/>
          <a:srcRect/>
          <a:stretch/>
        </p:blipFill>
        <p:spPr>
          <a:xfrm>
            <a:off x="9747648" y="6098796"/>
            <a:ext cx="2033013" cy="699990"/>
          </a:xfrm>
          <a:prstGeom prst="rect">
            <a:avLst/>
          </a:prstGeom>
        </p:spPr>
      </p:pic>
      <p:sp>
        <p:nvSpPr>
          <p:cNvPr id="8" name="Content Placeholder 5">
            <a:extLst>
              <a:ext uri="{FF2B5EF4-FFF2-40B4-BE49-F238E27FC236}">
                <a16:creationId xmlns:a16="http://schemas.microsoft.com/office/drawing/2014/main" id="{DED3E5F5-D822-2649-A909-BE0A5F74CE65}"/>
              </a:ext>
            </a:extLst>
          </p:cNvPr>
          <p:cNvSpPr>
            <a:spLocks noGrp="1"/>
          </p:cNvSpPr>
          <p:nvPr>
            <p:ph sz="quarter" idx="14" hasCustomPrompt="1"/>
          </p:nvPr>
        </p:nvSpPr>
        <p:spPr>
          <a:xfrm>
            <a:off x="934126" y="1854200"/>
            <a:ext cx="10650537" cy="4165600"/>
          </a:xfrm>
          <a:prstGeom prst="rect">
            <a:avLst/>
          </a:prstGeom>
        </p:spPr>
        <p:txBody>
          <a:bodyPr vert="horz" lIns="0" tIns="0" rIns="0" bIns="0" rtlCol="0">
            <a:noAutofit/>
          </a:bodyPr>
          <a:lstStyle>
            <a:lvl1pPr>
              <a:spcBef>
                <a:spcPts val="1200"/>
              </a:spcBef>
              <a:defRPr lang="en-US" dirty="0">
                <a:latin typeface="Roboto" panose="02000000000000000000" pitchFamily="2" charset="0"/>
                <a:ea typeface="Roboto" panose="02000000000000000000" pitchFamily="2" charset="0"/>
              </a:defRPr>
            </a:lvl1pPr>
            <a:lvl2pPr>
              <a:spcBef>
                <a:spcPts val="600"/>
              </a:spcBef>
              <a:defRPr lang="en-US" dirty="0">
                <a:latin typeface="Roboto" panose="02000000000000000000" pitchFamily="2" charset="0"/>
                <a:ea typeface="Roboto" panose="02000000000000000000" pitchFamily="2" charset="0"/>
              </a:defRPr>
            </a:lvl2pPr>
            <a:lvl3pPr>
              <a:spcBef>
                <a:spcPts val="600"/>
              </a:spcBef>
              <a:defRPr lang="en-US" dirty="0">
                <a:latin typeface="Roboto" panose="02000000000000000000" pitchFamily="2" charset="0"/>
                <a:ea typeface="Roboto" panose="02000000000000000000" pitchFamily="2" charset="0"/>
              </a:defRPr>
            </a:lvl3pPr>
          </a:lstStyle>
          <a:p>
            <a:pPr lvl="0"/>
            <a:r>
              <a:rPr lang="en-US"/>
              <a:t>First bullet, Roboto Regular 20 point</a:t>
            </a:r>
          </a:p>
          <a:p>
            <a:pPr lvl="1"/>
            <a:r>
              <a:rPr lang="en-US"/>
              <a:t>Second bullet, </a:t>
            </a:r>
            <a:r>
              <a:rPr lang="en-US" err="1"/>
              <a:t>Roboto</a:t>
            </a:r>
            <a:r>
              <a:rPr lang="en-US"/>
              <a:t> Regular 18 point</a:t>
            </a:r>
          </a:p>
          <a:p>
            <a:pPr lvl="2"/>
            <a:r>
              <a:rPr lang="en-US"/>
              <a:t>Third bullet, </a:t>
            </a:r>
            <a:r>
              <a:rPr lang="en-US" err="1"/>
              <a:t>Roboto</a:t>
            </a:r>
            <a:r>
              <a:rPr lang="en-US"/>
              <a:t> Regular 16 point</a:t>
            </a:r>
          </a:p>
        </p:txBody>
      </p:sp>
    </p:spTree>
    <p:extLst>
      <p:ext uri="{BB962C8B-B14F-4D97-AF65-F5344CB8AC3E}">
        <p14:creationId xmlns:p14="http://schemas.microsoft.com/office/powerpoint/2010/main" val="2182544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Subtitle ORANGE 1">
    <p:bg>
      <p:bgPr>
        <a:solidFill>
          <a:schemeClr val="accent2"/>
        </a:solidFill>
        <a:effectLst/>
      </p:bgPr>
    </p:bg>
    <p:spTree>
      <p:nvGrpSpPr>
        <p:cNvPr id="1" name=""/>
        <p:cNvGrpSpPr/>
        <p:nvPr/>
      </p:nvGrpSpPr>
      <p:grpSpPr>
        <a:xfrm>
          <a:off x="0" y="0"/>
          <a:ext cx="0" cy="0"/>
          <a:chOff x="0" y="0"/>
          <a:chExt cx="0" cy="0"/>
        </a:xfrm>
      </p:grpSpPr>
      <p:sp>
        <p:nvSpPr>
          <p:cNvPr id="8" name="Right Triangle 7">
            <a:extLst>
              <a:ext uri="{FF2B5EF4-FFF2-40B4-BE49-F238E27FC236}">
                <a16:creationId xmlns:a16="http://schemas.microsoft.com/office/drawing/2014/main" id="{669F07CB-6CE7-9244-9FCC-C8B28C951A65}"/>
              </a:ext>
            </a:extLst>
          </p:cNvPr>
          <p:cNvSpPr/>
          <p:nvPr userDrawn="1"/>
        </p:nvSpPr>
        <p:spPr>
          <a:xfrm rot="5400000" flipH="1">
            <a:off x="3831485" y="912772"/>
            <a:ext cx="2123832" cy="9786801"/>
          </a:xfrm>
          <a:prstGeom prst="rtTriangle">
            <a:avLst/>
          </a:prstGeom>
          <a:solidFill>
            <a:srgbClr val="FF8A1A"/>
          </a:solidFill>
          <a:ln>
            <a:noFill/>
          </a:ln>
        </p:spPr>
        <p:style>
          <a:lnRef idx="2">
            <a:schemeClr val="accent1">
              <a:shade val="50000"/>
            </a:schemeClr>
          </a:lnRef>
          <a:fillRef idx="1">
            <a:schemeClr val="accent1"/>
          </a:fillRef>
          <a:effectRef idx="0">
            <a:schemeClr val="accent1"/>
          </a:effectRef>
          <a:fontRef idx="minor">
            <a:schemeClr val="lt1"/>
          </a:fontRef>
        </p:style>
        <p:txBody>
          <a:bodyPr lIns="137124" tIns="91416" rIns="137124" bIns="91416" rtlCol="0" anchor="ct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95" name="Title 1">
            <a:extLst>
              <a:ext uri="{FF2B5EF4-FFF2-40B4-BE49-F238E27FC236}">
                <a16:creationId xmlns:a16="http://schemas.microsoft.com/office/drawing/2014/main" id="{48E5717B-9E58-49D2-9749-1479F91EEFDC}"/>
              </a:ext>
            </a:extLst>
          </p:cNvPr>
          <p:cNvSpPr>
            <a:spLocks noGrp="1"/>
          </p:cNvSpPr>
          <p:nvPr userDrawn="1">
            <p:ph type="title" hasCustomPrompt="1"/>
          </p:nvPr>
        </p:nvSpPr>
        <p:spPr>
          <a:xfrm>
            <a:off x="488951" y="482604"/>
            <a:ext cx="9670033" cy="562427"/>
          </a:xfrm>
          <a:prstGeom prst="rect">
            <a:avLst/>
          </a:prstGeom>
        </p:spPr>
        <p:txBody>
          <a:bodyPr lIns="0"/>
          <a:lstStyle>
            <a:lvl1pPr>
              <a:defRPr baseline="0">
                <a:solidFill>
                  <a:schemeClr val="bg1"/>
                </a:solidFill>
              </a:defRPr>
            </a:lvl1pPr>
          </a:lstStyle>
          <a:p>
            <a:r>
              <a:rPr lang="en-US"/>
              <a:t>Roboto Light, 36 Points, 1 Line</a:t>
            </a:r>
          </a:p>
        </p:txBody>
      </p:sp>
      <p:sp>
        <p:nvSpPr>
          <p:cNvPr id="2" name="TextBox 1">
            <a:extLst>
              <a:ext uri="{FF2B5EF4-FFF2-40B4-BE49-F238E27FC236}">
                <a16:creationId xmlns:a16="http://schemas.microsoft.com/office/drawing/2014/main" id="{9AC38ECF-A1CC-43FD-9E95-4F7D1897BA7B}"/>
              </a:ext>
            </a:extLst>
          </p:cNvPr>
          <p:cNvSpPr txBox="1"/>
          <p:nvPr userDrawn="1"/>
        </p:nvSpPr>
        <p:spPr>
          <a:xfrm>
            <a:off x="176868" y="6365108"/>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063" rtl="0" eaLnBrk="1" latinLnBrk="0" hangingPunct="1"/>
            <a:fld id="{64202F7F-356F-46E2-8791-88745C87F5D9}" type="slidenum">
              <a:rPr lang="en-US" sz="900" b="0" i="0" kern="1200" smtClean="0">
                <a:solidFill>
                  <a:schemeClr val="bg1"/>
                </a:solidFill>
                <a:latin typeface="Roboto" panose="02000000000000000000" pitchFamily="2" charset="0"/>
                <a:ea typeface="Roboto" panose="02000000000000000000" pitchFamily="2" charset="0"/>
                <a:cs typeface="Roboto" charset="0"/>
              </a:rPr>
              <a:pPr marL="0" lvl="0" algn="ctr" defTabSz="457063" rtl="0" eaLnBrk="1" latinLnBrk="0" hangingPunct="1"/>
              <a:t>‹#›</a:t>
            </a:fld>
            <a:endParaRPr lang="en-US" sz="900" b="0" i="0" kern="1200">
              <a:solidFill>
                <a:schemeClr val="bg1"/>
              </a:solidFill>
              <a:latin typeface="Roboto" panose="02000000000000000000" pitchFamily="2" charset="0"/>
              <a:ea typeface="Roboto" panose="02000000000000000000" pitchFamily="2" charset="0"/>
              <a:cs typeface="Roboto" charset="0"/>
            </a:endParaRPr>
          </a:p>
        </p:txBody>
      </p:sp>
      <p:sp>
        <p:nvSpPr>
          <p:cNvPr id="6" name="TextBox 5">
            <a:extLst>
              <a:ext uri="{FF2B5EF4-FFF2-40B4-BE49-F238E27FC236}">
                <a16:creationId xmlns:a16="http://schemas.microsoft.com/office/drawing/2014/main" id="{52025EE9-C26E-4F56-B597-3021BADF9185}"/>
              </a:ext>
            </a:extLst>
          </p:cNvPr>
          <p:cNvSpPr txBox="1"/>
          <p:nvPr userDrawn="1"/>
        </p:nvSpPr>
        <p:spPr>
          <a:xfrm>
            <a:off x="1023709"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a:solidFill>
                  <a:schemeClr val="bg1"/>
                </a:solidFill>
                <a:latin typeface="Roboto" panose="02000000000000000000" pitchFamily="2" charset="0"/>
                <a:ea typeface="Roboto" panose="02000000000000000000" pitchFamily="2" charset="0"/>
                <a:cs typeface="Roboto" charset="0"/>
              </a:rPr>
              <a:t>© Informatica. Proprietary and Confidential.</a:t>
            </a:r>
          </a:p>
        </p:txBody>
      </p:sp>
      <p:sp>
        <p:nvSpPr>
          <p:cNvPr id="12" name="Right Triangle 11">
            <a:extLst>
              <a:ext uri="{FF2B5EF4-FFF2-40B4-BE49-F238E27FC236}">
                <a16:creationId xmlns:a16="http://schemas.microsoft.com/office/drawing/2014/main" id="{8C0DFA46-A4E3-BE4B-A31A-9C5F2A9F4CC4}"/>
              </a:ext>
            </a:extLst>
          </p:cNvPr>
          <p:cNvSpPr/>
          <p:nvPr userDrawn="1"/>
        </p:nvSpPr>
        <p:spPr>
          <a:xfrm rot="5400000" flipH="1" flipV="1">
            <a:off x="8079706" y="2758967"/>
            <a:ext cx="2123830" cy="6094413"/>
          </a:xfrm>
          <a:prstGeom prst="r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37124" tIns="91416" rIns="137124" bIns="91416" rtlCol="0" anchor="ct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13" name="Right Triangle 12">
            <a:extLst>
              <a:ext uri="{FF2B5EF4-FFF2-40B4-BE49-F238E27FC236}">
                <a16:creationId xmlns:a16="http://schemas.microsoft.com/office/drawing/2014/main" id="{C645F251-41CA-1946-A312-E71DF4CB94F7}"/>
              </a:ext>
            </a:extLst>
          </p:cNvPr>
          <p:cNvSpPr/>
          <p:nvPr userDrawn="1"/>
        </p:nvSpPr>
        <p:spPr>
          <a:xfrm rot="5400000" flipH="1" flipV="1">
            <a:off x="8199801" y="2879063"/>
            <a:ext cx="1883641" cy="6094413"/>
          </a:xfrm>
          <a:prstGeom prst="rtTriangle">
            <a:avLst/>
          </a:prstGeom>
          <a:solidFill>
            <a:srgbClr val="070606"/>
          </a:solidFill>
          <a:ln>
            <a:noFill/>
          </a:ln>
        </p:spPr>
        <p:style>
          <a:lnRef idx="2">
            <a:schemeClr val="accent1">
              <a:shade val="50000"/>
            </a:schemeClr>
          </a:lnRef>
          <a:fillRef idx="1">
            <a:schemeClr val="accent1"/>
          </a:fillRef>
          <a:effectRef idx="0">
            <a:schemeClr val="accent1"/>
          </a:effectRef>
          <a:fontRef idx="minor">
            <a:schemeClr val="lt1"/>
          </a:fontRef>
        </p:style>
        <p:txBody>
          <a:bodyPr lIns="137124" tIns="91416" rIns="137124" bIns="91416" rtlCol="0" anchor="ct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pic>
        <p:nvPicPr>
          <p:cNvPr id="16" name="Picture 15">
            <a:extLst>
              <a:ext uri="{FF2B5EF4-FFF2-40B4-BE49-F238E27FC236}">
                <a16:creationId xmlns:a16="http://schemas.microsoft.com/office/drawing/2014/main" id="{F29DC8F1-D155-A04E-A1DF-0741A96BCDBD}"/>
              </a:ext>
            </a:extLst>
          </p:cNvPr>
          <p:cNvPicPr>
            <a:picLocks noChangeAspect="1"/>
          </p:cNvPicPr>
          <p:nvPr userDrawn="1"/>
        </p:nvPicPr>
        <p:blipFill>
          <a:blip r:embed="rId2"/>
          <a:stretch>
            <a:fillRect/>
          </a:stretch>
        </p:blipFill>
        <p:spPr>
          <a:xfrm>
            <a:off x="9742965" y="6094698"/>
            <a:ext cx="2041656" cy="704088"/>
          </a:xfrm>
          <a:prstGeom prst="rect">
            <a:avLst/>
          </a:prstGeom>
        </p:spPr>
      </p:pic>
      <p:sp>
        <p:nvSpPr>
          <p:cNvPr id="11" name="Text Placeholder 4">
            <a:extLst>
              <a:ext uri="{FF2B5EF4-FFF2-40B4-BE49-F238E27FC236}">
                <a16:creationId xmlns:a16="http://schemas.microsoft.com/office/drawing/2014/main" id="{9C16CCB3-7DB5-D145-B13C-1E1945A4D41C}"/>
              </a:ext>
            </a:extLst>
          </p:cNvPr>
          <p:cNvSpPr>
            <a:spLocks noGrp="1"/>
          </p:cNvSpPr>
          <p:nvPr>
            <p:ph type="body" sz="quarter" idx="13" hasCustomPrompt="1"/>
          </p:nvPr>
        </p:nvSpPr>
        <p:spPr>
          <a:xfrm>
            <a:off x="493714" y="1058901"/>
            <a:ext cx="9692640" cy="331601"/>
          </a:xfrm>
          <a:prstGeom prst="rect">
            <a:avLst/>
          </a:prstGeom>
        </p:spPr>
        <p:txBody>
          <a:bodyPr lIns="0" anchor="t"/>
          <a:lstStyle>
            <a:lvl1pPr marL="0" indent="0">
              <a:buNone/>
              <a:defRPr sz="2399" i="0">
                <a:solidFill>
                  <a:schemeClr val="bg1"/>
                </a:solidFill>
                <a:latin typeface="Roboto" panose="02000000000000000000" pitchFamily="2" charset="0"/>
                <a:ea typeface="Roboto" panose="02000000000000000000" pitchFamily="2" charset="0"/>
              </a:defRPr>
            </a:lvl1pPr>
            <a:lvl2pPr marL="169812" indent="0">
              <a:buNone/>
              <a:defRPr/>
            </a:lvl2pPr>
            <a:lvl3pPr marL="344384" indent="0">
              <a:buNone/>
              <a:defRPr/>
            </a:lvl3pPr>
            <a:lvl4pPr marL="458650" indent="0">
              <a:buNone/>
              <a:defRPr/>
            </a:lvl4pPr>
            <a:lvl5pPr marL="630048" indent="0">
              <a:buNone/>
              <a:defRPr/>
            </a:lvl5pPr>
          </a:lstStyle>
          <a:p>
            <a:pPr lvl="0"/>
            <a:r>
              <a:rPr lang="en-US"/>
              <a:t>Subtitle goes here, </a:t>
            </a:r>
            <a:r>
              <a:rPr lang="en-US" err="1"/>
              <a:t>Roboto</a:t>
            </a:r>
            <a:r>
              <a:rPr lang="en-US"/>
              <a:t> Regular 24 point, no longer than one line</a:t>
            </a:r>
          </a:p>
        </p:txBody>
      </p:sp>
    </p:spTree>
    <p:extLst>
      <p:ext uri="{BB962C8B-B14F-4D97-AF65-F5344CB8AC3E}">
        <p14:creationId xmlns:p14="http://schemas.microsoft.com/office/powerpoint/2010/main" val="537175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DARK">
    <p:spTree>
      <p:nvGrpSpPr>
        <p:cNvPr id="1" name=""/>
        <p:cNvGrpSpPr/>
        <p:nvPr/>
      </p:nvGrpSpPr>
      <p:grpSpPr>
        <a:xfrm>
          <a:off x="0" y="0"/>
          <a:ext cx="0" cy="0"/>
          <a:chOff x="0" y="0"/>
          <a:chExt cx="0" cy="0"/>
        </a:xfrm>
      </p:grpSpPr>
      <p:sp>
        <p:nvSpPr>
          <p:cNvPr id="7" name="Right Triangle 6">
            <a:extLst>
              <a:ext uri="{FF2B5EF4-FFF2-40B4-BE49-F238E27FC236}">
                <a16:creationId xmlns:a16="http://schemas.microsoft.com/office/drawing/2014/main" id="{AEA81D97-3134-482F-8B85-DBAD6E963C4A}"/>
              </a:ext>
            </a:extLst>
          </p:cNvPr>
          <p:cNvSpPr/>
          <p:nvPr userDrawn="1"/>
        </p:nvSpPr>
        <p:spPr>
          <a:xfrm>
            <a:off x="0" y="2761950"/>
            <a:ext cx="702453" cy="4096050"/>
          </a:xfrm>
          <a:prstGeom prst="r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37124" tIns="91416" rIns="137124" bIns="91416" rtlCol="0" anchor="ct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3" name="TextBox 2">
            <a:extLst>
              <a:ext uri="{FF2B5EF4-FFF2-40B4-BE49-F238E27FC236}">
                <a16:creationId xmlns:a16="http://schemas.microsoft.com/office/drawing/2014/main" id="{9E4B4709-7C2B-4FD8-9933-DAF4E15383F8}"/>
              </a:ext>
            </a:extLst>
          </p:cNvPr>
          <p:cNvSpPr txBox="1"/>
          <p:nvPr userDrawn="1"/>
        </p:nvSpPr>
        <p:spPr>
          <a:xfrm>
            <a:off x="1023709"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a:solidFill>
                  <a:schemeClr val="tx1">
                    <a:lumMod val="60000"/>
                    <a:lumOff val="40000"/>
                  </a:schemeClr>
                </a:solidFill>
                <a:latin typeface="Roboto" panose="02000000000000000000" pitchFamily="2" charset="0"/>
                <a:ea typeface="Roboto" panose="02000000000000000000" pitchFamily="2" charset="0"/>
                <a:cs typeface="Roboto" charset="0"/>
              </a:rPr>
              <a:t>© Informatica. Proprietary and Confidential.</a:t>
            </a:r>
          </a:p>
        </p:txBody>
      </p:sp>
      <p:pic>
        <p:nvPicPr>
          <p:cNvPr id="8" name="Picture 7">
            <a:extLst>
              <a:ext uri="{FF2B5EF4-FFF2-40B4-BE49-F238E27FC236}">
                <a16:creationId xmlns:a16="http://schemas.microsoft.com/office/drawing/2014/main" id="{F9B15683-6072-4877-B962-2555270CD195}"/>
              </a:ext>
            </a:extLst>
          </p:cNvPr>
          <p:cNvPicPr>
            <a:picLocks noChangeAspect="1"/>
          </p:cNvPicPr>
          <p:nvPr userDrawn="1"/>
        </p:nvPicPr>
        <p:blipFill>
          <a:blip r:embed="rId2"/>
          <a:stretch>
            <a:fillRect/>
          </a:stretch>
        </p:blipFill>
        <p:spPr>
          <a:xfrm>
            <a:off x="9742965" y="6094698"/>
            <a:ext cx="2041656" cy="704088"/>
          </a:xfrm>
          <a:prstGeom prst="rect">
            <a:avLst/>
          </a:prstGeom>
        </p:spPr>
      </p:pic>
      <p:sp>
        <p:nvSpPr>
          <p:cNvPr id="10" name="Right Triangle 9">
            <a:extLst>
              <a:ext uri="{FF2B5EF4-FFF2-40B4-BE49-F238E27FC236}">
                <a16:creationId xmlns:a16="http://schemas.microsoft.com/office/drawing/2014/main" id="{F3323126-CA08-4244-A95C-D79788E99143}"/>
              </a:ext>
            </a:extLst>
          </p:cNvPr>
          <p:cNvSpPr/>
          <p:nvPr userDrawn="1"/>
        </p:nvSpPr>
        <p:spPr>
          <a:xfrm>
            <a:off x="1" y="2761950"/>
            <a:ext cx="590764" cy="4096050"/>
          </a:xfrm>
          <a:prstGeom prst="rtTriangle">
            <a:avLst/>
          </a:prstGeom>
          <a:gradFill>
            <a:gsLst>
              <a:gs pos="0">
                <a:schemeClr val="accent2"/>
              </a:gs>
              <a:gs pos="76000">
                <a:srgbClr val="FF6500"/>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7124" tIns="91416" rIns="137124" bIns="91416" rtlCol="0" anchor="ctr">
            <a:noAutofit/>
          </a:bodyPr>
          <a:lstStyle/>
          <a:p>
            <a:pPr lvl="0"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5" name="TextBox 4">
            <a:extLst>
              <a:ext uri="{FF2B5EF4-FFF2-40B4-BE49-F238E27FC236}">
                <a16:creationId xmlns:a16="http://schemas.microsoft.com/office/drawing/2014/main" id="{3D625EBE-6EFB-4A48-B9E9-BB18863DFEC3}"/>
              </a:ext>
            </a:extLst>
          </p:cNvPr>
          <p:cNvSpPr txBox="1"/>
          <p:nvPr userDrawn="1"/>
        </p:nvSpPr>
        <p:spPr>
          <a:xfrm>
            <a:off x="176868" y="6365108"/>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063" rtl="0" eaLnBrk="1" latinLnBrk="0" hangingPunct="1"/>
            <a:fld id="{64202F7F-356F-46E2-8791-88745C87F5D9}" type="slidenum">
              <a:rPr lang="en-US" sz="900" b="0" i="0" kern="1200" smtClean="0">
                <a:solidFill>
                  <a:schemeClr val="bg1"/>
                </a:solidFill>
                <a:latin typeface="Roboto" panose="02000000000000000000" pitchFamily="2" charset="0"/>
                <a:ea typeface="Roboto" panose="02000000000000000000" pitchFamily="2" charset="0"/>
                <a:cs typeface="Roboto" charset="0"/>
              </a:rPr>
              <a:pPr marL="0" lvl="0" algn="ctr" defTabSz="457063" rtl="0" eaLnBrk="1" latinLnBrk="0" hangingPunct="1"/>
              <a:t>‹#›</a:t>
            </a:fld>
            <a:endParaRPr lang="en-US" sz="900" b="0" i="0" kern="1200">
              <a:solidFill>
                <a:schemeClr val="bg1"/>
              </a:solidFill>
              <a:latin typeface="Roboto" panose="02000000000000000000" pitchFamily="2" charset="0"/>
              <a:ea typeface="Roboto" panose="02000000000000000000" pitchFamily="2" charset="0"/>
              <a:cs typeface="Roboto" charset="0"/>
            </a:endParaRPr>
          </a:p>
        </p:txBody>
      </p:sp>
    </p:spTree>
    <p:extLst>
      <p:ext uri="{BB962C8B-B14F-4D97-AF65-F5344CB8AC3E}">
        <p14:creationId xmlns:p14="http://schemas.microsoft.com/office/powerpoint/2010/main" val="1337671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w/ clouds">
    <p:spTree>
      <p:nvGrpSpPr>
        <p:cNvPr id="1" name=""/>
        <p:cNvGrpSpPr/>
        <p:nvPr/>
      </p:nvGrpSpPr>
      <p:grpSpPr>
        <a:xfrm>
          <a:off x="0" y="0"/>
          <a:ext cx="0" cy="0"/>
          <a:chOff x="0" y="0"/>
          <a:chExt cx="0" cy="0"/>
        </a:xfrm>
      </p:grpSpPr>
      <p:sp>
        <p:nvSpPr>
          <p:cNvPr id="7" name="Freeform 6">
            <a:extLst>
              <a:ext uri="{FF2B5EF4-FFF2-40B4-BE49-F238E27FC236}">
                <a16:creationId xmlns:a16="http://schemas.microsoft.com/office/drawing/2014/main" id="{37D64DD1-13FA-0945-A691-2EB35B59E3E3}"/>
              </a:ext>
            </a:extLst>
          </p:cNvPr>
          <p:cNvSpPr/>
          <p:nvPr userDrawn="1"/>
        </p:nvSpPr>
        <p:spPr>
          <a:xfrm>
            <a:off x="7407017" y="4547198"/>
            <a:ext cx="4785372" cy="2310802"/>
          </a:xfrm>
          <a:custGeom>
            <a:avLst/>
            <a:gdLst>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16268 w 4717029"/>
              <a:gd name="connsiteY12" fmla="*/ 1924881 h 2310802"/>
              <a:gd name="connsiteX13" fmla="*/ 537304 w 4717029"/>
              <a:gd name="connsiteY13" fmla="*/ 1927002 h 2310802"/>
              <a:gd name="connsiteX14" fmla="*/ 555320 w 4717029"/>
              <a:gd name="connsiteY14" fmla="*/ 1748290 h 2310802"/>
              <a:gd name="connsiteX15" fmla="*/ 1458267 w 4717029"/>
              <a:gd name="connsiteY15" fmla="*/ 1012367 h 2310802"/>
              <a:gd name="connsiteX16" fmla="*/ 2307510 w 4717029"/>
              <a:gd name="connsiteY16" fmla="*/ 1575283 h 2310802"/>
              <a:gd name="connsiteX17" fmla="*/ 2359658 w 4717029"/>
              <a:gd name="connsiteY17" fmla="*/ 1743278 h 2310802"/>
              <a:gd name="connsiteX18" fmla="*/ 2697671 w 4717029"/>
              <a:gd name="connsiteY18" fmla="*/ 1743278 h 2310802"/>
              <a:gd name="connsiteX19" fmla="*/ 2691684 w 4717029"/>
              <a:gd name="connsiteY19" fmla="*/ 1683894 h 2310802"/>
              <a:gd name="connsiteX20" fmla="*/ 3479644 w 4717029"/>
              <a:gd name="connsiteY20" fmla="*/ 895934 h 2310802"/>
              <a:gd name="connsiteX21" fmla="*/ 3555657 w 4717029"/>
              <a:gd name="connsiteY21" fmla="*/ 899772 h 2310802"/>
              <a:gd name="connsiteX22" fmla="*/ 3556684 w 4717029"/>
              <a:gd name="connsiteY22" fmla="*/ 889585 h 2310802"/>
              <a:gd name="connsiteX23" fmla="*/ 4648168 w 4717029"/>
              <a:gd name="connsiteY23"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16268 w 4717029"/>
              <a:gd name="connsiteY12" fmla="*/ 1924881 h 2310802"/>
              <a:gd name="connsiteX13" fmla="*/ 555320 w 4717029"/>
              <a:gd name="connsiteY13" fmla="*/ 1748290 h 2310802"/>
              <a:gd name="connsiteX14" fmla="*/ 1458267 w 4717029"/>
              <a:gd name="connsiteY14" fmla="*/ 1012367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55320 w 4717029"/>
              <a:gd name="connsiteY13" fmla="*/ 1748290 h 2310802"/>
              <a:gd name="connsiteX14" fmla="*/ 1458267 w 4717029"/>
              <a:gd name="connsiteY14" fmla="*/ 1012367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55320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55320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55320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73608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73608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73608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479620 w 4717029"/>
              <a:gd name="connsiteY14" fmla="*/ 1020114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6903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76504 w 4745365"/>
              <a:gd name="connsiteY0" fmla="*/ 0 h 2310802"/>
              <a:gd name="connsiteX1" fmla="*/ 4745365 w 4745365"/>
              <a:gd name="connsiteY1" fmla="*/ 3477 h 2310802"/>
              <a:gd name="connsiteX2" fmla="*/ 4745365 w 4745365"/>
              <a:gd name="connsiteY2" fmla="*/ 2224761 h 2310802"/>
              <a:gd name="connsiteX3" fmla="*/ 4676504 w 4745365"/>
              <a:gd name="connsiteY3" fmla="*/ 2228238 h 2310802"/>
              <a:gd name="connsiteX4" fmla="*/ 4193487 w 4745365"/>
              <a:gd name="connsiteY4" fmla="*/ 2118374 h 2310802"/>
              <a:gd name="connsiteX5" fmla="*/ 4171520 w 4745365"/>
              <a:gd name="connsiteY5" fmla="*/ 2105748 h 2310802"/>
              <a:gd name="connsiteX6" fmla="*/ 4161369 w 4745365"/>
              <a:gd name="connsiteY6" fmla="*/ 2124450 h 2310802"/>
              <a:gd name="connsiteX7" fmla="*/ 4065152 w 4745365"/>
              <a:gd name="connsiteY7" fmla="*/ 2241066 h 2310802"/>
              <a:gd name="connsiteX8" fmla="*/ 3986221 w 4745365"/>
              <a:gd name="connsiteY8" fmla="*/ 2306190 h 2310802"/>
              <a:gd name="connsiteX9" fmla="*/ 3986221 w 4745365"/>
              <a:gd name="connsiteY9" fmla="*/ 2310802 h 2310802"/>
              <a:gd name="connsiteX10" fmla="*/ 0 w 4745365"/>
              <a:gd name="connsiteY10" fmla="*/ 2310802 h 2310802"/>
              <a:gd name="connsiteX11" fmla="*/ 45422 w 4745365"/>
              <a:gd name="connsiteY11" fmla="*/ 2255761 h 2310802"/>
              <a:gd name="connsiteX12" fmla="*/ 551119 w 4745365"/>
              <a:gd name="connsiteY12" fmla="*/ 1890083 h 2310802"/>
              <a:gd name="connsiteX13" fmla="*/ 575332 w 4745365"/>
              <a:gd name="connsiteY13" fmla="*/ 1748290 h 2310802"/>
              <a:gd name="connsiteX14" fmla="*/ 1504807 w 4745365"/>
              <a:gd name="connsiteY14" fmla="*/ 1035989 h 2310802"/>
              <a:gd name="connsiteX15" fmla="*/ 2335846 w 4745365"/>
              <a:gd name="connsiteY15" fmla="*/ 1575283 h 2310802"/>
              <a:gd name="connsiteX16" fmla="*/ 2387994 w 4745365"/>
              <a:gd name="connsiteY16" fmla="*/ 1743278 h 2310802"/>
              <a:gd name="connsiteX17" fmla="*/ 2726007 w 4745365"/>
              <a:gd name="connsiteY17" fmla="*/ 1743278 h 2310802"/>
              <a:gd name="connsiteX18" fmla="*/ 2720020 w 4745365"/>
              <a:gd name="connsiteY18" fmla="*/ 1683894 h 2310802"/>
              <a:gd name="connsiteX19" fmla="*/ 3507980 w 4745365"/>
              <a:gd name="connsiteY19" fmla="*/ 895934 h 2310802"/>
              <a:gd name="connsiteX20" fmla="*/ 3583993 w 4745365"/>
              <a:gd name="connsiteY20" fmla="*/ 899772 h 2310802"/>
              <a:gd name="connsiteX21" fmla="*/ 3585020 w 4745365"/>
              <a:gd name="connsiteY21" fmla="*/ 889585 h 2310802"/>
              <a:gd name="connsiteX22" fmla="*/ 4676504 w 4745365"/>
              <a:gd name="connsiteY22" fmla="*/ 0 h 2310802"/>
              <a:gd name="connsiteX0" fmla="*/ 4676504 w 4745365"/>
              <a:gd name="connsiteY0" fmla="*/ 0 h 2310802"/>
              <a:gd name="connsiteX1" fmla="*/ 4745365 w 4745365"/>
              <a:gd name="connsiteY1" fmla="*/ 3477 h 2310802"/>
              <a:gd name="connsiteX2" fmla="*/ 4745365 w 4745365"/>
              <a:gd name="connsiteY2" fmla="*/ 2224761 h 2310802"/>
              <a:gd name="connsiteX3" fmla="*/ 4676504 w 4745365"/>
              <a:gd name="connsiteY3" fmla="*/ 2228238 h 2310802"/>
              <a:gd name="connsiteX4" fmla="*/ 4193487 w 4745365"/>
              <a:gd name="connsiteY4" fmla="*/ 2118374 h 2310802"/>
              <a:gd name="connsiteX5" fmla="*/ 4171520 w 4745365"/>
              <a:gd name="connsiteY5" fmla="*/ 2105748 h 2310802"/>
              <a:gd name="connsiteX6" fmla="*/ 4161369 w 4745365"/>
              <a:gd name="connsiteY6" fmla="*/ 2124450 h 2310802"/>
              <a:gd name="connsiteX7" fmla="*/ 4065152 w 4745365"/>
              <a:gd name="connsiteY7" fmla="*/ 2241066 h 2310802"/>
              <a:gd name="connsiteX8" fmla="*/ 3986221 w 4745365"/>
              <a:gd name="connsiteY8" fmla="*/ 2306190 h 2310802"/>
              <a:gd name="connsiteX9" fmla="*/ 3986221 w 4745365"/>
              <a:gd name="connsiteY9" fmla="*/ 2310802 h 2310802"/>
              <a:gd name="connsiteX10" fmla="*/ 0 w 4745365"/>
              <a:gd name="connsiteY10" fmla="*/ 2310802 h 2310802"/>
              <a:gd name="connsiteX11" fmla="*/ 35977 w 4745365"/>
              <a:gd name="connsiteY11" fmla="*/ 2249411 h 2310802"/>
              <a:gd name="connsiteX12" fmla="*/ 551119 w 4745365"/>
              <a:gd name="connsiteY12" fmla="*/ 1890083 h 2310802"/>
              <a:gd name="connsiteX13" fmla="*/ 575332 w 4745365"/>
              <a:gd name="connsiteY13" fmla="*/ 1748290 h 2310802"/>
              <a:gd name="connsiteX14" fmla="*/ 1504807 w 4745365"/>
              <a:gd name="connsiteY14" fmla="*/ 1035989 h 2310802"/>
              <a:gd name="connsiteX15" fmla="*/ 2335846 w 4745365"/>
              <a:gd name="connsiteY15" fmla="*/ 1575283 h 2310802"/>
              <a:gd name="connsiteX16" fmla="*/ 2387994 w 4745365"/>
              <a:gd name="connsiteY16" fmla="*/ 1743278 h 2310802"/>
              <a:gd name="connsiteX17" fmla="*/ 2726007 w 4745365"/>
              <a:gd name="connsiteY17" fmla="*/ 1743278 h 2310802"/>
              <a:gd name="connsiteX18" fmla="*/ 2720020 w 4745365"/>
              <a:gd name="connsiteY18" fmla="*/ 1683894 h 2310802"/>
              <a:gd name="connsiteX19" fmla="*/ 3507980 w 4745365"/>
              <a:gd name="connsiteY19" fmla="*/ 895934 h 2310802"/>
              <a:gd name="connsiteX20" fmla="*/ 3583993 w 4745365"/>
              <a:gd name="connsiteY20" fmla="*/ 899772 h 2310802"/>
              <a:gd name="connsiteX21" fmla="*/ 3585020 w 4745365"/>
              <a:gd name="connsiteY21" fmla="*/ 889585 h 2310802"/>
              <a:gd name="connsiteX22" fmla="*/ 4676504 w 4745365"/>
              <a:gd name="connsiteY22" fmla="*/ 0 h 2310802"/>
              <a:gd name="connsiteX0" fmla="*/ 4676504 w 4745365"/>
              <a:gd name="connsiteY0" fmla="*/ 0 h 2310802"/>
              <a:gd name="connsiteX1" fmla="*/ 4745365 w 4745365"/>
              <a:gd name="connsiteY1" fmla="*/ 3477 h 2310802"/>
              <a:gd name="connsiteX2" fmla="*/ 4745365 w 4745365"/>
              <a:gd name="connsiteY2" fmla="*/ 2224761 h 2310802"/>
              <a:gd name="connsiteX3" fmla="*/ 4676504 w 4745365"/>
              <a:gd name="connsiteY3" fmla="*/ 2228238 h 2310802"/>
              <a:gd name="connsiteX4" fmla="*/ 4193487 w 4745365"/>
              <a:gd name="connsiteY4" fmla="*/ 2118374 h 2310802"/>
              <a:gd name="connsiteX5" fmla="*/ 4171520 w 4745365"/>
              <a:gd name="connsiteY5" fmla="*/ 2105748 h 2310802"/>
              <a:gd name="connsiteX6" fmla="*/ 4161369 w 4745365"/>
              <a:gd name="connsiteY6" fmla="*/ 2124450 h 2310802"/>
              <a:gd name="connsiteX7" fmla="*/ 4065152 w 4745365"/>
              <a:gd name="connsiteY7" fmla="*/ 2241066 h 2310802"/>
              <a:gd name="connsiteX8" fmla="*/ 3986221 w 4745365"/>
              <a:gd name="connsiteY8" fmla="*/ 2306190 h 2310802"/>
              <a:gd name="connsiteX9" fmla="*/ 3986221 w 4745365"/>
              <a:gd name="connsiteY9" fmla="*/ 2310802 h 2310802"/>
              <a:gd name="connsiteX10" fmla="*/ 0 w 4745365"/>
              <a:gd name="connsiteY10" fmla="*/ 2310802 h 2310802"/>
              <a:gd name="connsiteX11" fmla="*/ 35977 w 4745365"/>
              <a:gd name="connsiteY11" fmla="*/ 2249411 h 2310802"/>
              <a:gd name="connsiteX12" fmla="*/ 551119 w 4745365"/>
              <a:gd name="connsiteY12" fmla="*/ 1890083 h 2310802"/>
              <a:gd name="connsiteX13" fmla="*/ 575332 w 4745365"/>
              <a:gd name="connsiteY13" fmla="*/ 1748290 h 2310802"/>
              <a:gd name="connsiteX14" fmla="*/ 1504807 w 4745365"/>
              <a:gd name="connsiteY14" fmla="*/ 1035989 h 2310802"/>
              <a:gd name="connsiteX15" fmla="*/ 2335846 w 4745365"/>
              <a:gd name="connsiteY15" fmla="*/ 1575283 h 2310802"/>
              <a:gd name="connsiteX16" fmla="*/ 2387994 w 4745365"/>
              <a:gd name="connsiteY16" fmla="*/ 1743278 h 2310802"/>
              <a:gd name="connsiteX17" fmla="*/ 2726007 w 4745365"/>
              <a:gd name="connsiteY17" fmla="*/ 1743278 h 2310802"/>
              <a:gd name="connsiteX18" fmla="*/ 2720020 w 4745365"/>
              <a:gd name="connsiteY18" fmla="*/ 1683894 h 2310802"/>
              <a:gd name="connsiteX19" fmla="*/ 3507980 w 4745365"/>
              <a:gd name="connsiteY19" fmla="*/ 895934 h 2310802"/>
              <a:gd name="connsiteX20" fmla="*/ 3583993 w 4745365"/>
              <a:gd name="connsiteY20" fmla="*/ 899772 h 2310802"/>
              <a:gd name="connsiteX21" fmla="*/ 3585020 w 4745365"/>
              <a:gd name="connsiteY21" fmla="*/ 889585 h 2310802"/>
              <a:gd name="connsiteX22" fmla="*/ 4676504 w 4745365"/>
              <a:gd name="connsiteY22" fmla="*/ 0 h 2310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45365" h="2310802">
                <a:moveTo>
                  <a:pt x="4676504" y="0"/>
                </a:moveTo>
                <a:lnTo>
                  <a:pt x="4745365" y="3477"/>
                </a:lnTo>
                <a:lnTo>
                  <a:pt x="4745365" y="2224761"/>
                </a:lnTo>
                <a:lnTo>
                  <a:pt x="4676504" y="2228238"/>
                </a:lnTo>
                <a:cubicBezTo>
                  <a:pt x="4503447" y="2228238"/>
                  <a:pt x="4339607" y="2188782"/>
                  <a:pt x="4193487" y="2118374"/>
                </a:cubicBezTo>
                <a:lnTo>
                  <a:pt x="4171520" y="2105748"/>
                </a:lnTo>
                <a:lnTo>
                  <a:pt x="4161369" y="2124450"/>
                </a:lnTo>
                <a:cubicBezTo>
                  <a:pt x="4133048" y="2166370"/>
                  <a:pt x="4100800" y="2205418"/>
                  <a:pt x="4065152" y="2241066"/>
                </a:cubicBezTo>
                <a:lnTo>
                  <a:pt x="3986221" y="2306190"/>
                </a:lnTo>
                <a:lnTo>
                  <a:pt x="3986221" y="2310802"/>
                </a:lnTo>
                <a:lnTo>
                  <a:pt x="0" y="2310802"/>
                </a:lnTo>
                <a:lnTo>
                  <a:pt x="35977" y="2249411"/>
                </a:lnTo>
                <a:cubicBezTo>
                  <a:pt x="146556" y="2054967"/>
                  <a:pt x="326716" y="1890083"/>
                  <a:pt x="551119" y="1890083"/>
                </a:cubicBezTo>
                <a:cubicBezTo>
                  <a:pt x="553569" y="1819535"/>
                  <a:pt x="576031" y="1793438"/>
                  <a:pt x="575332" y="1748290"/>
                </a:cubicBezTo>
                <a:cubicBezTo>
                  <a:pt x="699055" y="1334650"/>
                  <a:pt x="1082288" y="1035078"/>
                  <a:pt x="1504807" y="1035989"/>
                </a:cubicBezTo>
                <a:cubicBezTo>
                  <a:pt x="1865747" y="1036767"/>
                  <a:pt x="2195928" y="1244481"/>
                  <a:pt x="2335846" y="1575283"/>
                </a:cubicBezTo>
                <a:lnTo>
                  <a:pt x="2387994" y="1743278"/>
                </a:lnTo>
                <a:lnTo>
                  <a:pt x="2726007" y="1743278"/>
                </a:lnTo>
                <a:lnTo>
                  <a:pt x="2720020" y="1683894"/>
                </a:lnTo>
                <a:cubicBezTo>
                  <a:pt x="2720020" y="1248716"/>
                  <a:pt x="3072802" y="895934"/>
                  <a:pt x="3507980" y="895934"/>
                </a:cubicBezTo>
                <a:lnTo>
                  <a:pt x="3583993" y="899772"/>
                </a:lnTo>
                <a:cubicBezTo>
                  <a:pt x="3584335" y="896376"/>
                  <a:pt x="3584678" y="892981"/>
                  <a:pt x="3585020" y="889585"/>
                </a:cubicBezTo>
                <a:cubicBezTo>
                  <a:pt x="3688907" y="381900"/>
                  <a:pt x="4138107" y="0"/>
                  <a:pt x="467650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7124" tIns="91416" rIns="137124" bIns="91416" rtlCol="0" anchor="ctr">
            <a:noAutofit/>
          </a:bodyP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9" name="Freeform 8">
            <a:extLst>
              <a:ext uri="{FF2B5EF4-FFF2-40B4-BE49-F238E27FC236}">
                <a16:creationId xmlns:a16="http://schemas.microsoft.com/office/drawing/2014/main" id="{B9F3D152-7B4C-7246-81AF-EC41C2C2E771}"/>
              </a:ext>
            </a:extLst>
          </p:cNvPr>
          <p:cNvSpPr/>
          <p:nvPr userDrawn="1"/>
        </p:nvSpPr>
        <p:spPr>
          <a:xfrm>
            <a:off x="7727999" y="4675237"/>
            <a:ext cx="4461444" cy="2182765"/>
          </a:xfrm>
          <a:custGeom>
            <a:avLst/>
            <a:gdLst>
              <a:gd name="connsiteX0" fmla="*/ 4461444 w 4461444"/>
              <a:gd name="connsiteY0" fmla="*/ 0 h 2182765"/>
              <a:gd name="connsiteX1" fmla="*/ 4461444 w 4461444"/>
              <a:gd name="connsiteY1" fmla="*/ 2182765 h 2182765"/>
              <a:gd name="connsiteX2" fmla="*/ 0 w 4461444"/>
              <a:gd name="connsiteY2" fmla="*/ 2182765 h 2182765"/>
              <a:gd name="connsiteX3" fmla="*/ 24342 w 4461444"/>
              <a:gd name="connsiteY3" fmla="*/ 2153263 h 2182765"/>
              <a:gd name="connsiteX4" fmla="*/ 481037 w 4461444"/>
              <a:gd name="connsiteY4" fmla="*/ 1964093 h 2182765"/>
              <a:gd name="connsiteX5" fmla="*/ 732436 w 4461444"/>
              <a:gd name="connsiteY5" fmla="*/ 2014848 h 2182765"/>
              <a:gd name="connsiteX6" fmla="*/ 787285 w 4461444"/>
              <a:gd name="connsiteY6" fmla="*/ 2044619 h 2182765"/>
              <a:gd name="connsiteX7" fmla="*/ 809805 w 4461444"/>
              <a:gd name="connsiteY7" fmla="*/ 1961250 h 2182765"/>
              <a:gd name="connsiteX8" fmla="*/ 1286315 w 4461444"/>
              <a:gd name="connsiteY8" fmla="*/ 1550577 h 2182765"/>
              <a:gd name="connsiteX9" fmla="*/ 1321466 w 4461444"/>
              <a:gd name="connsiteY9" fmla="*/ 1547033 h 2182765"/>
              <a:gd name="connsiteX10" fmla="*/ 1323271 w 4461444"/>
              <a:gd name="connsiteY10" fmla="*/ 1529127 h 2182765"/>
              <a:gd name="connsiteX11" fmla="*/ 2205095 w 4461444"/>
              <a:gd name="connsiteY11" fmla="*/ 810420 h 2182765"/>
              <a:gd name="connsiteX12" fmla="*/ 2708356 w 4461444"/>
              <a:gd name="connsiteY12" fmla="*/ 964145 h 2182765"/>
              <a:gd name="connsiteX13" fmla="*/ 2798296 w 4461444"/>
              <a:gd name="connsiteY13" fmla="*/ 1038353 h 2182765"/>
              <a:gd name="connsiteX14" fmla="*/ 2868637 w 4461444"/>
              <a:gd name="connsiteY14" fmla="*/ 1020266 h 2182765"/>
              <a:gd name="connsiteX15" fmla="*/ 3050041 w 4461444"/>
              <a:gd name="connsiteY15" fmla="*/ 1001979 h 2182765"/>
              <a:gd name="connsiteX16" fmla="*/ 3231445 w 4461444"/>
              <a:gd name="connsiteY16" fmla="*/ 1020266 h 2182765"/>
              <a:gd name="connsiteX17" fmla="*/ 3245588 w 4461444"/>
              <a:gd name="connsiteY17" fmla="*/ 1023903 h 2182765"/>
              <a:gd name="connsiteX18" fmla="*/ 3297823 w 4461444"/>
              <a:gd name="connsiteY18" fmla="*/ 960592 h 2182765"/>
              <a:gd name="connsiteX19" fmla="*/ 3934298 w 4461444"/>
              <a:gd name="connsiteY19" fmla="*/ 696956 h 2182765"/>
              <a:gd name="connsiteX20" fmla="*/ 4115702 w 4461444"/>
              <a:gd name="connsiteY20" fmla="*/ 715243 h 2182765"/>
              <a:gd name="connsiteX21" fmla="*/ 4127211 w 4461444"/>
              <a:gd name="connsiteY21" fmla="*/ 718203 h 2182765"/>
              <a:gd name="connsiteX22" fmla="*/ 4126073 w 4461444"/>
              <a:gd name="connsiteY22" fmla="*/ 695661 h 2182765"/>
              <a:gd name="connsiteX23" fmla="*/ 4389709 w 4461444"/>
              <a:gd name="connsiteY23" fmla="*/ 59186 h 2182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461444" h="2182765">
                <a:moveTo>
                  <a:pt x="4461444" y="0"/>
                </a:moveTo>
                <a:lnTo>
                  <a:pt x="4461444" y="2182765"/>
                </a:lnTo>
                <a:lnTo>
                  <a:pt x="0" y="2182765"/>
                </a:lnTo>
                <a:lnTo>
                  <a:pt x="24342" y="2153263"/>
                </a:lnTo>
                <a:cubicBezTo>
                  <a:pt x="141221" y="2036384"/>
                  <a:pt x="302687" y="1964093"/>
                  <a:pt x="481037" y="1964093"/>
                </a:cubicBezTo>
                <a:cubicBezTo>
                  <a:pt x="570212" y="1964093"/>
                  <a:pt x="655166" y="1982166"/>
                  <a:pt x="732436" y="2014848"/>
                </a:cubicBezTo>
                <a:lnTo>
                  <a:pt x="787285" y="2044619"/>
                </a:lnTo>
                <a:lnTo>
                  <a:pt x="809805" y="1961250"/>
                </a:lnTo>
                <a:cubicBezTo>
                  <a:pt x="885867" y="1753515"/>
                  <a:pt x="1065582" y="1595745"/>
                  <a:pt x="1286315" y="1550577"/>
                </a:cubicBezTo>
                <a:lnTo>
                  <a:pt x="1321466" y="1547033"/>
                </a:lnTo>
                <a:lnTo>
                  <a:pt x="1323271" y="1529127"/>
                </a:lnTo>
                <a:cubicBezTo>
                  <a:pt x="1407203" y="1118962"/>
                  <a:pt x="1770117" y="810420"/>
                  <a:pt x="2205095" y="810420"/>
                </a:cubicBezTo>
                <a:cubicBezTo>
                  <a:pt x="2391514" y="810420"/>
                  <a:pt x="2564697" y="867091"/>
                  <a:pt x="2708356" y="964145"/>
                </a:cubicBezTo>
                <a:lnTo>
                  <a:pt x="2798296" y="1038353"/>
                </a:lnTo>
                <a:lnTo>
                  <a:pt x="2868637" y="1020266"/>
                </a:lnTo>
                <a:cubicBezTo>
                  <a:pt x="2927232" y="1008276"/>
                  <a:pt x="2987901" y="1001979"/>
                  <a:pt x="3050041" y="1001979"/>
                </a:cubicBezTo>
                <a:cubicBezTo>
                  <a:pt x="3112181" y="1001979"/>
                  <a:pt x="3172850" y="1008276"/>
                  <a:pt x="3231445" y="1020266"/>
                </a:cubicBezTo>
                <a:lnTo>
                  <a:pt x="3245588" y="1023903"/>
                </a:lnTo>
                <a:lnTo>
                  <a:pt x="3297823" y="960592"/>
                </a:lnTo>
                <a:cubicBezTo>
                  <a:pt x="3460711" y="797704"/>
                  <a:pt x="3685739" y="696956"/>
                  <a:pt x="3934298" y="696956"/>
                </a:cubicBezTo>
                <a:cubicBezTo>
                  <a:pt x="3996438" y="696956"/>
                  <a:pt x="4057107" y="703253"/>
                  <a:pt x="4115702" y="715243"/>
                </a:cubicBezTo>
                <a:lnTo>
                  <a:pt x="4127211" y="718203"/>
                </a:lnTo>
                <a:lnTo>
                  <a:pt x="4126073" y="695661"/>
                </a:lnTo>
                <a:cubicBezTo>
                  <a:pt x="4126073" y="447102"/>
                  <a:pt x="4226821" y="222074"/>
                  <a:pt x="4389709" y="59186"/>
                </a:cubicBezTo>
                <a:close/>
              </a:path>
            </a:pathLst>
          </a:custGeom>
          <a:solidFill>
            <a:schemeClr val="bg1"/>
          </a:solidFill>
          <a:ln>
            <a:noFill/>
          </a:ln>
          <a:effectLst>
            <a:outerShdw blurRad="279400" dist="76200" dir="13800000"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37124" tIns="91416" rIns="137124" bIns="91416" rtlCol="0" anchor="ctr">
            <a:noAutofit/>
          </a:bodyPr>
          <a:lstStyle/>
          <a:p>
            <a:pPr lvl="0"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5" name="TextBox 4">
            <a:extLst>
              <a:ext uri="{FF2B5EF4-FFF2-40B4-BE49-F238E27FC236}">
                <a16:creationId xmlns:a16="http://schemas.microsoft.com/office/drawing/2014/main" id="{3D625EBE-6EFB-4A48-B9E9-BB18863DFEC3}"/>
              </a:ext>
            </a:extLst>
          </p:cNvPr>
          <p:cNvSpPr txBox="1"/>
          <p:nvPr userDrawn="1"/>
        </p:nvSpPr>
        <p:spPr>
          <a:xfrm>
            <a:off x="176868" y="6365108"/>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063" rtl="0" eaLnBrk="1" latinLnBrk="0" hangingPunct="1"/>
            <a:fld id="{64202F7F-356F-46E2-8791-88745C87F5D9}" type="slidenum">
              <a:rPr lang="en-US" sz="900" b="0" i="0" kern="1200" smtClean="0">
                <a:solidFill>
                  <a:schemeClr val="tx1">
                    <a:lumMod val="20000"/>
                    <a:lumOff val="80000"/>
                  </a:schemeClr>
                </a:solidFill>
                <a:latin typeface="Roboto" panose="02000000000000000000" pitchFamily="2" charset="0"/>
                <a:ea typeface="Roboto" panose="02000000000000000000" pitchFamily="2" charset="0"/>
                <a:cs typeface="Roboto" charset="0"/>
              </a:rPr>
              <a:pPr marL="0" lvl="0" algn="ctr" defTabSz="457063" rtl="0" eaLnBrk="1" latinLnBrk="0" hangingPunct="1"/>
              <a:t>‹#›</a:t>
            </a:fld>
            <a:endParaRPr lang="en-US" sz="900" b="0" i="0" kern="1200">
              <a:solidFill>
                <a:schemeClr val="tx1">
                  <a:lumMod val="20000"/>
                  <a:lumOff val="80000"/>
                </a:schemeClr>
              </a:solidFill>
              <a:latin typeface="Roboto" panose="02000000000000000000" pitchFamily="2" charset="0"/>
              <a:ea typeface="Roboto" panose="02000000000000000000" pitchFamily="2" charset="0"/>
              <a:cs typeface="Roboto" charset="0"/>
            </a:endParaRPr>
          </a:p>
        </p:txBody>
      </p:sp>
      <p:sp>
        <p:nvSpPr>
          <p:cNvPr id="3" name="TextBox 2">
            <a:extLst>
              <a:ext uri="{FF2B5EF4-FFF2-40B4-BE49-F238E27FC236}">
                <a16:creationId xmlns:a16="http://schemas.microsoft.com/office/drawing/2014/main" id="{9E4B4709-7C2B-4FD8-9933-DAF4E15383F8}"/>
              </a:ext>
            </a:extLst>
          </p:cNvPr>
          <p:cNvSpPr txBox="1"/>
          <p:nvPr userDrawn="1"/>
        </p:nvSpPr>
        <p:spPr>
          <a:xfrm>
            <a:off x="1023709"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a:solidFill>
                  <a:schemeClr val="tx1">
                    <a:lumMod val="60000"/>
                    <a:lumOff val="40000"/>
                  </a:schemeClr>
                </a:solidFill>
                <a:latin typeface="Roboto" panose="02000000000000000000" pitchFamily="2" charset="0"/>
                <a:ea typeface="Roboto" panose="02000000000000000000" pitchFamily="2" charset="0"/>
                <a:cs typeface="Roboto" charset="0"/>
              </a:rPr>
              <a:t>© Informatica. Proprietary and Confidential.</a:t>
            </a:r>
          </a:p>
        </p:txBody>
      </p:sp>
      <p:pic>
        <p:nvPicPr>
          <p:cNvPr id="10" name="Picture 9">
            <a:extLst>
              <a:ext uri="{FF2B5EF4-FFF2-40B4-BE49-F238E27FC236}">
                <a16:creationId xmlns:a16="http://schemas.microsoft.com/office/drawing/2014/main" id="{3E3458F1-298B-0F43-91E6-232EAFFB3B35}"/>
              </a:ext>
            </a:extLst>
          </p:cNvPr>
          <p:cNvPicPr>
            <a:picLocks noChangeAspect="1"/>
          </p:cNvPicPr>
          <p:nvPr userDrawn="1"/>
        </p:nvPicPr>
        <p:blipFill>
          <a:blip r:embed="rId2"/>
          <a:stretch>
            <a:fillRect/>
          </a:stretch>
        </p:blipFill>
        <p:spPr>
          <a:xfrm>
            <a:off x="9743687" y="6098796"/>
            <a:ext cx="2040934" cy="699990"/>
          </a:xfrm>
          <a:prstGeom prst="rect">
            <a:avLst/>
          </a:prstGeom>
        </p:spPr>
      </p:pic>
    </p:spTree>
    <p:extLst>
      <p:ext uri="{BB962C8B-B14F-4D97-AF65-F5344CB8AC3E}">
        <p14:creationId xmlns:p14="http://schemas.microsoft.com/office/powerpoint/2010/main" val="923611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D625EBE-6EFB-4A48-B9E9-BB18863DFEC3}"/>
              </a:ext>
            </a:extLst>
          </p:cNvPr>
          <p:cNvSpPr txBox="1"/>
          <p:nvPr userDrawn="1"/>
        </p:nvSpPr>
        <p:spPr>
          <a:xfrm>
            <a:off x="176868" y="6365108"/>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063" rtl="0" eaLnBrk="1" latinLnBrk="0" hangingPunct="1"/>
            <a:fld id="{64202F7F-356F-46E2-8791-88745C87F5D9}" type="slidenum">
              <a:rPr lang="en-US" sz="900" b="0" i="0" kern="1200" smtClean="0">
                <a:solidFill>
                  <a:schemeClr val="tx1">
                    <a:lumMod val="20000"/>
                    <a:lumOff val="80000"/>
                  </a:schemeClr>
                </a:solidFill>
                <a:latin typeface="Roboto" panose="02000000000000000000" pitchFamily="2" charset="0"/>
                <a:ea typeface="Roboto" panose="02000000000000000000" pitchFamily="2" charset="0"/>
                <a:cs typeface="Roboto" charset="0"/>
              </a:rPr>
              <a:pPr marL="0" lvl="0" algn="ctr" defTabSz="457063" rtl="0" eaLnBrk="1" latinLnBrk="0" hangingPunct="1"/>
              <a:t>‹#›</a:t>
            </a:fld>
            <a:endParaRPr lang="en-US" sz="900" b="0" i="0" kern="1200">
              <a:solidFill>
                <a:schemeClr val="tx1">
                  <a:lumMod val="20000"/>
                  <a:lumOff val="80000"/>
                </a:schemeClr>
              </a:solidFill>
              <a:latin typeface="Roboto" panose="02000000000000000000" pitchFamily="2" charset="0"/>
              <a:ea typeface="Roboto" panose="02000000000000000000" pitchFamily="2" charset="0"/>
              <a:cs typeface="Roboto" charset="0"/>
            </a:endParaRPr>
          </a:p>
        </p:txBody>
      </p:sp>
      <p:sp>
        <p:nvSpPr>
          <p:cNvPr id="3" name="TextBox 2">
            <a:extLst>
              <a:ext uri="{FF2B5EF4-FFF2-40B4-BE49-F238E27FC236}">
                <a16:creationId xmlns:a16="http://schemas.microsoft.com/office/drawing/2014/main" id="{9E4B4709-7C2B-4FD8-9933-DAF4E15383F8}"/>
              </a:ext>
            </a:extLst>
          </p:cNvPr>
          <p:cNvSpPr txBox="1"/>
          <p:nvPr userDrawn="1"/>
        </p:nvSpPr>
        <p:spPr>
          <a:xfrm>
            <a:off x="1023709"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a:solidFill>
                  <a:schemeClr val="tx1">
                    <a:lumMod val="60000"/>
                    <a:lumOff val="40000"/>
                  </a:schemeClr>
                </a:solidFill>
                <a:latin typeface="Roboto" panose="02000000000000000000" pitchFamily="2" charset="0"/>
                <a:ea typeface="Roboto" panose="02000000000000000000" pitchFamily="2" charset="0"/>
                <a:cs typeface="Roboto" charset="0"/>
              </a:rPr>
              <a:t>© Informatica. Proprietary and Confidential.</a:t>
            </a:r>
          </a:p>
        </p:txBody>
      </p:sp>
    </p:spTree>
    <p:extLst>
      <p:ext uri="{BB962C8B-B14F-4D97-AF65-F5344CB8AC3E}">
        <p14:creationId xmlns:p14="http://schemas.microsoft.com/office/powerpoint/2010/main" val="2079267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_Half Page Image/Content">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B478BEA-4903-4298-BEE0-9D44347BD4FE}"/>
              </a:ext>
            </a:extLst>
          </p:cNvPr>
          <p:cNvSpPr txBox="1"/>
          <p:nvPr userDrawn="1"/>
        </p:nvSpPr>
        <p:spPr>
          <a:xfrm>
            <a:off x="1023709"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a:solidFill>
                  <a:schemeClr val="tx1">
                    <a:lumMod val="60000"/>
                    <a:lumOff val="40000"/>
                  </a:schemeClr>
                </a:solidFill>
                <a:latin typeface="Roboto" panose="02000000000000000000" pitchFamily="2" charset="0"/>
                <a:ea typeface="Roboto" panose="02000000000000000000" pitchFamily="2" charset="0"/>
                <a:cs typeface="Roboto" charset="0"/>
              </a:rPr>
              <a:t>© Informatica. Proprietary and Confidential.</a:t>
            </a:r>
          </a:p>
        </p:txBody>
      </p:sp>
      <p:pic>
        <p:nvPicPr>
          <p:cNvPr id="16" name="Picture 15">
            <a:extLst>
              <a:ext uri="{FF2B5EF4-FFF2-40B4-BE49-F238E27FC236}">
                <a16:creationId xmlns:a16="http://schemas.microsoft.com/office/drawing/2014/main" id="{3D50B40B-C569-8D4D-BEC0-84E7834A2025}"/>
              </a:ext>
            </a:extLst>
          </p:cNvPr>
          <p:cNvPicPr>
            <a:picLocks noChangeAspect="1"/>
          </p:cNvPicPr>
          <p:nvPr userDrawn="1"/>
        </p:nvPicPr>
        <p:blipFill>
          <a:blip r:embed="rId2"/>
          <a:srcRect/>
          <a:stretch/>
        </p:blipFill>
        <p:spPr>
          <a:xfrm>
            <a:off x="9744604" y="6098796"/>
            <a:ext cx="2039100" cy="699990"/>
          </a:xfrm>
          <a:prstGeom prst="rect">
            <a:avLst/>
          </a:prstGeom>
        </p:spPr>
      </p:pic>
      <p:sp>
        <p:nvSpPr>
          <p:cNvPr id="55" name="TextBox 54">
            <a:extLst>
              <a:ext uri="{FF2B5EF4-FFF2-40B4-BE49-F238E27FC236}">
                <a16:creationId xmlns:a16="http://schemas.microsoft.com/office/drawing/2014/main" id="{4E04ED03-EA9F-4368-A83A-01E9195C1AF3}"/>
              </a:ext>
            </a:extLst>
          </p:cNvPr>
          <p:cNvSpPr txBox="1"/>
          <p:nvPr userDrawn="1"/>
        </p:nvSpPr>
        <p:spPr>
          <a:xfrm>
            <a:off x="176868" y="6365108"/>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063" rtl="0" eaLnBrk="1" latinLnBrk="0" hangingPunct="1"/>
            <a:fld id="{64202F7F-356F-46E2-8791-88745C87F5D9}" type="slidenum">
              <a:rPr lang="en-US" sz="900" b="0" i="0" kern="1200" smtClean="0">
                <a:solidFill>
                  <a:schemeClr val="bg1"/>
                </a:solidFill>
                <a:latin typeface="Roboto" panose="02000000000000000000" pitchFamily="2" charset="0"/>
                <a:ea typeface="Roboto" panose="02000000000000000000" pitchFamily="2" charset="0"/>
                <a:cs typeface="Roboto" charset="0"/>
              </a:rPr>
              <a:pPr marL="0" lvl="0" algn="ctr" defTabSz="457063" rtl="0" eaLnBrk="1" latinLnBrk="0" hangingPunct="1"/>
              <a:t>‹#›</a:t>
            </a:fld>
            <a:endParaRPr lang="en-US" sz="900" b="0" i="0" kern="1200">
              <a:solidFill>
                <a:schemeClr val="bg1"/>
              </a:solidFill>
              <a:latin typeface="Roboto" panose="02000000000000000000" pitchFamily="2" charset="0"/>
              <a:ea typeface="Roboto" panose="02000000000000000000" pitchFamily="2" charset="0"/>
              <a:cs typeface="Roboto" charset="0"/>
            </a:endParaRPr>
          </a:p>
        </p:txBody>
      </p:sp>
      <p:sp>
        <p:nvSpPr>
          <p:cNvPr id="17" name="Rectangle 16">
            <a:extLst>
              <a:ext uri="{FF2B5EF4-FFF2-40B4-BE49-F238E27FC236}">
                <a16:creationId xmlns:a16="http://schemas.microsoft.com/office/drawing/2014/main" id="{1546333C-7CB8-C54C-9380-E53F609F9A65}"/>
              </a:ext>
            </a:extLst>
          </p:cNvPr>
          <p:cNvSpPr/>
          <p:nvPr userDrawn="1"/>
        </p:nvSpPr>
        <p:spPr>
          <a:xfrm>
            <a:off x="1" y="2"/>
            <a:ext cx="12188825" cy="247578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799">
              <a:latin typeface="Roboto" panose="02000000000000000000" pitchFamily="2" charset="0"/>
            </a:endParaRPr>
          </a:p>
        </p:txBody>
      </p:sp>
      <p:sp>
        <p:nvSpPr>
          <p:cNvPr id="20" name="Title 1">
            <a:extLst>
              <a:ext uri="{FF2B5EF4-FFF2-40B4-BE49-F238E27FC236}">
                <a16:creationId xmlns:a16="http://schemas.microsoft.com/office/drawing/2014/main" id="{918C02E4-2F09-2044-8DF0-6941A17A40F6}"/>
              </a:ext>
            </a:extLst>
          </p:cNvPr>
          <p:cNvSpPr>
            <a:spLocks noGrp="1"/>
          </p:cNvSpPr>
          <p:nvPr>
            <p:ph type="title" hasCustomPrompt="1"/>
          </p:nvPr>
        </p:nvSpPr>
        <p:spPr>
          <a:xfrm>
            <a:off x="488951" y="482604"/>
            <a:ext cx="11188701" cy="562427"/>
          </a:xfrm>
        </p:spPr>
        <p:txBody>
          <a:bodyPr/>
          <a:lstStyle>
            <a:lvl1pPr>
              <a:defRPr baseline="0">
                <a:solidFill>
                  <a:schemeClr val="bg1"/>
                </a:solidFill>
              </a:defRPr>
            </a:lvl1pPr>
          </a:lstStyle>
          <a:p>
            <a:r>
              <a:rPr lang="en-US"/>
              <a:t>Section presenter slide</a:t>
            </a:r>
          </a:p>
        </p:txBody>
      </p:sp>
      <p:sp>
        <p:nvSpPr>
          <p:cNvPr id="23" name="Diamond 22">
            <a:extLst>
              <a:ext uri="{FF2B5EF4-FFF2-40B4-BE49-F238E27FC236}">
                <a16:creationId xmlns:a16="http://schemas.microsoft.com/office/drawing/2014/main" id="{53E2FE92-4B10-2443-A244-BEC9823236A3}"/>
              </a:ext>
            </a:extLst>
          </p:cNvPr>
          <p:cNvSpPr/>
          <p:nvPr userDrawn="1"/>
        </p:nvSpPr>
        <p:spPr>
          <a:xfrm>
            <a:off x="1798380" y="1730618"/>
            <a:ext cx="2476500" cy="2476500"/>
          </a:xfrm>
          <a:prstGeom prst="diamond">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37124" tIns="91416" rIns="137124" bIns="91416" rtlCol="0" anchor="ctr"/>
          <a:lstStyle/>
          <a:p>
            <a:pPr algn="ctr"/>
            <a:endParaRPr lang="en-US" sz="1799">
              <a:latin typeface="Roboto" panose="02000000000000000000" pitchFamily="2" charset="0"/>
              <a:ea typeface="Roboto" panose="02000000000000000000" pitchFamily="2" charset="0"/>
              <a:cs typeface="Roboto" charset="0"/>
            </a:endParaRPr>
          </a:p>
        </p:txBody>
      </p:sp>
      <p:sp>
        <p:nvSpPr>
          <p:cNvPr id="24" name="Diamond 23">
            <a:extLst>
              <a:ext uri="{FF2B5EF4-FFF2-40B4-BE49-F238E27FC236}">
                <a16:creationId xmlns:a16="http://schemas.microsoft.com/office/drawing/2014/main" id="{5FE2587E-7B4B-3C46-9806-DCE446CA9753}"/>
              </a:ext>
            </a:extLst>
          </p:cNvPr>
          <p:cNvSpPr/>
          <p:nvPr userDrawn="1"/>
        </p:nvSpPr>
        <p:spPr>
          <a:xfrm>
            <a:off x="4868943" y="1730618"/>
            <a:ext cx="2476500" cy="2476500"/>
          </a:xfrm>
          <a:prstGeom prst="diamond">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37124" tIns="91416" rIns="137124" bIns="91416" rtlCol="0" anchor="ctr"/>
          <a:lstStyle/>
          <a:p>
            <a:pPr algn="ctr"/>
            <a:endParaRPr lang="en-US" sz="1799">
              <a:latin typeface="Roboto" panose="02000000000000000000" pitchFamily="2" charset="0"/>
              <a:ea typeface="Roboto" panose="02000000000000000000" pitchFamily="2" charset="0"/>
              <a:cs typeface="Roboto" charset="0"/>
            </a:endParaRPr>
          </a:p>
        </p:txBody>
      </p:sp>
      <p:sp>
        <p:nvSpPr>
          <p:cNvPr id="25" name="Diamond 24">
            <a:extLst>
              <a:ext uri="{FF2B5EF4-FFF2-40B4-BE49-F238E27FC236}">
                <a16:creationId xmlns:a16="http://schemas.microsoft.com/office/drawing/2014/main" id="{3F7FACC4-CE65-9446-82B2-CAC428CFD8CE}"/>
              </a:ext>
            </a:extLst>
          </p:cNvPr>
          <p:cNvSpPr/>
          <p:nvPr userDrawn="1"/>
        </p:nvSpPr>
        <p:spPr>
          <a:xfrm>
            <a:off x="7939506" y="1730618"/>
            <a:ext cx="2476500" cy="2476500"/>
          </a:xfrm>
          <a:prstGeom prst="diamond">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37124" tIns="91416" rIns="137124" bIns="91416" rtlCol="0" anchor="ctr"/>
          <a:lstStyle/>
          <a:p>
            <a:pPr algn="ctr"/>
            <a:endParaRPr lang="en-US" sz="1799">
              <a:latin typeface="Roboto" panose="02000000000000000000" pitchFamily="2" charset="0"/>
              <a:ea typeface="Roboto" panose="02000000000000000000" pitchFamily="2" charset="0"/>
              <a:cs typeface="Roboto" charset="0"/>
            </a:endParaRPr>
          </a:p>
        </p:txBody>
      </p:sp>
      <p:sp>
        <p:nvSpPr>
          <p:cNvPr id="26" name="Picture Placeholder 6">
            <a:extLst>
              <a:ext uri="{FF2B5EF4-FFF2-40B4-BE49-F238E27FC236}">
                <a16:creationId xmlns:a16="http://schemas.microsoft.com/office/drawing/2014/main" id="{D9554876-1092-AF46-88CA-6F2B11C7EBF1}"/>
              </a:ext>
            </a:extLst>
          </p:cNvPr>
          <p:cNvSpPr>
            <a:spLocks noGrp="1"/>
          </p:cNvSpPr>
          <p:nvPr>
            <p:ph type="pic" sz="quarter" idx="15" hasCustomPrompt="1"/>
          </p:nvPr>
        </p:nvSpPr>
        <p:spPr>
          <a:xfrm>
            <a:off x="1807073" y="1575170"/>
            <a:ext cx="2459114" cy="2457450"/>
          </a:xfrm>
          <a:prstGeom prst="diamond">
            <a:avLst/>
          </a:prstGeom>
          <a:solidFill>
            <a:schemeClr val="bg1">
              <a:lumMod val="95000"/>
            </a:schemeClr>
          </a:solidFill>
          <a:ln w="38100">
            <a:solidFill>
              <a:schemeClr val="bg1"/>
            </a:solidFill>
          </a:ln>
        </p:spPr>
        <p:txBody>
          <a:bodyPr vert="horz" lIns="0" tIns="0" rIns="0" bIns="0" rtlCol="0" anchor="ctr">
            <a:noAutofit/>
          </a:bodyPr>
          <a:lstStyle>
            <a:lvl1pPr>
              <a:defRPr lang="en-US" dirty="0">
                <a:latin typeface="Roboto" panose="02000000000000000000" pitchFamily="2" charset="0"/>
                <a:ea typeface="Roboto" panose="02000000000000000000" pitchFamily="2" charset="0"/>
              </a:defRPr>
            </a:lvl1pPr>
          </a:lstStyle>
          <a:p>
            <a:pPr marL="0" lvl="0" indent="0" algn="ctr">
              <a:buNone/>
            </a:pPr>
            <a:r>
              <a:rPr lang="en-US"/>
              <a:t>CLICK TO INSERT IMAGE</a:t>
            </a:r>
          </a:p>
        </p:txBody>
      </p:sp>
      <p:sp>
        <p:nvSpPr>
          <p:cNvPr id="27" name="Picture Placeholder 6">
            <a:extLst>
              <a:ext uri="{FF2B5EF4-FFF2-40B4-BE49-F238E27FC236}">
                <a16:creationId xmlns:a16="http://schemas.microsoft.com/office/drawing/2014/main" id="{2BA9AC3D-A377-AD4E-A3A4-5478A4625483}"/>
              </a:ext>
            </a:extLst>
          </p:cNvPr>
          <p:cNvSpPr>
            <a:spLocks noGrp="1"/>
          </p:cNvSpPr>
          <p:nvPr>
            <p:ph type="pic" sz="quarter" idx="16" hasCustomPrompt="1"/>
          </p:nvPr>
        </p:nvSpPr>
        <p:spPr>
          <a:xfrm>
            <a:off x="4877636" y="1575170"/>
            <a:ext cx="2459114" cy="2457450"/>
          </a:xfrm>
          <a:prstGeom prst="diamond">
            <a:avLst/>
          </a:prstGeom>
          <a:solidFill>
            <a:schemeClr val="bg1">
              <a:lumMod val="95000"/>
            </a:schemeClr>
          </a:solidFill>
          <a:ln w="38100">
            <a:solidFill>
              <a:schemeClr val="bg1"/>
            </a:solidFill>
          </a:ln>
        </p:spPr>
        <p:txBody>
          <a:bodyPr vert="horz" lIns="0" tIns="0" rIns="0" bIns="0" rtlCol="0" anchor="ctr">
            <a:noAutofit/>
          </a:bodyPr>
          <a:lstStyle>
            <a:lvl1pPr>
              <a:defRPr lang="en-US" dirty="0">
                <a:latin typeface="Roboto" panose="02000000000000000000" pitchFamily="2" charset="0"/>
                <a:ea typeface="Roboto" panose="02000000000000000000" pitchFamily="2" charset="0"/>
              </a:defRPr>
            </a:lvl1pPr>
          </a:lstStyle>
          <a:p>
            <a:pPr marL="0" lvl="0" indent="0" algn="ctr">
              <a:buNone/>
            </a:pPr>
            <a:r>
              <a:rPr lang="en-US"/>
              <a:t>CLICK TO INSERT IMAGE</a:t>
            </a:r>
          </a:p>
        </p:txBody>
      </p:sp>
      <p:sp>
        <p:nvSpPr>
          <p:cNvPr id="28" name="Picture Placeholder 6">
            <a:extLst>
              <a:ext uri="{FF2B5EF4-FFF2-40B4-BE49-F238E27FC236}">
                <a16:creationId xmlns:a16="http://schemas.microsoft.com/office/drawing/2014/main" id="{9367CF0A-0405-D640-9389-5907F92BFEB4}"/>
              </a:ext>
            </a:extLst>
          </p:cNvPr>
          <p:cNvSpPr>
            <a:spLocks noGrp="1"/>
          </p:cNvSpPr>
          <p:nvPr>
            <p:ph type="pic" sz="quarter" idx="17" hasCustomPrompt="1"/>
          </p:nvPr>
        </p:nvSpPr>
        <p:spPr>
          <a:xfrm>
            <a:off x="7948199" y="1575170"/>
            <a:ext cx="2459114" cy="2457450"/>
          </a:xfrm>
          <a:prstGeom prst="diamond">
            <a:avLst/>
          </a:prstGeom>
          <a:solidFill>
            <a:schemeClr val="bg1">
              <a:lumMod val="95000"/>
            </a:schemeClr>
          </a:solidFill>
          <a:ln w="38100">
            <a:solidFill>
              <a:schemeClr val="bg1"/>
            </a:solidFill>
          </a:ln>
        </p:spPr>
        <p:txBody>
          <a:bodyPr vert="horz" lIns="0" tIns="0" rIns="0" bIns="0" rtlCol="0" anchor="ctr">
            <a:noAutofit/>
          </a:bodyPr>
          <a:lstStyle>
            <a:lvl1pPr>
              <a:defRPr lang="en-US" dirty="0">
                <a:latin typeface="Roboto" panose="02000000000000000000" pitchFamily="2" charset="0"/>
                <a:ea typeface="Roboto" panose="02000000000000000000" pitchFamily="2" charset="0"/>
              </a:defRPr>
            </a:lvl1pPr>
          </a:lstStyle>
          <a:p>
            <a:pPr marL="0" lvl="0" indent="0" algn="ctr">
              <a:buNone/>
            </a:pPr>
            <a:r>
              <a:rPr lang="en-US"/>
              <a:t>CLICK TO INSERT IMAGE</a:t>
            </a:r>
          </a:p>
        </p:txBody>
      </p:sp>
      <p:sp>
        <p:nvSpPr>
          <p:cNvPr id="29" name="Text Placeholder 2">
            <a:extLst>
              <a:ext uri="{FF2B5EF4-FFF2-40B4-BE49-F238E27FC236}">
                <a16:creationId xmlns:a16="http://schemas.microsoft.com/office/drawing/2014/main" id="{A610BCEF-16B3-0F4B-9673-70D81731B637}"/>
              </a:ext>
            </a:extLst>
          </p:cNvPr>
          <p:cNvSpPr>
            <a:spLocks noGrp="1"/>
          </p:cNvSpPr>
          <p:nvPr>
            <p:ph type="body" idx="1" hasCustomPrompt="1"/>
          </p:nvPr>
        </p:nvSpPr>
        <p:spPr>
          <a:xfrm>
            <a:off x="1700406" y="4375552"/>
            <a:ext cx="2689223" cy="436563"/>
          </a:xfrm>
          <a:prstGeom prst="rect">
            <a:avLst/>
          </a:prstGeom>
        </p:spPr>
        <p:txBody>
          <a:bodyPr anchor="t"/>
          <a:lstStyle>
            <a:lvl1pPr marL="0" indent="0" algn="ctr">
              <a:buNone/>
              <a:defRPr sz="1799" b="1" baseline="0">
                <a:solidFill>
                  <a:schemeClr val="accent5"/>
                </a:solidFill>
                <a:latin typeface="Roboto" panose="02000000000000000000" pitchFamily="2" charset="0"/>
                <a:ea typeface="Roboto" panose="02000000000000000000" pitchFamily="2" charset="0"/>
              </a:defRPr>
            </a:lvl1pPr>
            <a:lvl2pPr marL="456972" indent="0">
              <a:buNone/>
              <a:defRPr sz="1999" b="1"/>
            </a:lvl2pPr>
            <a:lvl3pPr marL="913943" indent="0">
              <a:buNone/>
              <a:defRPr sz="1799" b="1"/>
            </a:lvl3pPr>
            <a:lvl4pPr marL="1370915" indent="0">
              <a:buNone/>
              <a:defRPr sz="1600" b="1"/>
            </a:lvl4pPr>
            <a:lvl5pPr marL="1827885" indent="0">
              <a:buNone/>
              <a:defRPr sz="1600" b="1"/>
            </a:lvl5pPr>
            <a:lvl6pPr marL="2284856" indent="0">
              <a:buNone/>
              <a:defRPr sz="1600" b="1"/>
            </a:lvl6pPr>
            <a:lvl7pPr marL="2741828" indent="0">
              <a:buNone/>
              <a:defRPr sz="1600" b="1"/>
            </a:lvl7pPr>
            <a:lvl8pPr marL="3198800" indent="0">
              <a:buNone/>
              <a:defRPr sz="1600" b="1"/>
            </a:lvl8pPr>
            <a:lvl9pPr marL="3655772" indent="0">
              <a:buNone/>
              <a:defRPr sz="1600" b="1"/>
            </a:lvl9pPr>
          </a:lstStyle>
          <a:p>
            <a:pPr lvl="0"/>
            <a:r>
              <a:rPr lang="en-US"/>
              <a:t>Speaker Name</a:t>
            </a:r>
          </a:p>
        </p:txBody>
      </p:sp>
      <p:sp>
        <p:nvSpPr>
          <p:cNvPr id="30" name="Text Placeholder 2">
            <a:extLst>
              <a:ext uri="{FF2B5EF4-FFF2-40B4-BE49-F238E27FC236}">
                <a16:creationId xmlns:a16="http://schemas.microsoft.com/office/drawing/2014/main" id="{D74ED082-F666-0442-9DA5-074489213C1E}"/>
              </a:ext>
            </a:extLst>
          </p:cNvPr>
          <p:cNvSpPr>
            <a:spLocks noGrp="1"/>
          </p:cNvSpPr>
          <p:nvPr>
            <p:ph type="body" idx="27" hasCustomPrompt="1"/>
          </p:nvPr>
        </p:nvSpPr>
        <p:spPr>
          <a:xfrm>
            <a:off x="4776451" y="4375552"/>
            <a:ext cx="2689223" cy="436563"/>
          </a:xfrm>
          <a:prstGeom prst="rect">
            <a:avLst/>
          </a:prstGeom>
        </p:spPr>
        <p:txBody>
          <a:bodyPr anchor="t"/>
          <a:lstStyle>
            <a:lvl1pPr marL="0" indent="0" algn="ctr">
              <a:buNone/>
              <a:defRPr sz="1799" b="1" baseline="0">
                <a:solidFill>
                  <a:schemeClr val="accent5"/>
                </a:solidFill>
                <a:latin typeface="Roboto" panose="02000000000000000000" pitchFamily="2" charset="0"/>
                <a:ea typeface="Roboto" panose="02000000000000000000" pitchFamily="2" charset="0"/>
              </a:defRPr>
            </a:lvl1pPr>
            <a:lvl2pPr marL="456972" indent="0">
              <a:buNone/>
              <a:defRPr sz="1999" b="1"/>
            </a:lvl2pPr>
            <a:lvl3pPr marL="913943" indent="0">
              <a:buNone/>
              <a:defRPr sz="1799" b="1"/>
            </a:lvl3pPr>
            <a:lvl4pPr marL="1370915" indent="0">
              <a:buNone/>
              <a:defRPr sz="1600" b="1"/>
            </a:lvl4pPr>
            <a:lvl5pPr marL="1827885" indent="0">
              <a:buNone/>
              <a:defRPr sz="1600" b="1"/>
            </a:lvl5pPr>
            <a:lvl6pPr marL="2284856" indent="0">
              <a:buNone/>
              <a:defRPr sz="1600" b="1"/>
            </a:lvl6pPr>
            <a:lvl7pPr marL="2741828" indent="0">
              <a:buNone/>
              <a:defRPr sz="1600" b="1"/>
            </a:lvl7pPr>
            <a:lvl8pPr marL="3198800" indent="0">
              <a:buNone/>
              <a:defRPr sz="1600" b="1"/>
            </a:lvl8pPr>
            <a:lvl9pPr marL="3655772" indent="0">
              <a:buNone/>
              <a:defRPr sz="1600" b="1"/>
            </a:lvl9pPr>
          </a:lstStyle>
          <a:p>
            <a:pPr lvl="0"/>
            <a:r>
              <a:rPr lang="en-US"/>
              <a:t>Speaker Name</a:t>
            </a:r>
          </a:p>
        </p:txBody>
      </p:sp>
      <p:sp>
        <p:nvSpPr>
          <p:cNvPr id="31" name="Text Placeholder 2">
            <a:extLst>
              <a:ext uri="{FF2B5EF4-FFF2-40B4-BE49-F238E27FC236}">
                <a16:creationId xmlns:a16="http://schemas.microsoft.com/office/drawing/2014/main" id="{EC2BCD12-D1EF-4E49-BC42-A7A30AF4BFDE}"/>
              </a:ext>
            </a:extLst>
          </p:cNvPr>
          <p:cNvSpPr>
            <a:spLocks noGrp="1"/>
          </p:cNvSpPr>
          <p:nvPr>
            <p:ph type="body" idx="29" hasCustomPrompt="1"/>
          </p:nvPr>
        </p:nvSpPr>
        <p:spPr>
          <a:xfrm>
            <a:off x="7840317" y="4375552"/>
            <a:ext cx="2689223" cy="436563"/>
          </a:xfrm>
          <a:prstGeom prst="rect">
            <a:avLst/>
          </a:prstGeom>
        </p:spPr>
        <p:txBody>
          <a:bodyPr anchor="t"/>
          <a:lstStyle>
            <a:lvl1pPr marL="0" indent="0" algn="ctr">
              <a:buNone/>
              <a:defRPr sz="1799" b="1" baseline="0">
                <a:solidFill>
                  <a:schemeClr val="accent5"/>
                </a:solidFill>
                <a:latin typeface="Roboto" panose="02000000000000000000" pitchFamily="2" charset="0"/>
                <a:ea typeface="Roboto" panose="02000000000000000000" pitchFamily="2" charset="0"/>
              </a:defRPr>
            </a:lvl1pPr>
            <a:lvl2pPr marL="456972" indent="0">
              <a:buNone/>
              <a:defRPr sz="1999" b="1"/>
            </a:lvl2pPr>
            <a:lvl3pPr marL="913943" indent="0">
              <a:buNone/>
              <a:defRPr sz="1799" b="1"/>
            </a:lvl3pPr>
            <a:lvl4pPr marL="1370915" indent="0">
              <a:buNone/>
              <a:defRPr sz="1600" b="1"/>
            </a:lvl4pPr>
            <a:lvl5pPr marL="1827885" indent="0">
              <a:buNone/>
              <a:defRPr sz="1600" b="1"/>
            </a:lvl5pPr>
            <a:lvl6pPr marL="2284856" indent="0">
              <a:buNone/>
              <a:defRPr sz="1600" b="1"/>
            </a:lvl6pPr>
            <a:lvl7pPr marL="2741828" indent="0">
              <a:buNone/>
              <a:defRPr sz="1600" b="1"/>
            </a:lvl7pPr>
            <a:lvl8pPr marL="3198800" indent="0">
              <a:buNone/>
              <a:defRPr sz="1600" b="1"/>
            </a:lvl8pPr>
            <a:lvl9pPr marL="3655772" indent="0">
              <a:buNone/>
              <a:defRPr sz="1600" b="1"/>
            </a:lvl9pPr>
          </a:lstStyle>
          <a:p>
            <a:pPr lvl="0"/>
            <a:r>
              <a:rPr lang="en-US"/>
              <a:t>Speaker Name</a:t>
            </a:r>
          </a:p>
        </p:txBody>
      </p:sp>
      <p:sp>
        <p:nvSpPr>
          <p:cNvPr id="32" name="Text Placeholder 3">
            <a:extLst>
              <a:ext uri="{FF2B5EF4-FFF2-40B4-BE49-F238E27FC236}">
                <a16:creationId xmlns:a16="http://schemas.microsoft.com/office/drawing/2014/main" id="{ABF07F46-21B2-EF45-B718-BA8449954C3A}"/>
              </a:ext>
            </a:extLst>
          </p:cNvPr>
          <p:cNvSpPr>
            <a:spLocks noGrp="1"/>
          </p:cNvSpPr>
          <p:nvPr>
            <p:ph type="body" sz="quarter" idx="32"/>
          </p:nvPr>
        </p:nvSpPr>
        <p:spPr>
          <a:xfrm>
            <a:off x="1782161" y="4813477"/>
            <a:ext cx="2525712" cy="455613"/>
          </a:xfrm>
          <a:prstGeom prst="rect">
            <a:avLst/>
          </a:prstGeom>
        </p:spPr>
        <p:txBody>
          <a:bodyPr/>
          <a:lstStyle>
            <a:lvl1pPr marL="0" indent="0" algn="ctr">
              <a:buNone/>
              <a:defRPr sz="1400">
                <a:latin typeface="Roboto" panose="02000000000000000000" pitchFamily="2" charset="0"/>
                <a:ea typeface="Roboto" panose="02000000000000000000" pitchFamily="2" charset="0"/>
              </a:defRPr>
            </a:lvl1pPr>
          </a:lstStyle>
          <a:p>
            <a:pPr lvl="0"/>
            <a:r>
              <a:rPr lang="en-US"/>
              <a:t>Click to edit Master text styles</a:t>
            </a:r>
          </a:p>
        </p:txBody>
      </p:sp>
      <p:sp>
        <p:nvSpPr>
          <p:cNvPr id="33" name="Text Placeholder 3">
            <a:extLst>
              <a:ext uri="{FF2B5EF4-FFF2-40B4-BE49-F238E27FC236}">
                <a16:creationId xmlns:a16="http://schemas.microsoft.com/office/drawing/2014/main" id="{EE8D720B-622E-7645-9FF0-1219E299970D}"/>
              </a:ext>
            </a:extLst>
          </p:cNvPr>
          <p:cNvSpPr>
            <a:spLocks noGrp="1"/>
          </p:cNvSpPr>
          <p:nvPr>
            <p:ph type="body" sz="quarter" idx="33"/>
          </p:nvPr>
        </p:nvSpPr>
        <p:spPr>
          <a:xfrm>
            <a:off x="4858206" y="4813477"/>
            <a:ext cx="2525712" cy="455613"/>
          </a:xfrm>
          <a:prstGeom prst="rect">
            <a:avLst/>
          </a:prstGeom>
        </p:spPr>
        <p:txBody>
          <a:bodyPr/>
          <a:lstStyle>
            <a:lvl1pPr marL="0" indent="0" algn="ctr">
              <a:buNone/>
              <a:defRPr sz="1400">
                <a:latin typeface="Roboto" panose="02000000000000000000" pitchFamily="2" charset="0"/>
                <a:ea typeface="Roboto" panose="02000000000000000000" pitchFamily="2" charset="0"/>
              </a:defRPr>
            </a:lvl1pPr>
          </a:lstStyle>
          <a:p>
            <a:pPr lvl="0"/>
            <a:r>
              <a:rPr lang="en-US"/>
              <a:t>Click to edit Master text styles</a:t>
            </a:r>
          </a:p>
        </p:txBody>
      </p:sp>
      <p:sp>
        <p:nvSpPr>
          <p:cNvPr id="34" name="Text Placeholder 3">
            <a:extLst>
              <a:ext uri="{FF2B5EF4-FFF2-40B4-BE49-F238E27FC236}">
                <a16:creationId xmlns:a16="http://schemas.microsoft.com/office/drawing/2014/main" id="{CFA2DA9C-9E08-404E-9A99-E05FE7A30976}"/>
              </a:ext>
            </a:extLst>
          </p:cNvPr>
          <p:cNvSpPr>
            <a:spLocks noGrp="1"/>
          </p:cNvSpPr>
          <p:nvPr>
            <p:ph type="body" sz="quarter" idx="34"/>
          </p:nvPr>
        </p:nvSpPr>
        <p:spPr>
          <a:xfrm>
            <a:off x="7922071" y="4813477"/>
            <a:ext cx="2525712" cy="455613"/>
          </a:xfrm>
          <a:prstGeom prst="rect">
            <a:avLst/>
          </a:prstGeom>
        </p:spPr>
        <p:txBody>
          <a:bodyPr/>
          <a:lstStyle>
            <a:lvl1pPr marL="0" indent="0" algn="ctr">
              <a:buNone/>
              <a:defRPr sz="1400">
                <a:latin typeface="Roboto" panose="02000000000000000000" pitchFamily="2" charset="0"/>
                <a:ea typeface="Roboto" panose="02000000000000000000" pitchFamily="2" charset="0"/>
              </a:defRPr>
            </a:lvl1pPr>
          </a:lstStyle>
          <a:p>
            <a:pPr lvl="0"/>
            <a:r>
              <a:rPr lang="en-US"/>
              <a:t>Click to edit Master text styles</a:t>
            </a:r>
          </a:p>
        </p:txBody>
      </p:sp>
    </p:spTree>
    <p:extLst>
      <p:ext uri="{BB962C8B-B14F-4D97-AF65-F5344CB8AC3E}">
        <p14:creationId xmlns:p14="http://schemas.microsoft.com/office/powerpoint/2010/main" val="1937246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_Half Page Image/Content">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B478BEA-4903-4298-BEE0-9D44347BD4FE}"/>
              </a:ext>
            </a:extLst>
          </p:cNvPr>
          <p:cNvSpPr txBox="1"/>
          <p:nvPr userDrawn="1"/>
        </p:nvSpPr>
        <p:spPr>
          <a:xfrm>
            <a:off x="1023709"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a:solidFill>
                  <a:schemeClr val="tx1">
                    <a:lumMod val="60000"/>
                    <a:lumOff val="40000"/>
                  </a:schemeClr>
                </a:solidFill>
                <a:latin typeface="Roboto" panose="02000000000000000000" pitchFamily="2" charset="0"/>
                <a:ea typeface="Roboto" panose="02000000000000000000" pitchFamily="2" charset="0"/>
                <a:cs typeface="Roboto" charset="0"/>
              </a:rPr>
              <a:t>© Informatica. Proprietary and Confidential.</a:t>
            </a:r>
          </a:p>
        </p:txBody>
      </p:sp>
      <p:pic>
        <p:nvPicPr>
          <p:cNvPr id="16" name="Picture 15">
            <a:extLst>
              <a:ext uri="{FF2B5EF4-FFF2-40B4-BE49-F238E27FC236}">
                <a16:creationId xmlns:a16="http://schemas.microsoft.com/office/drawing/2014/main" id="{3D50B40B-C569-8D4D-BEC0-84E7834A2025}"/>
              </a:ext>
            </a:extLst>
          </p:cNvPr>
          <p:cNvPicPr>
            <a:picLocks noChangeAspect="1"/>
          </p:cNvPicPr>
          <p:nvPr userDrawn="1"/>
        </p:nvPicPr>
        <p:blipFill>
          <a:blip r:embed="rId2"/>
          <a:srcRect/>
          <a:stretch/>
        </p:blipFill>
        <p:spPr>
          <a:xfrm>
            <a:off x="9744604" y="6098796"/>
            <a:ext cx="2039100" cy="699990"/>
          </a:xfrm>
          <a:prstGeom prst="rect">
            <a:avLst/>
          </a:prstGeom>
        </p:spPr>
      </p:pic>
      <p:sp>
        <p:nvSpPr>
          <p:cNvPr id="55" name="TextBox 54">
            <a:extLst>
              <a:ext uri="{FF2B5EF4-FFF2-40B4-BE49-F238E27FC236}">
                <a16:creationId xmlns:a16="http://schemas.microsoft.com/office/drawing/2014/main" id="{4E04ED03-EA9F-4368-A83A-01E9195C1AF3}"/>
              </a:ext>
            </a:extLst>
          </p:cNvPr>
          <p:cNvSpPr txBox="1"/>
          <p:nvPr userDrawn="1"/>
        </p:nvSpPr>
        <p:spPr>
          <a:xfrm>
            <a:off x="176868" y="6365108"/>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063" rtl="0" eaLnBrk="1" latinLnBrk="0" hangingPunct="1"/>
            <a:fld id="{64202F7F-356F-46E2-8791-88745C87F5D9}" type="slidenum">
              <a:rPr lang="en-US" sz="900" b="0" i="0" kern="1200" smtClean="0">
                <a:solidFill>
                  <a:schemeClr val="bg1"/>
                </a:solidFill>
                <a:latin typeface="Roboto" panose="02000000000000000000" pitchFamily="2" charset="0"/>
                <a:ea typeface="Roboto" panose="02000000000000000000" pitchFamily="2" charset="0"/>
                <a:cs typeface="Roboto" charset="0"/>
              </a:rPr>
              <a:pPr marL="0" lvl="0" algn="ctr" defTabSz="457063" rtl="0" eaLnBrk="1" latinLnBrk="0" hangingPunct="1"/>
              <a:t>‹#›</a:t>
            </a:fld>
            <a:endParaRPr lang="en-US" sz="900" b="0" i="0" kern="1200">
              <a:solidFill>
                <a:schemeClr val="bg1"/>
              </a:solidFill>
              <a:latin typeface="Roboto" panose="02000000000000000000" pitchFamily="2" charset="0"/>
              <a:ea typeface="Roboto" panose="02000000000000000000" pitchFamily="2" charset="0"/>
              <a:cs typeface="Roboto" charset="0"/>
            </a:endParaRPr>
          </a:p>
        </p:txBody>
      </p:sp>
      <p:sp>
        <p:nvSpPr>
          <p:cNvPr id="17" name="Rectangle 16">
            <a:extLst>
              <a:ext uri="{FF2B5EF4-FFF2-40B4-BE49-F238E27FC236}">
                <a16:creationId xmlns:a16="http://schemas.microsoft.com/office/drawing/2014/main" id="{1546333C-7CB8-C54C-9380-E53F609F9A65}"/>
              </a:ext>
            </a:extLst>
          </p:cNvPr>
          <p:cNvSpPr/>
          <p:nvPr userDrawn="1"/>
        </p:nvSpPr>
        <p:spPr>
          <a:xfrm>
            <a:off x="1" y="2"/>
            <a:ext cx="12188825" cy="247578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799">
              <a:latin typeface="Roboto" panose="02000000000000000000" pitchFamily="2" charset="0"/>
            </a:endParaRPr>
          </a:p>
        </p:txBody>
      </p:sp>
      <p:sp>
        <p:nvSpPr>
          <p:cNvPr id="20" name="Title 1">
            <a:extLst>
              <a:ext uri="{FF2B5EF4-FFF2-40B4-BE49-F238E27FC236}">
                <a16:creationId xmlns:a16="http://schemas.microsoft.com/office/drawing/2014/main" id="{918C02E4-2F09-2044-8DF0-6941A17A40F6}"/>
              </a:ext>
            </a:extLst>
          </p:cNvPr>
          <p:cNvSpPr>
            <a:spLocks noGrp="1"/>
          </p:cNvSpPr>
          <p:nvPr>
            <p:ph type="title" hasCustomPrompt="1"/>
          </p:nvPr>
        </p:nvSpPr>
        <p:spPr>
          <a:xfrm>
            <a:off x="488951" y="482604"/>
            <a:ext cx="11188701" cy="562427"/>
          </a:xfrm>
        </p:spPr>
        <p:txBody>
          <a:bodyPr/>
          <a:lstStyle>
            <a:lvl1pPr>
              <a:defRPr baseline="0">
                <a:solidFill>
                  <a:schemeClr val="bg1"/>
                </a:solidFill>
              </a:defRPr>
            </a:lvl1pPr>
          </a:lstStyle>
          <a:p>
            <a:r>
              <a:rPr lang="en-US"/>
              <a:t>Section presenter slide</a:t>
            </a:r>
          </a:p>
        </p:txBody>
      </p:sp>
      <p:sp>
        <p:nvSpPr>
          <p:cNvPr id="19" name="Text Placeholder 2">
            <a:extLst>
              <a:ext uri="{FF2B5EF4-FFF2-40B4-BE49-F238E27FC236}">
                <a16:creationId xmlns:a16="http://schemas.microsoft.com/office/drawing/2014/main" id="{1394912F-AA4E-4746-B040-A7E40EB61FAF}"/>
              </a:ext>
            </a:extLst>
          </p:cNvPr>
          <p:cNvSpPr>
            <a:spLocks noGrp="1"/>
          </p:cNvSpPr>
          <p:nvPr>
            <p:ph type="body" idx="1" hasCustomPrompt="1"/>
          </p:nvPr>
        </p:nvSpPr>
        <p:spPr>
          <a:xfrm>
            <a:off x="511176" y="4375552"/>
            <a:ext cx="2689223" cy="436563"/>
          </a:xfrm>
          <a:prstGeom prst="rect">
            <a:avLst/>
          </a:prstGeom>
        </p:spPr>
        <p:txBody>
          <a:bodyPr anchor="t"/>
          <a:lstStyle>
            <a:lvl1pPr marL="0" indent="0" algn="ctr">
              <a:buNone/>
              <a:defRPr sz="1799" b="1" baseline="0">
                <a:solidFill>
                  <a:schemeClr val="accent5"/>
                </a:solidFill>
                <a:latin typeface="Roboto" panose="02000000000000000000" pitchFamily="2" charset="0"/>
                <a:ea typeface="Roboto" panose="02000000000000000000" pitchFamily="2" charset="0"/>
              </a:defRPr>
            </a:lvl1pPr>
            <a:lvl2pPr marL="456972" indent="0">
              <a:buNone/>
              <a:defRPr sz="1999" b="1"/>
            </a:lvl2pPr>
            <a:lvl3pPr marL="913943" indent="0">
              <a:buNone/>
              <a:defRPr sz="1799" b="1"/>
            </a:lvl3pPr>
            <a:lvl4pPr marL="1370915" indent="0">
              <a:buNone/>
              <a:defRPr sz="1600" b="1"/>
            </a:lvl4pPr>
            <a:lvl5pPr marL="1827885" indent="0">
              <a:buNone/>
              <a:defRPr sz="1600" b="1"/>
            </a:lvl5pPr>
            <a:lvl6pPr marL="2284856" indent="0">
              <a:buNone/>
              <a:defRPr sz="1600" b="1"/>
            </a:lvl6pPr>
            <a:lvl7pPr marL="2741828" indent="0">
              <a:buNone/>
              <a:defRPr sz="1600" b="1"/>
            </a:lvl7pPr>
            <a:lvl8pPr marL="3198800" indent="0">
              <a:buNone/>
              <a:defRPr sz="1600" b="1"/>
            </a:lvl8pPr>
            <a:lvl9pPr marL="3655772" indent="0">
              <a:buNone/>
              <a:defRPr sz="1600" b="1"/>
            </a:lvl9pPr>
          </a:lstStyle>
          <a:p>
            <a:pPr lvl="0"/>
            <a:r>
              <a:rPr lang="en-US"/>
              <a:t>Speaker Name</a:t>
            </a:r>
          </a:p>
        </p:txBody>
      </p:sp>
      <p:sp>
        <p:nvSpPr>
          <p:cNvPr id="21" name="Text Placeholder 2">
            <a:extLst>
              <a:ext uri="{FF2B5EF4-FFF2-40B4-BE49-F238E27FC236}">
                <a16:creationId xmlns:a16="http://schemas.microsoft.com/office/drawing/2014/main" id="{2FC7F7E4-4EA2-234A-8FEA-D8E7F67A5BC1}"/>
              </a:ext>
            </a:extLst>
          </p:cNvPr>
          <p:cNvSpPr>
            <a:spLocks noGrp="1"/>
          </p:cNvSpPr>
          <p:nvPr>
            <p:ph type="body" idx="27" hasCustomPrompt="1"/>
          </p:nvPr>
        </p:nvSpPr>
        <p:spPr>
          <a:xfrm>
            <a:off x="3358621" y="4375552"/>
            <a:ext cx="2689223" cy="436563"/>
          </a:xfrm>
          <a:prstGeom prst="rect">
            <a:avLst/>
          </a:prstGeom>
        </p:spPr>
        <p:txBody>
          <a:bodyPr anchor="t"/>
          <a:lstStyle>
            <a:lvl1pPr marL="0" indent="0" algn="ctr">
              <a:buNone/>
              <a:defRPr sz="1799" b="1" baseline="0">
                <a:solidFill>
                  <a:schemeClr val="accent5"/>
                </a:solidFill>
                <a:latin typeface="Roboto" panose="02000000000000000000" pitchFamily="2" charset="0"/>
                <a:ea typeface="Roboto" panose="02000000000000000000" pitchFamily="2" charset="0"/>
              </a:defRPr>
            </a:lvl1pPr>
            <a:lvl2pPr marL="456972" indent="0">
              <a:buNone/>
              <a:defRPr sz="1999" b="1"/>
            </a:lvl2pPr>
            <a:lvl3pPr marL="913943" indent="0">
              <a:buNone/>
              <a:defRPr sz="1799" b="1"/>
            </a:lvl3pPr>
            <a:lvl4pPr marL="1370915" indent="0">
              <a:buNone/>
              <a:defRPr sz="1600" b="1"/>
            </a:lvl4pPr>
            <a:lvl5pPr marL="1827885" indent="0">
              <a:buNone/>
              <a:defRPr sz="1600" b="1"/>
            </a:lvl5pPr>
            <a:lvl6pPr marL="2284856" indent="0">
              <a:buNone/>
              <a:defRPr sz="1600" b="1"/>
            </a:lvl6pPr>
            <a:lvl7pPr marL="2741828" indent="0">
              <a:buNone/>
              <a:defRPr sz="1600" b="1"/>
            </a:lvl7pPr>
            <a:lvl8pPr marL="3198800" indent="0">
              <a:buNone/>
              <a:defRPr sz="1600" b="1"/>
            </a:lvl8pPr>
            <a:lvl9pPr marL="3655772" indent="0">
              <a:buNone/>
              <a:defRPr sz="1600" b="1"/>
            </a:lvl9pPr>
          </a:lstStyle>
          <a:p>
            <a:pPr lvl="0"/>
            <a:r>
              <a:rPr lang="en-US"/>
              <a:t>Speaker Name</a:t>
            </a:r>
          </a:p>
        </p:txBody>
      </p:sp>
      <p:sp>
        <p:nvSpPr>
          <p:cNvPr id="22" name="Text Placeholder 2">
            <a:extLst>
              <a:ext uri="{FF2B5EF4-FFF2-40B4-BE49-F238E27FC236}">
                <a16:creationId xmlns:a16="http://schemas.microsoft.com/office/drawing/2014/main" id="{1C76D1BC-8BF8-534F-BA22-8C63B615E05F}"/>
              </a:ext>
            </a:extLst>
          </p:cNvPr>
          <p:cNvSpPr>
            <a:spLocks noGrp="1"/>
          </p:cNvSpPr>
          <p:nvPr>
            <p:ph type="body" idx="29" hasCustomPrompt="1"/>
          </p:nvPr>
        </p:nvSpPr>
        <p:spPr>
          <a:xfrm>
            <a:off x="6171143" y="4375552"/>
            <a:ext cx="2689223" cy="436563"/>
          </a:xfrm>
          <a:prstGeom prst="rect">
            <a:avLst/>
          </a:prstGeom>
        </p:spPr>
        <p:txBody>
          <a:bodyPr anchor="t"/>
          <a:lstStyle>
            <a:lvl1pPr marL="0" indent="0" algn="ctr">
              <a:buNone/>
              <a:defRPr sz="1799" b="1" baseline="0">
                <a:solidFill>
                  <a:schemeClr val="accent5"/>
                </a:solidFill>
                <a:latin typeface="Roboto" panose="02000000000000000000" pitchFamily="2" charset="0"/>
                <a:ea typeface="Roboto" panose="02000000000000000000" pitchFamily="2" charset="0"/>
              </a:defRPr>
            </a:lvl1pPr>
            <a:lvl2pPr marL="456972" indent="0">
              <a:buNone/>
              <a:defRPr sz="1999" b="1"/>
            </a:lvl2pPr>
            <a:lvl3pPr marL="913943" indent="0">
              <a:buNone/>
              <a:defRPr sz="1799" b="1"/>
            </a:lvl3pPr>
            <a:lvl4pPr marL="1370915" indent="0">
              <a:buNone/>
              <a:defRPr sz="1600" b="1"/>
            </a:lvl4pPr>
            <a:lvl5pPr marL="1827885" indent="0">
              <a:buNone/>
              <a:defRPr sz="1600" b="1"/>
            </a:lvl5pPr>
            <a:lvl6pPr marL="2284856" indent="0">
              <a:buNone/>
              <a:defRPr sz="1600" b="1"/>
            </a:lvl6pPr>
            <a:lvl7pPr marL="2741828" indent="0">
              <a:buNone/>
              <a:defRPr sz="1600" b="1"/>
            </a:lvl7pPr>
            <a:lvl8pPr marL="3198800" indent="0">
              <a:buNone/>
              <a:defRPr sz="1600" b="1"/>
            </a:lvl8pPr>
            <a:lvl9pPr marL="3655772" indent="0">
              <a:buNone/>
              <a:defRPr sz="1600" b="1"/>
            </a:lvl9pPr>
          </a:lstStyle>
          <a:p>
            <a:pPr lvl="0"/>
            <a:r>
              <a:rPr lang="en-US"/>
              <a:t>Speaker Name</a:t>
            </a:r>
          </a:p>
        </p:txBody>
      </p:sp>
      <p:sp>
        <p:nvSpPr>
          <p:cNvPr id="35" name="Text Placeholder 2">
            <a:extLst>
              <a:ext uri="{FF2B5EF4-FFF2-40B4-BE49-F238E27FC236}">
                <a16:creationId xmlns:a16="http://schemas.microsoft.com/office/drawing/2014/main" id="{867343B0-47C1-4744-BD95-3227C8CCD7C6}"/>
              </a:ext>
            </a:extLst>
          </p:cNvPr>
          <p:cNvSpPr>
            <a:spLocks noGrp="1"/>
          </p:cNvSpPr>
          <p:nvPr>
            <p:ph type="body" idx="31" hasCustomPrompt="1"/>
          </p:nvPr>
        </p:nvSpPr>
        <p:spPr>
          <a:xfrm>
            <a:off x="9018588" y="4375552"/>
            <a:ext cx="2689223" cy="436563"/>
          </a:xfrm>
          <a:prstGeom prst="rect">
            <a:avLst/>
          </a:prstGeom>
        </p:spPr>
        <p:txBody>
          <a:bodyPr anchor="t"/>
          <a:lstStyle>
            <a:lvl1pPr marL="0" indent="0" algn="ctr">
              <a:buNone/>
              <a:defRPr sz="1799" b="1" baseline="0">
                <a:solidFill>
                  <a:schemeClr val="accent5"/>
                </a:solidFill>
                <a:latin typeface="Roboto" panose="02000000000000000000" pitchFamily="2" charset="0"/>
                <a:ea typeface="Roboto" panose="02000000000000000000" pitchFamily="2" charset="0"/>
              </a:defRPr>
            </a:lvl1pPr>
            <a:lvl2pPr marL="456972" indent="0">
              <a:buNone/>
              <a:defRPr sz="1999" b="1"/>
            </a:lvl2pPr>
            <a:lvl3pPr marL="913943" indent="0">
              <a:buNone/>
              <a:defRPr sz="1799" b="1"/>
            </a:lvl3pPr>
            <a:lvl4pPr marL="1370915" indent="0">
              <a:buNone/>
              <a:defRPr sz="1600" b="1"/>
            </a:lvl4pPr>
            <a:lvl5pPr marL="1827885" indent="0">
              <a:buNone/>
              <a:defRPr sz="1600" b="1"/>
            </a:lvl5pPr>
            <a:lvl6pPr marL="2284856" indent="0">
              <a:buNone/>
              <a:defRPr sz="1600" b="1"/>
            </a:lvl6pPr>
            <a:lvl7pPr marL="2741828" indent="0">
              <a:buNone/>
              <a:defRPr sz="1600" b="1"/>
            </a:lvl7pPr>
            <a:lvl8pPr marL="3198800" indent="0">
              <a:buNone/>
              <a:defRPr sz="1600" b="1"/>
            </a:lvl8pPr>
            <a:lvl9pPr marL="3655772" indent="0">
              <a:buNone/>
              <a:defRPr sz="1600" b="1"/>
            </a:lvl9pPr>
          </a:lstStyle>
          <a:p>
            <a:pPr lvl="0"/>
            <a:r>
              <a:rPr lang="en-US"/>
              <a:t>Speaker Name</a:t>
            </a:r>
          </a:p>
        </p:txBody>
      </p:sp>
      <p:sp>
        <p:nvSpPr>
          <p:cNvPr id="36" name="Diamond 35">
            <a:extLst>
              <a:ext uri="{FF2B5EF4-FFF2-40B4-BE49-F238E27FC236}">
                <a16:creationId xmlns:a16="http://schemas.microsoft.com/office/drawing/2014/main" id="{91A088DD-4084-8A4C-835A-43C900EFB079}"/>
              </a:ext>
            </a:extLst>
          </p:cNvPr>
          <p:cNvSpPr/>
          <p:nvPr userDrawn="1"/>
        </p:nvSpPr>
        <p:spPr>
          <a:xfrm>
            <a:off x="569655" y="1730618"/>
            <a:ext cx="2476500" cy="2476500"/>
          </a:xfrm>
          <a:prstGeom prst="diamond">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37124" tIns="91416" rIns="137124" bIns="91416" rtlCol="0" anchor="ctr"/>
          <a:lstStyle/>
          <a:p>
            <a:pPr algn="ctr"/>
            <a:endParaRPr lang="en-US" sz="1799">
              <a:latin typeface="Roboto" panose="02000000000000000000" pitchFamily="2" charset="0"/>
              <a:ea typeface="Roboto" panose="02000000000000000000" pitchFamily="2" charset="0"/>
              <a:cs typeface="Roboto" charset="0"/>
            </a:endParaRPr>
          </a:p>
        </p:txBody>
      </p:sp>
      <p:sp>
        <p:nvSpPr>
          <p:cNvPr id="37" name="Diamond 36">
            <a:extLst>
              <a:ext uri="{FF2B5EF4-FFF2-40B4-BE49-F238E27FC236}">
                <a16:creationId xmlns:a16="http://schemas.microsoft.com/office/drawing/2014/main" id="{171206F5-56D1-2E45-B018-D785D58A8E5D}"/>
              </a:ext>
            </a:extLst>
          </p:cNvPr>
          <p:cNvSpPr/>
          <p:nvPr userDrawn="1"/>
        </p:nvSpPr>
        <p:spPr>
          <a:xfrm>
            <a:off x="3449719" y="1730618"/>
            <a:ext cx="2476500" cy="2476500"/>
          </a:xfrm>
          <a:prstGeom prst="diamond">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37124" tIns="91416" rIns="137124" bIns="91416" rtlCol="0" anchor="ctr"/>
          <a:lstStyle/>
          <a:p>
            <a:pPr algn="ctr"/>
            <a:endParaRPr lang="en-US" sz="1799">
              <a:latin typeface="Roboto" panose="02000000000000000000" pitchFamily="2" charset="0"/>
              <a:ea typeface="Roboto" panose="02000000000000000000" pitchFamily="2" charset="0"/>
              <a:cs typeface="Roboto" charset="0"/>
            </a:endParaRPr>
          </a:p>
        </p:txBody>
      </p:sp>
      <p:sp>
        <p:nvSpPr>
          <p:cNvPr id="38" name="Diamond 37">
            <a:extLst>
              <a:ext uri="{FF2B5EF4-FFF2-40B4-BE49-F238E27FC236}">
                <a16:creationId xmlns:a16="http://schemas.microsoft.com/office/drawing/2014/main" id="{172F3937-CFA8-E145-95DE-FB61E8D3E1F3}"/>
              </a:ext>
            </a:extLst>
          </p:cNvPr>
          <p:cNvSpPr/>
          <p:nvPr userDrawn="1"/>
        </p:nvSpPr>
        <p:spPr>
          <a:xfrm>
            <a:off x="6329782" y="1730618"/>
            <a:ext cx="2476500" cy="2476500"/>
          </a:xfrm>
          <a:prstGeom prst="diamond">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37124" tIns="91416" rIns="137124" bIns="91416" rtlCol="0" anchor="ctr"/>
          <a:lstStyle/>
          <a:p>
            <a:pPr algn="ctr"/>
            <a:endParaRPr lang="en-US" sz="1799">
              <a:latin typeface="Roboto" panose="02000000000000000000" pitchFamily="2" charset="0"/>
              <a:ea typeface="Roboto" panose="02000000000000000000" pitchFamily="2" charset="0"/>
              <a:cs typeface="Roboto" charset="0"/>
            </a:endParaRPr>
          </a:p>
        </p:txBody>
      </p:sp>
      <p:sp>
        <p:nvSpPr>
          <p:cNvPr id="39" name="Diamond 38">
            <a:extLst>
              <a:ext uri="{FF2B5EF4-FFF2-40B4-BE49-F238E27FC236}">
                <a16:creationId xmlns:a16="http://schemas.microsoft.com/office/drawing/2014/main" id="{B45E6384-37FE-A84B-80D1-8A1FBCBDFC4D}"/>
              </a:ext>
            </a:extLst>
          </p:cNvPr>
          <p:cNvSpPr/>
          <p:nvPr userDrawn="1"/>
        </p:nvSpPr>
        <p:spPr>
          <a:xfrm>
            <a:off x="9209843" y="1730618"/>
            <a:ext cx="2476500" cy="2476500"/>
          </a:xfrm>
          <a:prstGeom prst="diamond">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37124" tIns="91416" rIns="137124" bIns="91416" rtlCol="0" anchor="ctr"/>
          <a:lstStyle/>
          <a:p>
            <a:pPr algn="ctr"/>
            <a:endParaRPr lang="en-US" sz="1799">
              <a:latin typeface="Roboto" panose="02000000000000000000" pitchFamily="2" charset="0"/>
              <a:ea typeface="Roboto" panose="02000000000000000000" pitchFamily="2" charset="0"/>
              <a:cs typeface="Roboto" charset="0"/>
            </a:endParaRPr>
          </a:p>
        </p:txBody>
      </p:sp>
      <p:sp>
        <p:nvSpPr>
          <p:cNvPr id="40" name="Picture Placeholder 6">
            <a:extLst>
              <a:ext uri="{FF2B5EF4-FFF2-40B4-BE49-F238E27FC236}">
                <a16:creationId xmlns:a16="http://schemas.microsoft.com/office/drawing/2014/main" id="{61C6B80F-EE96-D047-9252-8D52E557D4B5}"/>
              </a:ext>
            </a:extLst>
          </p:cNvPr>
          <p:cNvSpPr>
            <a:spLocks noGrp="1"/>
          </p:cNvSpPr>
          <p:nvPr>
            <p:ph type="pic" sz="quarter" idx="15" hasCustomPrompt="1"/>
          </p:nvPr>
        </p:nvSpPr>
        <p:spPr>
          <a:xfrm>
            <a:off x="578348" y="1575170"/>
            <a:ext cx="2459114" cy="2457450"/>
          </a:xfrm>
          <a:prstGeom prst="diamond">
            <a:avLst/>
          </a:prstGeom>
          <a:solidFill>
            <a:schemeClr val="bg1">
              <a:lumMod val="95000"/>
            </a:schemeClr>
          </a:solidFill>
          <a:ln w="38100">
            <a:solidFill>
              <a:schemeClr val="bg1"/>
            </a:solidFill>
          </a:ln>
        </p:spPr>
        <p:txBody>
          <a:bodyPr vert="horz" lIns="0" tIns="0" rIns="0" bIns="0" rtlCol="0" anchor="ctr">
            <a:noAutofit/>
          </a:bodyPr>
          <a:lstStyle>
            <a:lvl1pPr>
              <a:defRPr lang="en-US" dirty="0">
                <a:latin typeface="Roboto" panose="02000000000000000000" pitchFamily="2" charset="0"/>
                <a:ea typeface="Roboto" panose="02000000000000000000" pitchFamily="2" charset="0"/>
              </a:defRPr>
            </a:lvl1pPr>
          </a:lstStyle>
          <a:p>
            <a:pPr marL="0" lvl="0" indent="0" algn="ctr">
              <a:buNone/>
            </a:pPr>
            <a:r>
              <a:rPr lang="en-US"/>
              <a:t>CLICK TO INSERT IMAGE</a:t>
            </a:r>
          </a:p>
        </p:txBody>
      </p:sp>
      <p:sp>
        <p:nvSpPr>
          <p:cNvPr id="41" name="Picture Placeholder 6">
            <a:extLst>
              <a:ext uri="{FF2B5EF4-FFF2-40B4-BE49-F238E27FC236}">
                <a16:creationId xmlns:a16="http://schemas.microsoft.com/office/drawing/2014/main" id="{40132503-CA63-334D-97FB-3D2E23836B43}"/>
              </a:ext>
            </a:extLst>
          </p:cNvPr>
          <p:cNvSpPr>
            <a:spLocks noGrp="1"/>
          </p:cNvSpPr>
          <p:nvPr>
            <p:ph type="pic" sz="quarter" idx="16" hasCustomPrompt="1"/>
          </p:nvPr>
        </p:nvSpPr>
        <p:spPr>
          <a:xfrm>
            <a:off x="3458412" y="1575170"/>
            <a:ext cx="2459114" cy="2457450"/>
          </a:xfrm>
          <a:prstGeom prst="diamond">
            <a:avLst/>
          </a:prstGeom>
          <a:solidFill>
            <a:schemeClr val="bg1">
              <a:lumMod val="95000"/>
            </a:schemeClr>
          </a:solidFill>
          <a:ln w="38100">
            <a:solidFill>
              <a:schemeClr val="bg1"/>
            </a:solidFill>
          </a:ln>
        </p:spPr>
        <p:txBody>
          <a:bodyPr vert="horz" lIns="0" tIns="0" rIns="0" bIns="0" rtlCol="0" anchor="ctr">
            <a:noAutofit/>
          </a:bodyPr>
          <a:lstStyle>
            <a:lvl1pPr>
              <a:defRPr lang="en-US" dirty="0">
                <a:latin typeface="Roboto" panose="02000000000000000000" pitchFamily="2" charset="0"/>
                <a:ea typeface="Roboto" panose="02000000000000000000" pitchFamily="2" charset="0"/>
              </a:defRPr>
            </a:lvl1pPr>
          </a:lstStyle>
          <a:p>
            <a:pPr marL="0" lvl="0" indent="0" algn="ctr">
              <a:buNone/>
            </a:pPr>
            <a:r>
              <a:rPr lang="en-US"/>
              <a:t>CLICK TO INSERT IMAGE</a:t>
            </a:r>
          </a:p>
        </p:txBody>
      </p:sp>
      <p:sp>
        <p:nvSpPr>
          <p:cNvPr id="42" name="Picture Placeholder 6">
            <a:extLst>
              <a:ext uri="{FF2B5EF4-FFF2-40B4-BE49-F238E27FC236}">
                <a16:creationId xmlns:a16="http://schemas.microsoft.com/office/drawing/2014/main" id="{AB2F76BF-29E7-814C-8EDC-8309C88CEEC6}"/>
              </a:ext>
            </a:extLst>
          </p:cNvPr>
          <p:cNvSpPr>
            <a:spLocks noGrp="1"/>
          </p:cNvSpPr>
          <p:nvPr>
            <p:ph type="pic" sz="quarter" idx="17" hasCustomPrompt="1"/>
          </p:nvPr>
        </p:nvSpPr>
        <p:spPr>
          <a:xfrm>
            <a:off x="6338475" y="1575170"/>
            <a:ext cx="2459114" cy="2457450"/>
          </a:xfrm>
          <a:prstGeom prst="diamond">
            <a:avLst/>
          </a:prstGeom>
          <a:solidFill>
            <a:schemeClr val="bg1">
              <a:lumMod val="95000"/>
            </a:schemeClr>
          </a:solidFill>
          <a:ln w="38100">
            <a:solidFill>
              <a:schemeClr val="bg1"/>
            </a:solidFill>
          </a:ln>
        </p:spPr>
        <p:txBody>
          <a:bodyPr vert="horz" lIns="0" tIns="0" rIns="0" bIns="0" rtlCol="0" anchor="ctr">
            <a:noAutofit/>
          </a:bodyPr>
          <a:lstStyle>
            <a:lvl1pPr>
              <a:defRPr lang="en-US" dirty="0">
                <a:latin typeface="Roboto" panose="02000000000000000000" pitchFamily="2" charset="0"/>
                <a:ea typeface="Roboto" panose="02000000000000000000" pitchFamily="2" charset="0"/>
              </a:defRPr>
            </a:lvl1pPr>
          </a:lstStyle>
          <a:p>
            <a:pPr marL="0" lvl="0" indent="0" algn="ctr">
              <a:buNone/>
            </a:pPr>
            <a:r>
              <a:rPr lang="en-US"/>
              <a:t>CLICK TO INSERT IMAGE</a:t>
            </a:r>
          </a:p>
        </p:txBody>
      </p:sp>
      <p:sp>
        <p:nvSpPr>
          <p:cNvPr id="43" name="Picture Placeholder 6">
            <a:extLst>
              <a:ext uri="{FF2B5EF4-FFF2-40B4-BE49-F238E27FC236}">
                <a16:creationId xmlns:a16="http://schemas.microsoft.com/office/drawing/2014/main" id="{E2BB33F9-74E8-7242-A909-F5613D8F419B}"/>
              </a:ext>
            </a:extLst>
          </p:cNvPr>
          <p:cNvSpPr>
            <a:spLocks noGrp="1"/>
          </p:cNvSpPr>
          <p:nvPr>
            <p:ph type="pic" sz="quarter" idx="18" hasCustomPrompt="1"/>
          </p:nvPr>
        </p:nvSpPr>
        <p:spPr>
          <a:xfrm>
            <a:off x="9218536" y="1575170"/>
            <a:ext cx="2459114" cy="2457450"/>
          </a:xfrm>
          <a:prstGeom prst="diamond">
            <a:avLst/>
          </a:prstGeom>
          <a:solidFill>
            <a:schemeClr val="bg1">
              <a:lumMod val="95000"/>
            </a:schemeClr>
          </a:solidFill>
          <a:ln w="38100">
            <a:solidFill>
              <a:schemeClr val="bg1"/>
            </a:solidFill>
          </a:ln>
        </p:spPr>
        <p:txBody>
          <a:bodyPr vert="horz" lIns="0" tIns="0" rIns="0" bIns="0" rtlCol="0" anchor="ctr">
            <a:noAutofit/>
          </a:bodyPr>
          <a:lstStyle>
            <a:lvl1pPr>
              <a:defRPr lang="en-US" dirty="0">
                <a:latin typeface="Roboto" panose="02000000000000000000" pitchFamily="2" charset="0"/>
                <a:ea typeface="Roboto" panose="02000000000000000000" pitchFamily="2" charset="0"/>
              </a:defRPr>
            </a:lvl1pPr>
          </a:lstStyle>
          <a:p>
            <a:pPr marL="0" lvl="0" indent="0" algn="ctr">
              <a:buNone/>
            </a:pPr>
            <a:r>
              <a:rPr lang="en-US"/>
              <a:t>CLICK TO INSERT IMAGE</a:t>
            </a:r>
          </a:p>
        </p:txBody>
      </p:sp>
      <p:sp>
        <p:nvSpPr>
          <p:cNvPr id="44" name="Text Placeholder 3">
            <a:extLst>
              <a:ext uri="{FF2B5EF4-FFF2-40B4-BE49-F238E27FC236}">
                <a16:creationId xmlns:a16="http://schemas.microsoft.com/office/drawing/2014/main" id="{51478BA8-6F7A-304D-B86C-2586870BB877}"/>
              </a:ext>
            </a:extLst>
          </p:cNvPr>
          <p:cNvSpPr>
            <a:spLocks noGrp="1"/>
          </p:cNvSpPr>
          <p:nvPr>
            <p:ph type="body" sz="quarter" idx="32"/>
          </p:nvPr>
        </p:nvSpPr>
        <p:spPr>
          <a:xfrm>
            <a:off x="592931" y="4813477"/>
            <a:ext cx="2525712" cy="455613"/>
          </a:xfrm>
          <a:prstGeom prst="rect">
            <a:avLst/>
          </a:prstGeom>
        </p:spPr>
        <p:txBody>
          <a:bodyPr/>
          <a:lstStyle>
            <a:lvl1pPr marL="0" indent="0" algn="ctr">
              <a:buNone/>
              <a:defRPr sz="1400">
                <a:latin typeface="Roboto" panose="02000000000000000000" pitchFamily="2" charset="0"/>
                <a:ea typeface="Roboto" panose="02000000000000000000" pitchFamily="2" charset="0"/>
              </a:defRPr>
            </a:lvl1pPr>
          </a:lstStyle>
          <a:p>
            <a:pPr lvl="0"/>
            <a:r>
              <a:rPr lang="en-US"/>
              <a:t>Click to edit Master text styles</a:t>
            </a:r>
          </a:p>
        </p:txBody>
      </p:sp>
      <p:sp>
        <p:nvSpPr>
          <p:cNvPr id="45" name="Text Placeholder 3">
            <a:extLst>
              <a:ext uri="{FF2B5EF4-FFF2-40B4-BE49-F238E27FC236}">
                <a16:creationId xmlns:a16="http://schemas.microsoft.com/office/drawing/2014/main" id="{3ACA0384-4BC3-A24F-A4AA-30821C5B75DF}"/>
              </a:ext>
            </a:extLst>
          </p:cNvPr>
          <p:cNvSpPr>
            <a:spLocks noGrp="1"/>
          </p:cNvSpPr>
          <p:nvPr>
            <p:ph type="body" sz="quarter" idx="33"/>
          </p:nvPr>
        </p:nvSpPr>
        <p:spPr>
          <a:xfrm>
            <a:off x="3440376" y="4813477"/>
            <a:ext cx="2525712" cy="455613"/>
          </a:xfrm>
          <a:prstGeom prst="rect">
            <a:avLst/>
          </a:prstGeom>
        </p:spPr>
        <p:txBody>
          <a:bodyPr/>
          <a:lstStyle>
            <a:lvl1pPr marL="0" indent="0" algn="ctr">
              <a:buNone/>
              <a:defRPr sz="1400">
                <a:latin typeface="Roboto" panose="02000000000000000000" pitchFamily="2" charset="0"/>
                <a:ea typeface="Roboto" panose="02000000000000000000" pitchFamily="2" charset="0"/>
              </a:defRPr>
            </a:lvl1pPr>
          </a:lstStyle>
          <a:p>
            <a:pPr lvl="0"/>
            <a:r>
              <a:rPr lang="en-US"/>
              <a:t>Click to edit Master text styles</a:t>
            </a:r>
          </a:p>
        </p:txBody>
      </p:sp>
      <p:sp>
        <p:nvSpPr>
          <p:cNvPr id="46" name="Text Placeholder 3">
            <a:extLst>
              <a:ext uri="{FF2B5EF4-FFF2-40B4-BE49-F238E27FC236}">
                <a16:creationId xmlns:a16="http://schemas.microsoft.com/office/drawing/2014/main" id="{AFE12184-A449-394F-9A5B-6B7181B0EA62}"/>
              </a:ext>
            </a:extLst>
          </p:cNvPr>
          <p:cNvSpPr>
            <a:spLocks noGrp="1"/>
          </p:cNvSpPr>
          <p:nvPr>
            <p:ph type="body" sz="quarter" idx="34"/>
          </p:nvPr>
        </p:nvSpPr>
        <p:spPr>
          <a:xfrm>
            <a:off x="6252897" y="4813477"/>
            <a:ext cx="2525712" cy="455613"/>
          </a:xfrm>
          <a:prstGeom prst="rect">
            <a:avLst/>
          </a:prstGeom>
        </p:spPr>
        <p:txBody>
          <a:bodyPr/>
          <a:lstStyle>
            <a:lvl1pPr marL="0" indent="0" algn="ctr">
              <a:buNone/>
              <a:defRPr sz="1400">
                <a:latin typeface="Roboto" panose="02000000000000000000" pitchFamily="2" charset="0"/>
                <a:ea typeface="Roboto" panose="02000000000000000000" pitchFamily="2" charset="0"/>
              </a:defRPr>
            </a:lvl1pPr>
          </a:lstStyle>
          <a:p>
            <a:pPr lvl="0"/>
            <a:r>
              <a:rPr lang="en-US"/>
              <a:t>Click to edit Master text styles</a:t>
            </a:r>
          </a:p>
        </p:txBody>
      </p:sp>
      <p:sp>
        <p:nvSpPr>
          <p:cNvPr id="47" name="Text Placeholder 3">
            <a:extLst>
              <a:ext uri="{FF2B5EF4-FFF2-40B4-BE49-F238E27FC236}">
                <a16:creationId xmlns:a16="http://schemas.microsoft.com/office/drawing/2014/main" id="{DBB1A060-0915-AC4B-B2BB-D822FB5AA629}"/>
              </a:ext>
            </a:extLst>
          </p:cNvPr>
          <p:cNvSpPr>
            <a:spLocks noGrp="1"/>
          </p:cNvSpPr>
          <p:nvPr>
            <p:ph type="body" sz="quarter" idx="35"/>
          </p:nvPr>
        </p:nvSpPr>
        <p:spPr>
          <a:xfrm>
            <a:off x="9100343" y="4813477"/>
            <a:ext cx="2525712" cy="455613"/>
          </a:xfrm>
          <a:prstGeom prst="rect">
            <a:avLst/>
          </a:prstGeom>
        </p:spPr>
        <p:txBody>
          <a:bodyPr/>
          <a:lstStyle>
            <a:lvl1pPr marL="0" indent="0" algn="ctr">
              <a:buNone/>
              <a:defRPr sz="1400">
                <a:latin typeface="Roboto" panose="02000000000000000000" pitchFamily="2" charset="0"/>
                <a:ea typeface="Roboto" panose="02000000000000000000" pitchFamily="2" charset="0"/>
              </a:defRPr>
            </a:lvl1pPr>
          </a:lstStyle>
          <a:p>
            <a:pPr lvl="0"/>
            <a:r>
              <a:rPr lang="en-US"/>
              <a:t>Click to edit Master text styles</a:t>
            </a:r>
          </a:p>
        </p:txBody>
      </p:sp>
    </p:spTree>
    <p:extLst>
      <p:ext uri="{BB962C8B-B14F-4D97-AF65-F5344CB8AC3E}">
        <p14:creationId xmlns:p14="http://schemas.microsoft.com/office/powerpoint/2010/main" val="2189476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3" name="Right Triangle 32">
            <a:extLst>
              <a:ext uri="{FF2B5EF4-FFF2-40B4-BE49-F238E27FC236}">
                <a16:creationId xmlns:a16="http://schemas.microsoft.com/office/drawing/2014/main" id="{037D1EC7-8BD5-A840-984E-51CEE19E5D92}"/>
              </a:ext>
            </a:extLst>
          </p:cNvPr>
          <p:cNvSpPr/>
          <p:nvPr userDrawn="1"/>
        </p:nvSpPr>
        <p:spPr>
          <a:xfrm>
            <a:off x="0" y="2761950"/>
            <a:ext cx="702453" cy="4096050"/>
          </a:xfrm>
          <a:prstGeom prst="r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37124" tIns="91416" rIns="137124" bIns="91416" rtlCol="0" anchor="ct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23" name="Freeform 10">
            <a:extLst>
              <a:ext uri="{FF2B5EF4-FFF2-40B4-BE49-F238E27FC236}">
                <a16:creationId xmlns:a16="http://schemas.microsoft.com/office/drawing/2014/main" id="{745915A3-D5B5-48C4-B6C4-9329F420CA9D}"/>
              </a:ext>
            </a:extLst>
          </p:cNvPr>
          <p:cNvSpPr/>
          <p:nvPr userDrawn="1"/>
        </p:nvSpPr>
        <p:spPr>
          <a:xfrm>
            <a:off x="1027114" y="1860535"/>
            <a:ext cx="3383106" cy="1333425"/>
          </a:xfrm>
          <a:custGeom>
            <a:avLst/>
            <a:gdLst>
              <a:gd name="connsiteX0" fmla="*/ 0 w 2946408"/>
              <a:gd name="connsiteY0" fmla="*/ 0 h 1767845"/>
              <a:gd name="connsiteX1" fmla="*/ 2946408 w 2946408"/>
              <a:gd name="connsiteY1" fmla="*/ 0 h 1767845"/>
              <a:gd name="connsiteX2" fmla="*/ 2946408 w 2946408"/>
              <a:gd name="connsiteY2" fmla="*/ 1767845 h 1767845"/>
              <a:gd name="connsiteX3" fmla="*/ 0 w 2946408"/>
              <a:gd name="connsiteY3" fmla="*/ 1767845 h 1767845"/>
              <a:gd name="connsiteX4" fmla="*/ 0 w 2946408"/>
              <a:gd name="connsiteY4" fmla="*/ 0 h 1767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6408" h="1767845">
                <a:moveTo>
                  <a:pt x="0" y="0"/>
                </a:moveTo>
                <a:lnTo>
                  <a:pt x="2946408" y="0"/>
                </a:lnTo>
                <a:lnTo>
                  <a:pt x="2946408" y="1767845"/>
                </a:lnTo>
                <a:lnTo>
                  <a:pt x="0" y="1767845"/>
                </a:lnTo>
                <a:lnTo>
                  <a:pt x="0" y="0"/>
                </a:lnTo>
                <a:close/>
              </a:path>
            </a:pathLst>
          </a:custGeom>
          <a:solidFill>
            <a:srgbClr val="EAEAEA"/>
          </a:solidFill>
          <a:effectLst/>
        </p:spPr>
        <p:style>
          <a:lnRef idx="0">
            <a:schemeClr val="lt1">
              <a:hueOff val="0"/>
              <a:satOff val="0"/>
              <a:lumOff val="0"/>
              <a:alphaOff val="0"/>
            </a:schemeClr>
          </a:lnRef>
          <a:fillRef idx="3">
            <a:schemeClr val="accent2">
              <a:shade val="50000"/>
              <a:hueOff val="0"/>
              <a:satOff val="0"/>
              <a:lumOff val="0"/>
              <a:alphaOff val="0"/>
            </a:schemeClr>
          </a:fillRef>
          <a:effectRef idx="2">
            <a:schemeClr val="accent2">
              <a:shade val="50000"/>
              <a:hueOff val="0"/>
              <a:satOff val="0"/>
              <a:lumOff val="0"/>
              <a:alphaOff val="0"/>
            </a:schemeClr>
          </a:effectRef>
          <a:fontRef idx="minor">
            <a:schemeClr val="lt1"/>
          </a:fontRef>
        </p:style>
        <p:txBody>
          <a:bodyPr spcFirstLastPara="0" vert="horz" wrap="square" lIns="822746" tIns="91416" rIns="133281" bIns="133281" numCol="1" spcCol="1270" anchor="t" anchorCtr="0">
            <a:noAutofit/>
          </a:bodyPr>
          <a:lstStyle/>
          <a:p>
            <a:pPr marL="0" marR="0" lvl="0" indent="0" defTabSz="1554895" rtl="0" eaLnBrk="1" fontAlgn="auto" latinLnBrk="0" hangingPunct="1">
              <a:lnSpc>
                <a:spcPct val="90000"/>
              </a:lnSpc>
              <a:spcBef>
                <a:spcPct val="0"/>
              </a:spcBef>
              <a:spcAft>
                <a:spcPct val="35000"/>
              </a:spcAft>
              <a:buClrTx/>
              <a:buSzTx/>
              <a:buFontTx/>
              <a:buNone/>
              <a:tabLst/>
              <a:defRPr/>
            </a:pPr>
            <a:endParaRPr kumimoji="0" lang="en-US" sz="2399" u="none" strike="noStrike" kern="1200" cap="none" spc="0" normalizeH="0" baseline="0" noProof="0">
              <a:ln>
                <a:noFill/>
              </a:ln>
              <a:solidFill>
                <a:srgbClr val="373737"/>
              </a:solidFill>
              <a:effectLst/>
              <a:uLnTx/>
              <a:uFillTx/>
              <a:latin typeface="Roboto Light" panose="02000000000000000000" pitchFamily="2" charset="0"/>
              <a:ea typeface="Roboto Light" panose="02000000000000000000" pitchFamily="2" charset="0"/>
            </a:endParaRPr>
          </a:p>
        </p:txBody>
      </p:sp>
      <p:sp>
        <p:nvSpPr>
          <p:cNvPr id="25" name="Flowchart: Data 17">
            <a:extLst>
              <a:ext uri="{FF2B5EF4-FFF2-40B4-BE49-F238E27FC236}">
                <a16:creationId xmlns:a16="http://schemas.microsoft.com/office/drawing/2014/main" id="{349B7BD3-DEBB-4DD7-838A-6E8B2A05986E}"/>
              </a:ext>
            </a:extLst>
          </p:cNvPr>
          <p:cNvSpPr/>
          <p:nvPr userDrawn="1"/>
        </p:nvSpPr>
        <p:spPr>
          <a:xfrm>
            <a:off x="1150618" y="1962826"/>
            <a:ext cx="531595" cy="521348"/>
          </a:xfrm>
          <a:prstGeom prst="rect">
            <a:avLst/>
          </a:prstGeom>
          <a:solidFill>
            <a:schemeClr val="accent5"/>
          </a:solidFill>
          <a:ln w="12700">
            <a:noFill/>
          </a:ln>
          <a:effectLst/>
        </p:spPr>
        <p:style>
          <a:lnRef idx="1">
            <a:schemeClr val="accent1"/>
          </a:lnRef>
          <a:fillRef idx="3">
            <a:schemeClr val="accent1"/>
          </a:fillRef>
          <a:effectRef idx="2">
            <a:schemeClr val="accent1"/>
          </a:effectRef>
          <a:fontRef idx="minor">
            <a:schemeClr val="lt1"/>
          </a:fontRef>
        </p:style>
        <p:txBody>
          <a:bodyPr tIns="91392" bIns="91392" rtlCol="0" anchor="ctr"/>
          <a:lstStyle/>
          <a:p>
            <a:pPr marL="0" marR="0" lvl="0" indent="0" algn="ctr" defTabSz="1218529" rtl="0" eaLnBrk="1" fontAlgn="auto" latinLnBrk="0" hangingPunct="1">
              <a:lnSpc>
                <a:spcPct val="100000"/>
              </a:lnSpc>
              <a:spcBef>
                <a:spcPts val="0"/>
              </a:spcBef>
              <a:spcAft>
                <a:spcPts val="0"/>
              </a:spcAft>
              <a:buClrTx/>
              <a:buSzTx/>
              <a:buFontTx/>
              <a:buNone/>
              <a:tabLst/>
              <a:defRPr/>
            </a:pPr>
            <a:r>
              <a:rPr kumimoji="0" lang="en-US" sz="2398" u="none" strike="noStrike" kern="1200" cap="none" spc="0" normalizeH="0" baseline="0" noProof="0">
                <a:ln>
                  <a:noFill/>
                </a:ln>
                <a:solidFill>
                  <a:srgbClr val="FFFFFF"/>
                </a:solidFill>
                <a:effectLst/>
                <a:uLnTx/>
                <a:uFillTx/>
                <a:latin typeface="Roboto Light" panose="02000000000000000000" pitchFamily="2" charset="0"/>
                <a:ea typeface="Roboto Light" panose="02000000000000000000" pitchFamily="2" charset="0"/>
              </a:rPr>
              <a:t>1</a:t>
            </a:r>
          </a:p>
        </p:txBody>
      </p:sp>
      <p:sp>
        <p:nvSpPr>
          <p:cNvPr id="30" name="Freeform 11">
            <a:extLst>
              <a:ext uri="{FF2B5EF4-FFF2-40B4-BE49-F238E27FC236}">
                <a16:creationId xmlns:a16="http://schemas.microsoft.com/office/drawing/2014/main" id="{2A064FF6-AF2D-4388-93FD-EA665ED5B8F5}"/>
              </a:ext>
            </a:extLst>
          </p:cNvPr>
          <p:cNvSpPr/>
          <p:nvPr userDrawn="1"/>
        </p:nvSpPr>
        <p:spPr>
          <a:xfrm>
            <a:off x="4660829" y="1860533"/>
            <a:ext cx="3383107" cy="1333424"/>
          </a:xfrm>
          <a:custGeom>
            <a:avLst/>
            <a:gdLst>
              <a:gd name="connsiteX0" fmla="*/ 0 w 2946408"/>
              <a:gd name="connsiteY0" fmla="*/ 0 h 1767845"/>
              <a:gd name="connsiteX1" fmla="*/ 2946408 w 2946408"/>
              <a:gd name="connsiteY1" fmla="*/ 0 h 1767845"/>
              <a:gd name="connsiteX2" fmla="*/ 2946408 w 2946408"/>
              <a:gd name="connsiteY2" fmla="*/ 1767845 h 1767845"/>
              <a:gd name="connsiteX3" fmla="*/ 0 w 2946408"/>
              <a:gd name="connsiteY3" fmla="*/ 1767845 h 1767845"/>
              <a:gd name="connsiteX4" fmla="*/ 0 w 2946408"/>
              <a:gd name="connsiteY4" fmla="*/ 0 h 1767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6408" h="1767845">
                <a:moveTo>
                  <a:pt x="0" y="0"/>
                </a:moveTo>
                <a:lnTo>
                  <a:pt x="2946408" y="0"/>
                </a:lnTo>
                <a:lnTo>
                  <a:pt x="2946408" y="1767845"/>
                </a:lnTo>
                <a:lnTo>
                  <a:pt x="0" y="1767845"/>
                </a:lnTo>
                <a:lnTo>
                  <a:pt x="0" y="0"/>
                </a:lnTo>
                <a:close/>
              </a:path>
            </a:pathLst>
          </a:custGeom>
          <a:solidFill>
            <a:srgbClr val="EAEAEA"/>
          </a:solidFill>
          <a:effectLst/>
        </p:spPr>
        <p:style>
          <a:lnRef idx="0">
            <a:schemeClr val="lt1">
              <a:hueOff val="0"/>
              <a:satOff val="0"/>
              <a:lumOff val="0"/>
              <a:alphaOff val="0"/>
            </a:schemeClr>
          </a:lnRef>
          <a:fillRef idx="3">
            <a:schemeClr val="accent2">
              <a:shade val="50000"/>
              <a:hueOff val="-352213"/>
              <a:satOff val="0"/>
              <a:lumOff val="20640"/>
              <a:alphaOff val="0"/>
            </a:schemeClr>
          </a:fillRef>
          <a:effectRef idx="2">
            <a:schemeClr val="accent2">
              <a:shade val="50000"/>
              <a:hueOff val="-352213"/>
              <a:satOff val="0"/>
              <a:lumOff val="20640"/>
              <a:alphaOff val="0"/>
            </a:schemeClr>
          </a:effectRef>
          <a:fontRef idx="minor">
            <a:schemeClr val="lt1"/>
          </a:fontRef>
        </p:style>
        <p:txBody>
          <a:bodyPr spcFirstLastPara="0" vert="horz" wrap="square" lIns="822746" tIns="91416" rIns="133281" bIns="133281" numCol="1" spcCol="1270" anchor="t" anchorCtr="0">
            <a:noAutofit/>
          </a:bodyPr>
          <a:lstStyle/>
          <a:p>
            <a:pPr marL="0" marR="0" lvl="0" indent="0" defTabSz="1554895" rtl="0" eaLnBrk="1" fontAlgn="auto" latinLnBrk="0" hangingPunct="1">
              <a:lnSpc>
                <a:spcPct val="90000"/>
              </a:lnSpc>
              <a:spcBef>
                <a:spcPct val="0"/>
              </a:spcBef>
              <a:spcAft>
                <a:spcPct val="35000"/>
              </a:spcAft>
              <a:buClrTx/>
              <a:buSzTx/>
              <a:buFontTx/>
              <a:buNone/>
              <a:tabLst/>
              <a:defRPr/>
            </a:pPr>
            <a:endParaRPr kumimoji="0" lang="en-US" sz="2399" u="none" strike="noStrike" kern="1200" cap="none" spc="0" normalizeH="0" baseline="0" noProof="0">
              <a:ln>
                <a:noFill/>
              </a:ln>
              <a:solidFill>
                <a:srgbClr val="373737"/>
              </a:solidFill>
              <a:effectLst/>
              <a:uLnTx/>
              <a:uFillTx/>
              <a:latin typeface="Roboto Light" panose="02000000000000000000" pitchFamily="2" charset="0"/>
              <a:ea typeface="Roboto Light" panose="02000000000000000000" pitchFamily="2" charset="0"/>
            </a:endParaRPr>
          </a:p>
        </p:txBody>
      </p:sp>
      <p:sp>
        <p:nvSpPr>
          <p:cNvPr id="43" name="Flowchart: Data 17">
            <a:extLst>
              <a:ext uri="{FF2B5EF4-FFF2-40B4-BE49-F238E27FC236}">
                <a16:creationId xmlns:a16="http://schemas.microsoft.com/office/drawing/2014/main" id="{418571D1-079C-4BAE-B2D5-2A5E1D7D222E}"/>
              </a:ext>
            </a:extLst>
          </p:cNvPr>
          <p:cNvSpPr/>
          <p:nvPr userDrawn="1"/>
        </p:nvSpPr>
        <p:spPr>
          <a:xfrm>
            <a:off x="4789270" y="1957506"/>
            <a:ext cx="531595" cy="521348"/>
          </a:xfrm>
          <a:prstGeom prst="rect">
            <a:avLst/>
          </a:prstGeom>
          <a:solidFill>
            <a:schemeClr val="accent2"/>
          </a:solidFill>
          <a:ln w="12700">
            <a:noFill/>
          </a:ln>
          <a:effectLst/>
        </p:spPr>
        <p:style>
          <a:lnRef idx="1">
            <a:schemeClr val="accent1"/>
          </a:lnRef>
          <a:fillRef idx="3">
            <a:schemeClr val="accent1"/>
          </a:fillRef>
          <a:effectRef idx="2">
            <a:schemeClr val="accent1"/>
          </a:effectRef>
          <a:fontRef idx="minor">
            <a:schemeClr val="lt1"/>
          </a:fontRef>
        </p:style>
        <p:txBody>
          <a:bodyPr tIns="91392" bIns="91392" rtlCol="0" anchor="ctr"/>
          <a:lstStyle/>
          <a:p>
            <a:pPr marL="0" marR="0" lvl="0" indent="0" algn="ctr" defTabSz="1218529" rtl="0" eaLnBrk="1" fontAlgn="auto" latinLnBrk="0" hangingPunct="1">
              <a:lnSpc>
                <a:spcPct val="100000"/>
              </a:lnSpc>
              <a:spcBef>
                <a:spcPts val="0"/>
              </a:spcBef>
              <a:spcAft>
                <a:spcPts val="0"/>
              </a:spcAft>
              <a:buClrTx/>
              <a:buSzTx/>
              <a:buFontTx/>
              <a:buNone/>
              <a:tabLst/>
              <a:defRPr/>
            </a:pPr>
            <a:r>
              <a:rPr kumimoji="0" lang="en-US" sz="2398" u="none" strike="noStrike" kern="1200" cap="none" spc="0" normalizeH="0" baseline="0" noProof="0">
                <a:ln>
                  <a:noFill/>
                </a:ln>
                <a:solidFill>
                  <a:srgbClr val="FFFFFF"/>
                </a:solidFill>
                <a:effectLst/>
                <a:uLnTx/>
                <a:uFillTx/>
                <a:latin typeface="Roboto Light" panose="02000000000000000000" pitchFamily="2" charset="0"/>
                <a:ea typeface="Roboto Light" panose="02000000000000000000" pitchFamily="2" charset="0"/>
              </a:rPr>
              <a:t>2</a:t>
            </a:r>
          </a:p>
        </p:txBody>
      </p:sp>
      <p:sp>
        <p:nvSpPr>
          <p:cNvPr id="45" name="Freeform 12">
            <a:extLst>
              <a:ext uri="{FF2B5EF4-FFF2-40B4-BE49-F238E27FC236}">
                <a16:creationId xmlns:a16="http://schemas.microsoft.com/office/drawing/2014/main" id="{11238401-CA18-45C5-B261-27601B93764E}"/>
              </a:ext>
            </a:extLst>
          </p:cNvPr>
          <p:cNvSpPr/>
          <p:nvPr userDrawn="1"/>
        </p:nvSpPr>
        <p:spPr>
          <a:xfrm>
            <a:off x="8294546" y="1860534"/>
            <a:ext cx="3383106" cy="1333425"/>
          </a:xfrm>
          <a:custGeom>
            <a:avLst/>
            <a:gdLst>
              <a:gd name="connsiteX0" fmla="*/ 0 w 2946408"/>
              <a:gd name="connsiteY0" fmla="*/ 0 h 1767845"/>
              <a:gd name="connsiteX1" fmla="*/ 2946408 w 2946408"/>
              <a:gd name="connsiteY1" fmla="*/ 0 h 1767845"/>
              <a:gd name="connsiteX2" fmla="*/ 2946408 w 2946408"/>
              <a:gd name="connsiteY2" fmla="*/ 1767845 h 1767845"/>
              <a:gd name="connsiteX3" fmla="*/ 0 w 2946408"/>
              <a:gd name="connsiteY3" fmla="*/ 1767845 h 1767845"/>
              <a:gd name="connsiteX4" fmla="*/ 0 w 2946408"/>
              <a:gd name="connsiteY4" fmla="*/ 0 h 1767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6408" h="1767845">
                <a:moveTo>
                  <a:pt x="0" y="0"/>
                </a:moveTo>
                <a:lnTo>
                  <a:pt x="2946408" y="0"/>
                </a:lnTo>
                <a:lnTo>
                  <a:pt x="2946408" y="1767845"/>
                </a:lnTo>
                <a:lnTo>
                  <a:pt x="0" y="1767845"/>
                </a:lnTo>
                <a:lnTo>
                  <a:pt x="0" y="0"/>
                </a:lnTo>
                <a:close/>
              </a:path>
            </a:pathLst>
          </a:custGeom>
          <a:solidFill>
            <a:srgbClr val="EAEAEA"/>
          </a:solidFill>
          <a:effectLst/>
        </p:spPr>
        <p:style>
          <a:lnRef idx="0">
            <a:schemeClr val="lt1">
              <a:hueOff val="0"/>
              <a:satOff val="0"/>
              <a:lumOff val="0"/>
              <a:alphaOff val="0"/>
            </a:schemeClr>
          </a:lnRef>
          <a:fillRef idx="3">
            <a:schemeClr val="accent2">
              <a:shade val="50000"/>
              <a:hueOff val="-704426"/>
              <a:satOff val="0"/>
              <a:lumOff val="41281"/>
              <a:alphaOff val="0"/>
            </a:schemeClr>
          </a:fillRef>
          <a:effectRef idx="2">
            <a:schemeClr val="accent2">
              <a:shade val="50000"/>
              <a:hueOff val="-704426"/>
              <a:satOff val="0"/>
              <a:lumOff val="41281"/>
              <a:alphaOff val="0"/>
            </a:schemeClr>
          </a:effectRef>
          <a:fontRef idx="minor">
            <a:schemeClr val="lt1"/>
          </a:fontRef>
        </p:style>
        <p:txBody>
          <a:bodyPr spcFirstLastPara="0" vert="horz" wrap="square" lIns="822746" tIns="91416" rIns="133281" bIns="133281" numCol="1" spcCol="1270" anchor="t" anchorCtr="0">
            <a:noAutofit/>
          </a:bodyPr>
          <a:lstStyle/>
          <a:p>
            <a:pPr marL="0" marR="0" lvl="0" indent="0" defTabSz="1554895" rtl="0" eaLnBrk="1" fontAlgn="auto" latinLnBrk="0" hangingPunct="1">
              <a:lnSpc>
                <a:spcPct val="90000"/>
              </a:lnSpc>
              <a:spcBef>
                <a:spcPct val="0"/>
              </a:spcBef>
              <a:spcAft>
                <a:spcPct val="35000"/>
              </a:spcAft>
              <a:buClrTx/>
              <a:buSzTx/>
              <a:buFontTx/>
              <a:buNone/>
              <a:tabLst/>
              <a:defRPr/>
            </a:pPr>
            <a:endParaRPr kumimoji="0" lang="en-US" sz="2399" u="none" strike="noStrike" kern="1200" cap="none" spc="0" normalizeH="0" baseline="0" noProof="0">
              <a:ln>
                <a:noFill/>
              </a:ln>
              <a:solidFill>
                <a:srgbClr val="373737"/>
              </a:solidFill>
              <a:effectLst/>
              <a:uLnTx/>
              <a:uFillTx/>
              <a:latin typeface="Roboto Light" panose="02000000000000000000" pitchFamily="2" charset="0"/>
              <a:ea typeface="Roboto Light" panose="02000000000000000000" pitchFamily="2" charset="0"/>
            </a:endParaRPr>
          </a:p>
        </p:txBody>
      </p:sp>
      <p:sp>
        <p:nvSpPr>
          <p:cNvPr id="47" name="Flowchart: Data 17">
            <a:extLst>
              <a:ext uri="{FF2B5EF4-FFF2-40B4-BE49-F238E27FC236}">
                <a16:creationId xmlns:a16="http://schemas.microsoft.com/office/drawing/2014/main" id="{705961DD-CF95-43C7-BEBC-A6D32D05FA6C}"/>
              </a:ext>
            </a:extLst>
          </p:cNvPr>
          <p:cNvSpPr/>
          <p:nvPr userDrawn="1"/>
        </p:nvSpPr>
        <p:spPr>
          <a:xfrm>
            <a:off x="8413062" y="1957504"/>
            <a:ext cx="531595" cy="521348"/>
          </a:xfrm>
          <a:prstGeom prst="rect">
            <a:avLst/>
          </a:prstGeom>
          <a:solidFill>
            <a:schemeClr val="accent4"/>
          </a:solidFill>
          <a:ln w="12700">
            <a:noFill/>
          </a:ln>
          <a:effectLst/>
        </p:spPr>
        <p:style>
          <a:lnRef idx="1">
            <a:schemeClr val="accent1"/>
          </a:lnRef>
          <a:fillRef idx="3">
            <a:schemeClr val="accent1"/>
          </a:fillRef>
          <a:effectRef idx="2">
            <a:schemeClr val="accent1"/>
          </a:effectRef>
          <a:fontRef idx="minor">
            <a:schemeClr val="lt1"/>
          </a:fontRef>
        </p:style>
        <p:txBody>
          <a:bodyPr tIns="91392" bIns="91392" rtlCol="0" anchor="ctr"/>
          <a:lstStyle/>
          <a:p>
            <a:pPr marL="0" marR="0" lvl="0" indent="0" algn="ctr" defTabSz="1218529" rtl="0" eaLnBrk="1" fontAlgn="auto" latinLnBrk="0" hangingPunct="1">
              <a:lnSpc>
                <a:spcPct val="100000"/>
              </a:lnSpc>
              <a:spcBef>
                <a:spcPts val="0"/>
              </a:spcBef>
              <a:spcAft>
                <a:spcPts val="0"/>
              </a:spcAft>
              <a:buClrTx/>
              <a:buSzTx/>
              <a:buFontTx/>
              <a:buNone/>
              <a:tabLst/>
              <a:defRPr/>
            </a:pPr>
            <a:r>
              <a:rPr kumimoji="0" lang="en-US" sz="2398" u="none" strike="noStrike" kern="1200" cap="none" spc="0" normalizeH="0" baseline="0" noProof="0">
                <a:ln>
                  <a:noFill/>
                </a:ln>
                <a:solidFill>
                  <a:srgbClr val="FFFFFF"/>
                </a:solidFill>
                <a:effectLst/>
                <a:uLnTx/>
                <a:uFillTx/>
                <a:latin typeface="Roboto Light" panose="02000000000000000000" pitchFamily="2" charset="0"/>
                <a:ea typeface="Roboto Light" panose="02000000000000000000" pitchFamily="2" charset="0"/>
              </a:rPr>
              <a:t>3</a:t>
            </a:r>
          </a:p>
        </p:txBody>
      </p:sp>
      <p:sp>
        <p:nvSpPr>
          <p:cNvPr id="58" name="Freeform 15">
            <a:extLst>
              <a:ext uri="{FF2B5EF4-FFF2-40B4-BE49-F238E27FC236}">
                <a16:creationId xmlns:a16="http://schemas.microsoft.com/office/drawing/2014/main" id="{B5F27876-E2DC-48A4-9A76-B4875B05A647}"/>
              </a:ext>
            </a:extLst>
          </p:cNvPr>
          <p:cNvSpPr/>
          <p:nvPr userDrawn="1"/>
        </p:nvSpPr>
        <p:spPr>
          <a:xfrm>
            <a:off x="1028280" y="3446480"/>
            <a:ext cx="3383106" cy="1333426"/>
          </a:xfrm>
          <a:custGeom>
            <a:avLst/>
            <a:gdLst>
              <a:gd name="connsiteX0" fmla="*/ 0 w 2946408"/>
              <a:gd name="connsiteY0" fmla="*/ 0 h 1767845"/>
              <a:gd name="connsiteX1" fmla="*/ 2946408 w 2946408"/>
              <a:gd name="connsiteY1" fmla="*/ 0 h 1767845"/>
              <a:gd name="connsiteX2" fmla="*/ 2946408 w 2946408"/>
              <a:gd name="connsiteY2" fmla="*/ 1767845 h 1767845"/>
              <a:gd name="connsiteX3" fmla="*/ 0 w 2946408"/>
              <a:gd name="connsiteY3" fmla="*/ 1767845 h 1767845"/>
              <a:gd name="connsiteX4" fmla="*/ 0 w 2946408"/>
              <a:gd name="connsiteY4" fmla="*/ 0 h 1767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6408" h="1767845">
                <a:moveTo>
                  <a:pt x="0" y="0"/>
                </a:moveTo>
                <a:lnTo>
                  <a:pt x="2946408" y="0"/>
                </a:lnTo>
                <a:lnTo>
                  <a:pt x="2946408" y="1767845"/>
                </a:lnTo>
                <a:lnTo>
                  <a:pt x="0" y="1767845"/>
                </a:lnTo>
                <a:lnTo>
                  <a:pt x="0" y="0"/>
                </a:lnTo>
                <a:close/>
              </a:path>
            </a:pathLst>
          </a:custGeom>
          <a:solidFill>
            <a:srgbClr val="EAEAEA"/>
          </a:solidFill>
          <a:effectLst/>
        </p:spPr>
        <p:style>
          <a:lnRef idx="0">
            <a:schemeClr val="lt1">
              <a:hueOff val="0"/>
              <a:satOff val="0"/>
              <a:lumOff val="0"/>
              <a:alphaOff val="0"/>
            </a:schemeClr>
          </a:lnRef>
          <a:fillRef idx="3">
            <a:schemeClr val="accent2">
              <a:shade val="50000"/>
              <a:hueOff val="-704426"/>
              <a:satOff val="0"/>
              <a:lumOff val="41281"/>
              <a:alphaOff val="0"/>
            </a:schemeClr>
          </a:fillRef>
          <a:effectRef idx="2">
            <a:schemeClr val="accent2">
              <a:shade val="50000"/>
              <a:hueOff val="-704426"/>
              <a:satOff val="0"/>
              <a:lumOff val="41281"/>
              <a:alphaOff val="0"/>
            </a:schemeClr>
          </a:effectRef>
          <a:fontRef idx="minor">
            <a:schemeClr val="lt1"/>
          </a:fontRef>
        </p:style>
        <p:txBody>
          <a:bodyPr spcFirstLastPara="0" vert="horz" wrap="square" lIns="822746" tIns="91416" rIns="133281" bIns="133281" numCol="1" spcCol="1270" anchor="t" anchorCtr="0">
            <a:noAutofit/>
          </a:bodyPr>
          <a:lstStyle/>
          <a:p>
            <a:pPr marL="0" marR="0" lvl="0" indent="0" defTabSz="1554895" rtl="0" eaLnBrk="1" fontAlgn="auto" latinLnBrk="0" hangingPunct="1">
              <a:lnSpc>
                <a:spcPct val="90000"/>
              </a:lnSpc>
              <a:spcBef>
                <a:spcPct val="0"/>
              </a:spcBef>
              <a:spcAft>
                <a:spcPct val="35000"/>
              </a:spcAft>
              <a:buClrTx/>
              <a:buSzTx/>
              <a:buFontTx/>
              <a:buNone/>
              <a:tabLst/>
              <a:defRPr/>
            </a:pPr>
            <a:endParaRPr kumimoji="0" lang="en-US" sz="2399" u="none" strike="noStrike" kern="1200" cap="none" spc="0" normalizeH="0" baseline="0" noProof="0">
              <a:ln>
                <a:noFill/>
              </a:ln>
              <a:solidFill>
                <a:srgbClr val="373737"/>
              </a:solidFill>
              <a:effectLst/>
              <a:uLnTx/>
              <a:uFillTx/>
              <a:latin typeface="Roboto Light" panose="02000000000000000000" pitchFamily="2" charset="0"/>
              <a:ea typeface="Roboto Light" panose="02000000000000000000" pitchFamily="2" charset="0"/>
            </a:endParaRPr>
          </a:p>
        </p:txBody>
      </p:sp>
      <p:sp>
        <p:nvSpPr>
          <p:cNvPr id="60" name="Flowchart: Data 17">
            <a:extLst>
              <a:ext uri="{FF2B5EF4-FFF2-40B4-BE49-F238E27FC236}">
                <a16:creationId xmlns:a16="http://schemas.microsoft.com/office/drawing/2014/main" id="{D0B64EC6-882A-46C2-8F16-44685DC5658E}"/>
              </a:ext>
            </a:extLst>
          </p:cNvPr>
          <p:cNvSpPr/>
          <p:nvPr userDrawn="1"/>
        </p:nvSpPr>
        <p:spPr>
          <a:xfrm>
            <a:off x="1150617" y="3551148"/>
            <a:ext cx="531595" cy="521348"/>
          </a:xfrm>
          <a:prstGeom prst="rect">
            <a:avLst/>
          </a:prstGeom>
          <a:solidFill>
            <a:schemeClr val="accent1"/>
          </a:solidFill>
          <a:ln w="12700">
            <a:noFill/>
          </a:ln>
          <a:effectLst/>
        </p:spPr>
        <p:style>
          <a:lnRef idx="1">
            <a:schemeClr val="accent1"/>
          </a:lnRef>
          <a:fillRef idx="3">
            <a:schemeClr val="accent1"/>
          </a:fillRef>
          <a:effectRef idx="2">
            <a:schemeClr val="accent1"/>
          </a:effectRef>
          <a:fontRef idx="minor">
            <a:schemeClr val="lt1"/>
          </a:fontRef>
        </p:style>
        <p:txBody>
          <a:bodyPr tIns="91392" bIns="91392" rtlCol="0" anchor="ctr"/>
          <a:lstStyle/>
          <a:p>
            <a:pPr marL="0" marR="0" lvl="0" indent="0" algn="ctr" defTabSz="1218529" rtl="0" eaLnBrk="1" fontAlgn="auto" latinLnBrk="0" hangingPunct="1">
              <a:lnSpc>
                <a:spcPct val="100000"/>
              </a:lnSpc>
              <a:spcBef>
                <a:spcPts val="0"/>
              </a:spcBef>
              <a:spcAft>
                <a:spcPts val="0"/>
              </a:spcAft>
              <a:buClrTx/>
              <a:buSzTx/>
              <a:buFontTx/>
              <a:buNone/>
              <a:tabLst/>
              <a:defRPr/>
            </a:pPr>
            <a:r>
              <a:rPr kumimoji="0" lang="en-US" sz="2398" u="none" strike="noStrike" kern="1200" cap="none" spc="0" normalizeH="0" baseline="0" noProof="0">
                <a:ln>
                  <a:noFill/>
                </a:ln>
                <a:solidFill>
                  <a:srgbClr val="FFFFFF"/>
                </a:solidFill>
                <a:effectLst/>
                <a:uLnTx/>
                <a:uFillTx/>
                <a:latin typeface="Roboto Light" panose="02000000000000000000" pitchFamily="2" charset="0"/>
                <a:ea typeface="Roboto Light" panose="02000000000000000000" pitchFamily="2" charset="0"/>
              </a:rPr>
              <a:t>4</a:t>
            </a:r>
          </a:p>
        </p:txBody>
      </p:sp>
      <p:sp>
        <p:nvSpPr>
          <p:cNvPr id="67" name="Freeform 14">
            <a:extLst>
              <a:ext uri="{FF2B5EF4-FFF2-40B4-BE49-F238E27FC236}">
                <a16:creationId xmlns:a16="http://schemas.microsoft.com/office/drawing/2014/main" id="{0BAEF006-829F-4D56-8544-C2E3B8B2F783}"/>
              </a:ext>
            </a:extLst>
          </p:cNvPr>
          <p:cNvSpPr/>
          <p:nvPr userDrawn="1"/>
        </p:nvSpPr>
        <p:spPr>
          <a:xfrm>
            <a:off x="8293378" y="3446482"/>
            <a:ext cx="3383104" cy="1333425"/>
          </a:xfrm>
          <a:custGeom>
            <a:avLst/>
            <a:gdLst>
              <a:gd name="connsiteX0" fmla="*/ 0 w 2946408"/>
              <a:gd name="connsiteY0" fmla="*/ 0 h 1767845"/>
              <a:gd name="connsiteX1" fmla="*/ 2946408 w 2946408"/>
              <a:gd name="connsiteY1" fmla="*/ 0 h 1767845"/>
              <a:gd name="connsiteX2" fmla="*/ 2946408 w 2946408"/>
              <a:gd name="connsiteY2" fmla="*/ 1767845 h 1767845"/>
              <a:gd name="connsiteX3" fmla="*/ 0 w 2946408"/>
              <a:gd name="connsiteY3" fmla="*/ 1767845 h 1767845"/>
              <a:gd name="connsiteX4" fmla="*/ 0 w 2946408"/>
              <a:gd name="connsiteY4" fmla="*/ 0 h 1767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6408" h="1767845">
                <a:moveTo>
                  <a:pt x="0" y="0"/>
                </a:moveTo>
                <a:lnTo>
                  <a:pt x="2946408" y="0"/>
                </a:lnTo>
                <a:lnTo>
                  <a:pt x="2946408" y="1767845"/>
                </a:lnTo>
                <a:lnTo>
                  <a:pt x="0" y="1767845"/>
                </a:lnTo>
                <a:lnTo>
                  <a:pt x="0" y="0"/>
                </a:lnTo>
                <a:close/>
              </a:path>
            </a:pathLst>
          </a:custGeom>
          <a:solidFill>
            <a:srgbClr val="EAEAEA"/>
          </a:solidFill>
          <a:effectLst/>
        </p:spPr>
        <p:style>
          <a:lnRef idx="0">
            <a:schemeClr val="lt1">
              <a:hueOff val="0"/>
              <a:satOff val="0"/>
              <a:lumOff val="0"/>
              <a:alphaOff val="0"/>
            </a:schemeClr>
          </a:lnRef>
          <a:fillRef idx="3">
            <a:schemeClr val="accent2">
              <a:shade val="50000"/>
              <a:hueOff val="-352213"/>
              <a:satOff val="0"/>
              <a:lumOff val="20640"/>
              <a:alphaOff val="0"/>
            </a:schemeClr>
          </a:fillRef>
          <a:effectRef idx="2">
            <a:schemeClr val="accent2">
              <a:shade val="50000"/>
              <a:hueOff val="-352213"/>
              <a:satOff val="0"/>
              <a:lumOff val="20640"/>
              <a:alphaOff val="0"/>
            </a:schemeClr>
          </a:effectRef>
          <a:fontRef idx="minor">
            <a:schemeClr val="lt1"/>
          </a:fontRef>
        </p:style>
        <p:txBody>
          <a:bodyPr spcFirstLastPara="0" vert="horz" wrap="square" lIns="822746" tIns="91416" rIns="137088" bIns="137088" numCol="1" spcCol="1270" anchor="t" anchorCtr="0">
            <a:noAutofit/>
          </a:bodyPr>
          <a:lstStyle/>
          <a:p>
            <a:pPr marL="0" marR="0" lvl="0" indent="0" defTabSz="1554895" rtl="0" eaLnBrk="1" fontAlgn="auto" latinLnBrk="0" hangingPunct="1">
              <a:lnSpc>
                <a:spcPct val="90000"/>
              </a:lnSpc>
              <a:spcBef>
                <a:spcPct val="0"/>
              </a:spcBef>
              <a:spcAft>
                <a:spcPct val="35000"/>
              </a:spcAft>
              <a:buClrTx/>
              <a:buSzTx/>
              <a:buFontTx/>
              <a:buNone/>
              <a:tabLst/>
              <a:defRPr/>
            </a:pPr>
            <a:endParaRPr kumimoji="0" lang="en-US" sz="2399" u="none" strike="noStrike" kern="1200" cap="none" spc="0" normalizeH="0" baseline="0" noProof="0">
              <a:ln>
                <a:noFill/>
              </a:ln>
              <a:solidFill>
                <a:srgbClr val="373737"/>
              </a:solidFill>
              <a:effectLst/>
              <a:uLnTx/>
              <a:uFillTx/>
              <a:latin typeface="Roboto Light" panose="02000000000000000000" pitchFamily="2" charset="0"/>
              <a:ea typeface="Roboto Light" panose="02000000000000000000" pitchFamily="2" charset="0"/>
            </a:endParaRPr>
          </a:p>
        </p:txBody>
      </p:sp>
      <p:sp>
        <p:nvSpPr>
          <p:cNvPr id="69" name="Flowchart: Data 17">
            <a:extLst>
              <a:ext uri="{FF2B5EF4-FFF2-40B4-BE49-F238E27FC236}">
                <a16:creationId xmlns:a16="http://schemas.microsoft.com/office/drawing/2014/main" id="{B3AAE442-2186-4523-878B-EAFC67D29E1D}"/>
              </a:ext>
            </a:extLst>
          </p:cNvPr>
          <p:cNvSpPr/>
          <p:nvPr userDrawn="1"/>
        </p:nvSpPr>
        <p:spPr>
          <a:xfrm>
            <a:off x="8413062" y="3545827"/>
            <a:ext cx="531595" cy="521348"/>
          </a:xfrm>
          <a:prstGeom prst="rect">
            <a:avLst/>
          </a:prstGeom>
          <a:solidFill>
            <a:schemeClr val="accent6"/>
          </a:solidFill>
          <a:ln w="12700">
            <a:noFill/>
          </a:ln>
          <a:effectLst/>
        </p:spPr>
        <p:style>
          <a:lnRef idx="1">
            <a:schemeClr val="accent1"/>
          </a:lnRef>
          <a:fillRef idx="3">
            <a:schemeClr val="accent1"/>
          </a:fillRef>
          <a:effectRef idx="2">
            <a:schemeClr val="accent1"/>
          </a:effectRef>
          <a:fontRef idx="minor">
            <a:schemeClr val="lt1"/>
          </a:fontRef>
        </p:style>
        <p:txBody>
          <a:bodyPr tIns="91392" bIns="91392" rtlCol="0" anchor="ctr"/>
          <a:lstStyle/>
          <a:p>
            <a:pPr marL="0" marR="0" lvl="0" indent="0" algn="ctr" defTabSz="1218529" rtl="0" eaLnBrk="1" fontAlgn="auto" latinLnBrk="0" hangingPunct="1">
              <a:lnSpc>
                <a:spcPct val="100000"/>
              </a:lnSpc>
              <a:spcBef>
                <a:spcPts val="0"/>
              </a:spcBef>
              <a:spcAft>
                <a:spcPts val="0"/>
              </a:spcAft>
              <a:buClrTx/>
              <a:buSzTx/>
              <a:buFontTx/>
              <a:buNone/>
              <a:tabLst/>
              <a:defRPr/>
            </a:pPr>
            <a:r>
              <a:rPr kumimoji="0" lang="en-US" sz="2398" u="none" strike="noStrike" kern="1200" cap="none" spc="0" normalizeH="0" baseline="0" noProof="0">
                <a:ln>
                  <a:noFill/>
                </a:ln>
                <a:solidFill>
                  <a:srgbClr val="FFFFFF"/>
                </a:solidFill>
                <a:effectLst/>
                <a:uLnTx/>
                <a:uFillTx/>
                <a:latin typeface="Roboto Light" panose="02000000000000000000" pitchFamily="2" charset="0"/>
                <a:ea typeface="Roboto Light" panose="02000000000000000000" pitchFamily="2" charset="0"/>
              </a:rPr>
              <a:t>6</a:t>
            </a:r>
          </a:p>
        </p:txBody>
      </p:sp>
      <p:sp>
        <p:nvSpPr>
          <p:cNvPr id="76" name="Freeform 13">
            <a:extLst>
              <a:ext uri="{FF2B5EF4-FFF2-40B4-BE49-F238E27FC236}">
                <a16:creationId xmlns:a16="http://schemas.microsoft.com/office/drawing/2014/main" id="{3690E069-7EFD-40F1-8A3F-D9BF2A5F4F33}"/>
              </a:ext>
            </a:extLst>
          </p:cNvPr>
          <p:cNvSpPr/>
          <p:nvPr userDrawn="1"/>
        </p:nvSpPr>
        <p:spPr>
          <a:xfrm>
            <a:off x="4660829" y="3446482"/>
            <a:ext cx="3383107" cy="1333425"/>
          </a:xfrm>
          <a:custGeom>
            <a:avLst/>
            <a:gdLst>
              <a:gd name="connsiteX0" fmla="*/ 0 w 2946408"/>
              <a:gd name="connsiteY0" fmla="*/ 0 h 1767845"/>
              <a:gd name="connsiteX1" fmla="*/ 2946408 w 2946408"/>
              <a:gd name="connsiteY1" fmla="*/ 0 h 1767845"/>
              <a:gd name="connsiteX2" fmla="*/ 2946408 w 2946408"/>
              <a:gd name="connsiteY2" fmla="*/ 1767845 h 1767845"/>
              <a:gd name="connsiteX3" fmla="*/ 0 w 2946408"/>
              <a:gd name="connsiteY3" fmla="*/ 1767845 h 1767845"/>
              <a:gd name="connsiteX4" fmla="*/ 0 w 2946408"/>
              <a:gd name="connsiteY4" fmla="*/ 0 h 1767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6408" h="1767845">
                <a:moveTo>
                  <a:pt x="0" y="0"/>
                </a:moveTo>
                <a:lnTo>
                  <a:pt x="2946408" y="0"/>
                </a:lnTo>
                <a:lnTo>
                  <a:pt x="2946408" y="1767845"/>
                </a:lnTo>
                <a:lnTo>
                  <a:pt x="0" y="1767845"/>
                </a:lnTo>
                <a:lnTo>
                  <a:pt x="0" y="0"/>
                </a:lnTo>
                <a:close/>
              </a:path>
            </a:pathLst>
          </a:custGeom>
          <a:solidFill>
            <a:srgbClr val="EAEAEA"/>
          </a:solidFill>
          <a:effectLst/>
        </p:spPr>
        <p:style>
          <a:lnRef idx="0">
            <a:schemeClr val="lt1">
              <a:hueOff val="0"/>
              <a:satOff val="0"/>
              <a:lumOff val="0"/>
              <a:alphaOff val="0"/>
            </a:schemeClr>
          </a:lnRef>
          <a:fillRef idx="3">
            <a:schemeClr val="accent2">
              <a:shade val="50000"/>
              <a:hueOff val="-704426"/>
              <a:satOff val="0"/>
              <a:lumOff val="41281"/>
              <a:alphaOff val="0"/>
            </a:schemeClr>
          </a:fillRef>
          <a:effectRef idx="2">
            <a:schemeClr val="accent2">
              <a:shade val="50000"/>
              <a:hueOff val="-704426"/>
              <a:satOff val="0"/>
              <a:lumOff val="41281"/>
              <a:alphaOff val="0"/>
            </a:schemeClr>
          </a:effectRef>
          <a:fontRef idx="minor">
            <a:schemeClr val="lt1"/>
          </a:fontRef>
        </p:style>
        <p:txBody>
          <a:bodyPr spcFirstLastPara="0" vert="horz" wrap="square" lIns="822746" tIns="91416" rIns="133281" bIns="133281" numCol="1" spcCol="1270" anchor="t" anchorCtr="0">
            <a:noAutofit/>
          </a:bodyPr>
          <a:lstStyle/>
          <a:p>
            <a:pPr marL="0" marR="0" lvl="0" indent="0" defTabSz="1554895" rtl="0" eaLnBrk="1" fontAlgn="auto" latinLnBrk="0" hangingPunct="1">
              <a:lnSpc>
                <a:spcPct val="90000"/>
              </a:lnSpc>
              <a:spcBef>
                <a:spcPct val="0"/>
              </a:spcBef>
              <a:spcAft>
                <a:spcPct val="35000"/>
              </a:spcAft>
              <a:buClrTx/>
              <a:buSzTx/>
              <a:buFontTx/>
              <a:buNone/>
              <a:tabLst/>
              <a:defRPr/>
            </a:pPr>
            <a:endParaRPr kumimoji="0" lang="en-US" sz="2399" u="none" strike="noStrike" kern="1200" cap="none" spc="0" normalizeH="0" baseline="0" noProof="0">
              <a:ln>
                <a:noFill/>
              </a:ln>
              <a:solidFill>
                <a:srgbClr val="373737"/>
              </a:solidFill>
              <a:effectLst/>
              <a:uLnTx/>
              <a:uFillTx/>
              <a:latin typeface="Roboto Light" panose="02000000000000000000" pitchFamily="2" charset="0"/>
              <a:ea typeface="Roboto Light" panose="02000000000000000000" pitchFamily="2" charset="0"/>
            </a:endParaRPr>
          </a:p>
        </p:txBody>
      </p:sp>
      <p:sp>
        <p:nvSpPr>
          <p:cNvPr id="78" name="Flowchart: Data 17">
            <a:extLst>
              <a:ext uri="{FF2B5EF4-FFF2-40B4-BE49-F238E27FC236}">
                <a16:creationId xmlns:a16="http://schemas.microsoft.com/office/drawing/2014/main" id="{01806F9E-B98C-49E2-AC16-4F45A9DE0884}"/>
              </a:ext>
            </a:extLst>
          </p:cNvPr>
          <p:cNvSpPr/>
          <p:nvPr userDrawn="1"/>
        </p:nvSpPr>
        <p:spPr>
          <a:xfrm>
            <a:off x="4789270" y="3545827"/>
            <a:ext cx="531595" cy="521348"/>
          </a:xfrm>
          <a:prstGeom prst="rect">
            <a:avLst/>
          </a:prstGeom>
          <a:solidFill>
            <a:schemeClr val="tx1"/>
          </a:solidFill>
          <a:ln w="12700">
            <a:noFill/>
          </a:ln>
          <a:effectLst/>
        </p:spPr>
        <p:style>
          <a:lnRef idx="1">
            <a:schemeClr val="accent1"/>
          </a:lnRef>
          <a:fillRef idx="3">
            <a:schemeClr val="accent1"/>
          </a:fillRef>
          <a:effectRef idx="2">
            <a:schemeClr val="accent1"/>
          </a:effectRef>
          <a:fontRef idx="minor">
            <a:schemeClr val="lt1"/>
          </a:fontRef>
        </p:style>
        <p:txBody>
          <a:bodyPr tIns="91392" bIns="91392" rtlCol="0" anchor="ctr"/>
          <a:lstStyle/>
          <a:p>
            <a:pPr marL="0" marR="0" lvl="0" indent="0" algn="ctr" defTabSz="1218529" rtl="0" eaLnBrk="1" fontAlgn="auto" latinLnBrk="0" hangingPunct="1">
              <a:lnSpc>
                <a:spcPct val="100000"/>
              </a:lnSpc>
              <a:spcBef>
                <a:spcPts val="0"/>
              </a:spcBef>
              <a:spcAft>
                <a:spcPts val="0"/>
              </a:spcAft>
              <a:buClrTx/>
              <a:buSzTx/>
              <a:buFontTx/>
              <a:buNone/>
              <a:tabLst/>
              <a:defRPr/>
            </a:pPr>
            <a:r>
              <a:rPr kumimoji="0" lang="en-US" sz="2398" u="none" strike="noStrike" kern="1200" cap="none" spc="0" normalizeH="0" baseline="0" noProof="0">
                <a:ln>
                  <a:noFill/>
                </a:ln>
                <a:solidFill>
                  <a:srgbClr val="FFFFFF"/>
                </a:solidFill>
                <a:effectLst/>
                <a:uLnTx/>
                <a:uFillTx/>
                <a:latin typeface="Roboto Light" panose="02000000000000000000" pitchFamily="2" charset="0"/>
                <a:ea typeface="Roboto Light" panose="02000000000000000000" pitchFamily="2" charset="0"/>
              </a:rPr>
              <a:t>5</a:t>
            </a:r>
          </a:p>
        </p:txBody>
      </p:sp>
      <p:sp>
        <p:nvSpPr>
          <p:cNvPr id="80" name="Title 1">
            <a:extLst>
              <a:ext uri="{FF2B5EF4-FFF2-40B4-BE49-F238E27FC236}">
                <a16:creationId xmlns:a16="http://schemas.microsoft.com/office/drawing/2014/main" id="{7D413BDC-3F48-4E28-B245-95D9CCD2B5E8}"/>
              </a:ext>
            </a:extLst>
          </p:cNvPr>
          <p:cNvSpPr>
            <a:spLocks noGrp="1"/>
          </p:cNvSpPr>
          <p:nvPr userDrawn="1">
            <p:ph type="title" hasCustomPrompt="1"/>
          </p:nvPr>
        </p:nvSpPr>
        <p:spPr>
          <a:xfrm>
            <a:off x="488951" y="482602"/>
            <a:ext cx="11188700" cy="994889"/>
          </a:xfrm>
          <a:prstGeom prst="rect">
            <a:avLst/>
          </a:prstGeom>
        </p:spPr>
        <p:txBody>
          <a:bodyPr lIns="0"/>
          <a:lstStyle>
            <a:lvl1pPr>
              <a:defRPr baseline="0"/>
            </a:lvl1pPr>
          </a:lstStyle>
          <a:p>
            <a:r>
              <a:rPr lang="en-US"/>
              <a:t>Headline Goes Here, Roboto Light, 36 Points, Can Span 2 Lines</a:t>
            </a:r>
          </a:p>
        </p:txBody>
      </p:sp>
      <p:sp>
        <p:nvSpPr>
          <p:cNvPr id="6" name="Text Placeholder 5">
            <a:extLst>
              <a:ext uri="{FF2B5EF4-FFF2-40B4-BE49-F238E27FC236}">
                <a16:creationId xmlns:a16="http://schemas.microsoft.com/office/drawing/2014/main" id="{C30FA114-2360-447D-A77F-8CEEE439EDFB}"/>
              </a:ext>
            </a:extLst>
          </p:cNvPr>
          <p:cNvSpPr>
            <a:spLocks noGrp="1"/>
          </p:cNvSpPr>
          <p:nvPr userDrawn="1">
            <p:ph type="body" sz="quarter" idx="10" hasCustomPrompt="1"/>
          </p:nvPr>
        </p:nvSpPr>
        <p:spPr>
          <a:xfrm>
            <a:off x="1682211" y="1959153"/>
            <a:ext cx="2728007" cy="944563"/>
          </a:xfrm>
          <a:prstGeom prst="rect">
            <a:avLst/>
          </a:prstGeom>
        </p:spPr>
        <p:txBody>
          <a:bodyPr lIns="182880"/>
          <a:lstStyle>
            <a:lvl1pPr marL="0" indent="0">
              <a:lnSpc>
                <a:spcPct val="95000"/>
              </a:lnSpc>
              <a:spcBef>
                <a:spcPts val="0"/>
              </a:spcBef>
              <a:buNone/>
              <a:defRPr sz="2399">
                <a:solidFill>
                  <a:schemeClr val="tx1"/>
                </a:solidFill>
                <a:latin typeface="Roboto" panose="02000000000000000000" pitchFamily="2" charset="0"/>
                <a:ea typeface="Roboto" panose="02000000000000000000" pitchFamily="2" charset="0"/>
              </a:defRPr>
            </a:lvl1pPr>
          </a:lstStyle>
          <a:p>
            <a:pPr lvl="0"/>
            <a:r>
              <a:rPr lang="en-US"/>
              <a:t>Agenda item</a:t>
            </a:r>
            <a:br>
              <a:rPr lang="en-US"/>
            </a:br>
            <a:r>
              <a:rPr lang="en-US"/>
              <a:t>goes here</a:t>
            </a:r>
          </a:p>
        </p:txBody>
      </p:sp>
      <p:sp>
        <p:nvSpPr>
          <p:cNvPr id="81" name="Text Placeholder 5">
            <a:extLst>
              <a:ext uri="{FF2B5EF4-FFF2-40B4-BE49-F238E27FC236}">
                <a16:creationId xmlns:a16="http://schemas.microsoft.com/office/drawing/2014/main" id="{3EFED770-B0D7-446E-AAFE-793919EC1673}"/>
              </a:ext>
            </a:extLst>
          </p:cNvPr>
          <p:cNvSpPr>
            <a:spLocks noGrp="1"/>
          </p:cNvSpPr>
          <p:nvPr userDrawn="1">
            <p:ph type="body" sz="quarter" idx="11" hasCustomPrompt="1"/>
          </p:nvPr>
        </p:nvSpPr>
        <p:spPr>
          <a:xfrm>
            <a:off x="5313676" y="1959153"/>
            <a:ext cx="2727864" cy="944563"/>
          </a:xfrm>
          <a:prstGeom prst="rect">
            <a:avLst/>
          </a:prstGeom>
        </p:spPr>
        <p:txBody>
          <a:bodyPr lIns="182880"/>
          <a:lstStyle>
            <a:lvl1pPr marL="0" indent="0">
              <a:lnSpc>
                <a:spcPct val="95000"/>
              </a:lnSpc>
              <a:spcBef>
                <a:spcPts val="0"/>
              </a:spcBef>
              <a:buNone/>
              <a:defRPr sz="2399">
                <a:solidFill>
                  <a:schemeClr val="tx1"/>
                </a:solidFill>
                <a:latin typeface="Roboto" panose="02000000000000000000" pitchFamily="2" charset="0"/>
                <a:ea typeface="Roboto" panose="02000000000000000000" pitchFamily="2" charset="0"/>
              </a:defRPr>
            </a:lvl1pPr>
          </a:lstStyle>
          <a:p>
            <a:pPr lvl="0"/>
            <a:r>
              <a:rPr lang="en-US"/>
              <a:t>Agenda item</a:t>
            </a:r>
            <a:br>
              <a:rPr lang="en-US"/>
            </a:br>
            <a:r>
              <a:rPr lang="en-US"/>
              <a:t>goes here</a:t>
            </a:r>
          </a:p>
        </p:txBody>
      </p:sp>
      <p:sp>
        <p:nvSpPr>
          <p:cNvPr id="82" name="Text Placeholder 5">
            <a:extLst>
              <a:ext uri="{FF2B5EF4-FFF2-40B4-BE49-F238E27FC236}">
                <a16:creationId xmlns:a16="http://schemas.microsoft.com/office/drawing/2014/main" id="{6DCE7664-17AC-4182-B8EC-63A3183DAE97}"/>
              </a:ext>
            </a:extLst>
          </p:cNvPr>
          <p:cNvSpPr>
            <a:spLocks noGrp="1"/>
          </p:cNvSpPr>
          <p:nvPr userDrawn="1">
            <p:ph type="body" sz="quarter" idx="12" hasCustomPrompt="1"/>
          </p:nvPr>
        </p:nvSpPr>
        <p:spPr>
          <a:xfrm>
            <a:off x="8944657" y="1959153"/>
            <a:ext cx="2727864" cy="944563"/>
          </a:xfrm>
          <a:prstGeom prst="rect">
            <a:avLst/>
          </a:prstGeom>
        </p:spPr>
        <p:txBody>
          <a:bodyPr lIns="182880"/>
          <a:lstStyle>
            <a:lvl1pPr marL="0" indent="0">
              <a:lnSpc>
                <a:spcPct val="95000"/>
              </a:lnSpc>
              <a:spcBef>
                <a:spcPts val="0"/>
              </a:spcBef>
              <a:buNone/>
              <a:defRPr sz="2399">
                <a:solidFill>
                  <a:schemeClr val="tx1"/>
                </a:solidFill>
                <a:latin typeface="Roboto" panose="02000000000000000000" pitchFamily="2" charset="0"/>
                <a:ea typeface="Roboto" panose="02000000000000000000" pitchFamily="2" charset="0"/>
              </a:defRPr>
            </a:lvl1pPr>
          </a:lstStyle>
          <a:p>
            <a:pPr lvl="0"/>
            <a:r>
              <a:rPr lang="en-US"/>
              <a:t>Agenda item</a:t>
            </a:r>
            <a:br>
              <a:rPr lang="en-US"/>
            </a:br>
            <a:r>
              <a:rPr lang="en-US"/>
              <a:t>goes here</a:t>
            </a:r>
          </a:p>
        </p:txBody>
      </p:sp>
      <p:sp>
        <p:nvSpPr>
          <p:cNvPr id="83" name="Text Placeholder 5">
            <a:extLst>
              <a:ext uri="{FF2B5EF4-FFF2-40B4-BE49-F238E27FC236}">
                <a16:creationId xmlns:a16="http://schemas.microsoft.com/office/drawing/2014/main" id="{C6C47051-F188-4AFA-8091-F6AB4A6C4D51}"/>
              </a:ext>
            </a:extLst>
          </p:cNvPr>
          <p:cNvSpPr>
            <a:spLocks noGrp="1"/>
          </p:cNvSpPr>
          <p:nvPr userDrawn="1">
            <p:ph type="body" sz="quarter" idx="13" hasCustomPrompt="1"/>
          </p:nvPr>
        </p:nvSpPr>
        <p:spPr>
          <a:xfrm>
            <a:off x="1682211" y="3550708"/>
            <a:ext cx="2728007" cy="944563"/>
          </a:xfrm>
          <a:prstGeom prst="rect">
            <a:avLst/>
          </a:prstGeom>
        </p:spPr>
        <p:txBody>
          <a:bodyPr lIns="182880"/>
          <a:lstStyle>
            <a:lvl1pPr marL="0" indent="0">
              <a:lnSpc>
                <a:spcPct val="95000"/>
              </a:lnSpc>
              <a:spcBef>
                <a:spcPts val="0"/>
              </a:spcBef>
              <a:buNone/>
              <a:defRPr sz="2399">
                <a:solidFill>
                  <a:schemeClr val="tx1"/>
                </a:solidFill>
                <a:latin typeface="Roboto" panose="02000000000000000000" pitchFamily="2" charset="0"/>
                <a:ea typeface="Roboto" panose="02000000000000000000" pitchFamily="2" charset="0"/>
              </a:defRPr>
            </a:lvl1pPr>
          </a:lstStyle>
          <a:p>
            <a:pPr lvl="0"/>
            <a:r>
              <a:rPr lang="en-US"/>
              <a:t>Agenda item</a:t>
            </a:r>
            <a:br>
              <a:rPr lang="en-US"/>
            </a:br>
            <a:r>
              <a:rPr lang="en-US"/>
              <a:t>goes here</a:t>
            </a:r>
          </a:p>
        </p:txBody>
      </p:sp>
      <p:sp>
        <p:nvSpPr>
          <p:cNvPr id="84" name="Text Placeholder 5">
            <a:extLst>
              <a:ext uri="{FF2B5EF4-FFF2-40B4-BE49-F238E27FC236}">
                <a16:creationId xmlns:a16="http://schemas.microsoft.com/office/drawing/2014/main" id="{07C1887D-8958-4DA8-AE74-D08F0B6BE64B}"/>
              </a:ext>
            </a:extLst>
          </p:cNvPr>
          <p:cNvSpPr>
            <a:spLocks noGrp="1"/>
          </p:cNvSpPr>
          <p:nvPr userDrawn="1">
            <p:ph type="body" sz="quarter" idx="14" hasCustomPrompt="1"/>
          </p:nvPr>
        </p:nvSpPr>
        <p:spPr>
          <a:xfrm>
            <a:off x="5313676" y="3550708"/>
            <a:ext cx="2727864" cy="944563"/>
          </a:xfrm>
          <a:prstGeom prst="rect">
            <a:avLst/>
          </a:prstGeom>
        </p:spPr>
        <p:txBody>
          <a:bodyPr lIns="182880"/>
          <a:lstStyle>
            <a:lvl1pPr marL="0" indent="0">
              <a:lnSpc>
                <a:spcPct val="95000"/>
              </a:lnSpc>
              <a:spcBef>
                <a:spcPts val="0"/>
              </a:spcBef>
              <a:buNone/>
              <a:defRPr sz="2399">
                <a:solidFill>
                  <a:schemeClr val="tx1"/>
                </a:solidFill>
                <a:latin typeface="Roboto" panose="02000000000000000000" pitchFamily="2" charset="0"/>
                <a:ea typeface="Roboto" panose="02000000000000000000" pitchFamily="2" charset="0"/>
              </a:defRPr>
            </a:lvl1pPr>
          </a:lstStyle>
          <a:p>
            <a:pPr lvl="0"/>
            <a:r>
              <a:rPr lang="en-US"/>
              <a:t>Agenda item</a:t>
            </a:r>
            <a:br>
              <a:rPr lang="en-US"/>
            </a:br>
            <a:r>
              <a:rPr lang="en-US"/>
              <a:t>goes here</a:t>
            </a:r>
          </a:p>
        </p:txBody>
      </p:sp>
      <p:sp>
        <p:nvSpPr>
          <p:cNvPr id="85" name="Text Placeholder 5">
            <a:extLst>
              <a:ext uri="{FF2B5EF4-FFF2-40B4-BE49-F238E27FC236}">
                <a16:creationId xmlns:a16="http://schemas.microsoft.com/office/drawing/2014/main" id="{910568AE-CD22-4C50-9EE0-D76A57CAB532}"/>
              </a:ext>
            </a:extLst>
          </p:cNvPr>
          <p:cNvSpPr>
            <a:spLocks noGrp="1"/>
          </p:cNvSpPr>
          <p:nvPr userDrawn="1">
            <p:ph type="body" sz="quarter" idx="15" hasCustomPrompt="1"/>
          </p:nvPr>
        </p:nvSpPr>
        <p:spPr>
          <a:xfrm>
            <a:off x="8944657" y="3550708"/>
            <a:ext cx="2727864" cy="944563"/>
          </a:xfrm>
          <a:prstGeom prst="rect">
            <a:avLst/>
          </a:prstGeom>
        </p:spPr>
        <p:txBody>
          <a:bodyPr lIns="182880"/>
          <a:lstStyle>
            <a:lvl1pPr marL="0" indent="0">
              <a:lnSpc>
                <a:spcPct val="95000"/>
              </a:lnSpc>
              <a:spcBef>
                <a:spcPts val="0"/>
              </a:spcBef>
              <a:buNone/>
              <a:defRPr sz="2399">
                <a:solidFill>
                  <a:schemeClr val="tx1"/>
                </a:solidFill>
                <a:latin typeface="Roboto" panose="02000000000000000000" pitchFamily="2" charset="0"/>
                <a:ea typeface="Roboto" panose="02000000000000000000" pitchFamily="2" charset="0"/>
              </a:defRPr>
            </a:lvl1pPr>
          </a:lstStyle>
          <a:p>
            <a:pPr lvl="0"/>
            <a:r>
              <a:rPr lang="en-US"/>
              <a:t>Agenda item</a:t>
            </a:r>
            <a:br>
              <a:rPr lang="en-US"/>
            </a:br>
            <a:r>
              <a:rPr lang="en-US"/>
              <a:t>goes here</a:t>
            </a:r>
          </a:p>
        </p:txBody>
      </p:sp>
      <p:sp>
        <p:nvSpPr>
          <p:cNvPr id="86" name="Freeform 10">
            <a:extLst>
              <a:ext uri="{FF2B5EF4-FFF2-40B4-BE49-F238E27FC236}">
                <a16:creationId xmlns:a16="http://schemas.microsoft.com/office/drawing/2014/main" id="{04F9AD65-A2DA-4F6E-8833-C1336C6E3F8B}"/>
              </a:ext>
            </a:extLst>
          </p:cNvPr>
          <p:cNvSpPr/>
          <p:nvPr userDrawn="1"/>
        </p:nvSpPr>
        <p:spPr>
          <a:xfrm>
            <a:off x="1027114" y="3193960"/>
            <a:ext cx="3383106" cy="45719"/>
          </a:xfrm>
          <a:custGeom>
            <a:avLst/>
            <a:gdLst>
              <a:gd name="connsiteX0" fmla="*/ 0 w 2946408"/>
              <a:gd name="connsiteY0" fmla="*/ 0 h 1767845"/>
              <a:gd name="connsiteX1" fmla="*/ 2946408 w 2946408"/>
              <a:gd name="connsiteY1" fmla="*/ 0 h 1767845"/>
              <a:gd name="connsiteX2" fmla="*/ 2946408 w 2946408"/>
              <a:gd name="connsiteY2" fmla="*/ 1767845 h 1767845"/>
              <a:gd name="connsiteX3" fmla="*/ 0 w 2946408"/>
              <a:gd name="connsiteY3" fmla="*/ 1767845 h 1767845"/>
              <a:gd name="connsiteX4" fmla="*/ 0 w 2946408"/>
              <a:gd name="connsiteY4" fmla="*/ 0 h 1767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6408" h="1767845">
                <a:moveTo>
                  <a:pt x="0" y="0"/>
                </a:moveTo>
                <a:lnTo>
                  <a:pt x="2946408" y="0"/>
                </a:lnTo>
                <a:lnTo>
                  <a:pt x="2946408" y="1767845"/>
                </a:lnTo>
                <a:lnTo>
                  <a:pt x="0" y="1767845"/>
                </a:lnTo>
                <a:lnTo>
                  <a:pt x="0" y="0"/>
                </a:lnTo>
                <a:close/>
              </a:path>
            </a:pathLst>
          </a:custGeom>
          <a:solidFill>
            <a:schemeClr val="accent5"/>
          </a:solidFill>
          <a:effectLst/>
        </p:spPr>
        <p:style>
          <a:lnRef idx="0">
            <a:schemeClr val="lt1">
              <a:hueOff val="0"/>
              <a:satOff val="0"/>
              <a:lumOff val="0"/>
              <a:alphaOff val="0"/>
            </a:schemeClr>
          </a:lnRef>
          <a:fillRef idx="3">
            <a:schemeClr val="accent2">
              <a:shade val="50000"/>
              <a:hueOff val="0"/>
              <a:satOff val="0"/>
              <a:lumOff val="0"/>
              <a:alphaOff val="0"/>
            </a:schemeClr>
          </a:fillRef>
          <a:effectRef idx="2">
            <a:schemeClr val="accent2">
              <a:shade val="50000"/>
              <a:hueOff val="0"/>
              <a:satOff val="0"/>
              <a:lumOff val="0"/>
              <a:alphaOff val="0"/>
            </a:schemeClr>
          </a:effectRef>
          <a:fontRef idx="minor">
            <a:schemeClr val="lt1"/>
          </a:fontRef>
        </p:style>
        <p:txBody>
          <a:bodyPr spcFirstLastPara="0" vert="horz" wrap="square" lIns="822746" tIns="91416" rIns="133281" bIns="133281" numCol="1" spcCol="1270" anchor="t" anchorCtr="0">
            <a:noAutofit/>
          </a:bodyPr>
          <a:lstStyle/>
          <a:p>
            <a:pPr marL="0" marR="0" lvl="0" indent="0" defTabSz="1554895" rtl="0" eaLnBrk="1" fontAlgn="auto" latinLnBrk="0" hangingPunct="1">
              <a:lnSpc>
                <a:spcPct val="90000"/>
              </a:lnSpc>
              <a:spcBef>
                <a:spcPct val="0"/>
              </a:spcBef>
              <a:spcAft>
                <a:spcPct val="35000"/>
              </a:spcAft>
              <a:buClrTx/>
              <a:buSzTx/>
              <a:buFontTx/>
              <a:buNone/>
              <a:tabLst/>
              <a:defRPr/>
            </a:pPr>
            <a:endParaRPr kumimoji="0" lang="en-US" sz="2399" u="none" strike="noStrike" kern="1200" cap="none" spc="0" normalizeH="0" baseline="0" noProof="0">
              <a:ln>
                <a:noFill/>
              </a:ln>
              <a:solidFill>
                <a:srgbClr val="373737"/>
              </a:solidFill>
              <a:effectLst/>
              <a:uLnTx/>
              <a:uFillTx/>
              <a:latin typeface="Roboto Light" panose="02000000000000000000" pitchFamily="2" charset="0"/>
              <a:ea typeface="Roboto Light" panose="02000000000000000000" pitchFamily="2" charset="0"/>
            </a:endParaRPr>
          </a:p>
        </p:txBody>
      </p:sp>
      <p:sp>
        <p:nvSpPr>
          <p:cNvPr id="87" name="Freeform 11">
            <a:extLst>
              <a:ext uri="{FF2B5EF4-FFF2-40B4-BE49-F238E27FC236}">
                <a16:creationId xmlns:a16="http://schemas.microsoft.com/office/drawing/2014/main" id="{4A3DFBF4-6AB7-4F8B-89EF-C83C28D2968E}"/>
              </a:ext>
            </a:extLst>
          </p:cNvPr>
          <p:cNvSpPr/>
          <p:nvPr userDrawn="1"/>
        </p:nvSpPr>
        <p:spPr>
          <a:xfrm>
            <a:off x="4660829" y="3193958"/>
            <a:ext cx="3383107" cy="45719"/>
          </a:xfrm>
          <a:custGeom>
            <a:avLst/>
            <a:gdLst>
              <a:gd name="connsiteX0" fmla="*/ 0 w 2946408"/>
              <a:gd name="connsiteY0" fmla="*/ 0 h 1767845"/>
              <a:gd name="connsiteX1" fmla="*/ 2946408 w 2946408"/>
              <a:gd name="connsiteY1" fmla="*/ 0 h 1767845"/>
              <a:gd name="connsiteX2" fmla="*/ 2946408 w 2946408"/>
              <a:gd name="connsiteY2" fmla="*/ 1767845 h 1767845"/>
              <a:gd name="connsiteX3" fmla="*/ 0 w 2946408"/>
              <a:gd name="connsiteY3" fmla="*/ 1767845 h 1767845"/>
              <a:gd name="connsiteX4" fmla="*/ 0 w 2946408"/>
              <a:gd name="connsiteY4" fmla="*/ 0 h 1767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6408" h="1767845">
                <a:moveTo>
                  <a:pt x="0" y="0"/>
                </a:moveTo>
                <a:lnTo>
                  <a:pt x="2946408" y="0"/>
                </a:lnTo>
                <a:lnTo>
                  <a:pt x="2946408" y="1767845"/>
                </a:lnTo>
                <a:lnTo>
                  <a:pt x="0" y="1767845"/>
                </a:lnTo>
                <a:lnTo>
                  <a:pt x="0" y="0"/>
                </a:lnTo>
                <a:close/>
              </a:path>
            </a:pathLst>
          </a:custGeom>
          <a:solidFill>
            <a:schemeClr val="accent2"/>
          </a:solidFill>
          <a:effectLst/>
        </p:spPr>
        <p:style>
          <a:lnRef idx="0">
            <a:schemeClr val="lt1">
              <a:hueOff val="0"/>
              <a:satOff val="0"/>
              <a:lumOff val="0"/>
              <a:alphaOff val="0"/>
            </a:schemeClr>
          </a:lnRef>
          <a:fillRef idx="3">
            <a:schemeClr val="accent2">
              <a:shade val="50000"/>
              <a:hueOff val="-352213"/>
              <a:satOff val="0"/>
              <a:lumOff val="20640"/>
              <a:alphaOff val="0"/>
            </a:schemeClr>
          </a:fillRef>
          <a:effectRef idx="2">
            <a:schemeClr val="accent2">
              <a:shade val="50000"/>
              <a:hueOff val="-352213"/>
              <a:satOff val="0"/>
              <a:lumOff val="20640"/>
              <a:alphaOff val="0"/>
            </a:schemeClr>
          </a:effectRef>
          <a:fontRef idx="minor">
            <a:schemeClr val="lt1"/>
          </a:fontRef>
        </p:style>
        <p:txBody>
          <a:bodyPr spcFirstLastPara="0" vert="horz" wrap="square" lIns="822746" tIns="91416" rIns="133281" bIns="133281" numCol="1" spcCol="1270" anchor="t" anchorCtr="0">
            <a:noAutofit/>
          </a:bodyPr>
          <a:lstStyle/>
          <a:p>
            <a:pPr marL="0" marR="0" lvl="0" indent="0" defTabSz="1554895" rtl="0" eaLnBrk="1" fontAlgn="auto" latinLnBrk="0" hangingPunct="1">
              <a:lnSpc>
                <a:spcPct val="90000"/>
              </a:lnSpc>
              <a:spcBef>
                <a:spcPct val="0"/>
              </a:spcBef>
              <a:spcAft>
                <a:spcPct val="35000"/>
              </a:spcAft>
              <a:buClrTx/>
              <a:buSzTx/>
              <a:buFontTx/>
              <a:buNone/>
              <a:tabLst/>
              <a:defRPr/>
            </a:pPr>
            <a:endParaRPr kumimoji="0" lang="en-US" sz="2399" u="none" strike="noStrike" kern="1200" cap="none" spc="0" normalizeH="0" baseline="0" noProof="0">
              <a:ln>
                <a:noFill/>
              </a:ln>
              <a:solidFill>
                <a:srgbClr val="373737"/>
              </a:solidFill>
              <a:effectLst/>
              <a:uLnTx/>
              <a:uFillTx/>
              <a:latin typeface="Roboto Light" panose="02000000000000000000" pitchFamily="2" charset="0"/>
              <a:ea typeface="Roboto Light" panose="02000000000000000000" pitchFamily="2" charset="0"/>
            </a:endParaRPr>
          </a:p>
        </p:txBody>
      </p:sp>
      <p:sp>
        <p:nvSpPr>
          <p:cNvPr id="88" name="Freeform 12">
            <a:extLst>
              <a:ext uri="{FF2B5EF4-FFF2-40B4-BE49-F238E27FC236}">
                <a16:creationId xmlns:a16="http://schemas.microsoft.com/office/drawing/2014/main" id="{B97FB2CD-657A-4AC5-82C4-EA700B431257}"/>
              </a:ext>
            </a:extLst>
          </p:cNvPr>
          <p:cNvSpPr/>
          <p:nvPr userDrawn="1"/>
        </p:nvSpPr>
        <p:spPr>
          <a:xfrm>
            <a:off x="8294546" y="3193959"/>
            <a:ext cx="3383106" cy="45719"/>
          </a:xfrm>
          <a:custGeom>
            <a:avLst/>
            <a:gdLst>
              <a:gd name="connsiteX0" fmla="*/ 0 w 2946408"/>
              <a:gd name="connsiteY0" fmla="*/ 0 h 1767845"/>
              <a:gd name="connsiteX1" fmla="*/ 2946408 w 2946408"/>
              <a:gd name="connsiteY1" fmla="*/ 0 h 1767845"/>
              <a:gd name="connsiteX2" fmla="*/ 2946408 w 2946408"/>
              <a:gd name="connsiteY2" fmla="*/ 1767845 h 1767845"/>
              <a:gd name="connsiteX3" fmla="*/ 0 w 2946408"/>
              <a:gd name="connsiteY3" fmla="*/ 1767845 h 1767845"/>
              <a:gd name="connsiteX4" fmla="*/ 0 w 2946408"/>
              <a:gd name="connsiteY4" fmla="*/ 0 h 1767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6408" h="1767845">
                <a:moveTo>
                  <a:pt x="0" y="0"/>
                </a:moveTo>
                <a:lnTo>
                  <a:pt x="2946408" y="0"/>
                </a:lnTo>
                <a:lnTo>
                  <a:pt x="2946408" y="1767845"/>
                </a:lnTo>
                <a:lnTo>
                  <a:pt x="0" y="1767845"/>
                </a:lnTo>
                <a:lnTo>
                  <a:pt x="0" y="0"/>
                </a:lnTo>
                <a:close/>
              </a:path>
            </a:pathLst>
          </a:custGeom>
          <a:solidFill>
            <a:schemeClr val="accent4"/>
          </a:solidFill>
          <a:effectLst/>
        </p:spPr>
        <p:style>
          <a:lnRef idx="0">
            <a:schemeClr val="lt1">
              <a:hueOff val="0"/>
              <a:satOff val="0"/>
              <a:lumOff val="0"/>
              <a:alphaOff val="0"/>
            </a:schemeClr>
          </a:lnRef>
          <a:fillRef idx="3">
            <a:schemeClr val="accent2">
              <a:shade val="50000"/>
              <a:hueOff val="-704426"/>
              <a:satOff val="0"/>
              <a:lumOff val="41281"/>
              <a:alphaOff val="0"/>
            </a:schemeClr>
          </a:fillRef>
          <a:effectRef idx="2">
            <a:schemeClr val="accent2">
              <a:shade val="50000"/>
              <a:hueOff val="-704426"/>
              <a:satOff val="0"/>
              <a:lumOff val="41281"/>
              <a:alphaOff val="0"/>
            </a:schemeClr>
          </a:effectRef>
          <a:fontRef idx="minor">
            <a:schemeClr val="lt1"/>
          </a:fontRef>
        </p:style>
        <p:txBody>
          <a:bodyPr spcFirstLastPara="0" vert="horz" wrap="square" lIns="822746" tIns="91416" rIns="133281" bIns="133281" numCol="1" spcCol="1270" anchor="t" anchorCtr="0">
            <a:noAutofit/>
          </a:bodyPr>
          <a:lstStyle/>
          <a:p>
            <a:pPr marL="0" marR="0" lvl="0" indent="0" defTabSz="1554895" rtl="0" eaLnBrk="1" fontAlgn="auto" latinLnBrk="0" hangingPunct="1">
              <a:lnSpc>
                <a:spcPct val="90000"/>
              </a:lnSpc>
              <a:spcBef>
                <a:spcPct val="0"/>
              </a:spcBef>
              <a:spcAft>
                <a:spcPct val="35000"/>
              </a:spcAft>
              <a:buClrTx/>
              <a:buSzTx/>
              <a:buFontTx/>
              <a:buNone/>
              <a:tabLst/>
              <a:defRPr/>
            </a:pPr>
            <a:endParaRPr kumimoji="0" lang="en-US" sz="2399" u="none" strike="noStrike" kern="1200" cap="none" spc="0" normalizeH="0" baseline="0" noProof="0">
              <a:ln>
                <a:noFill/>
              </a:ln>
              <a:solidFill>
                <a:srgbClr val="373737"/>
              </a:solidFill>
              <a:effectLst/>
              <a:uLnTx/>
              <a:uFillTx/>
              <a:latin typeface="Roboto Light" panose="02000000000000000000" pitchFamily="2" charset="0"/>
              <a:ea typeface="Roboto Light" panose="02000000000000000000" pitchFamily="2" charset="0"/>
            </a:endParaRPr>
          </a:p>
        </p:txBody>
      </p:sp>
      <p:sp>
        <p:nvSpPr>
          <p:cNvPr id="89" name="Freeform 10">
            <a:extLst>
              <a:ext uri="{FF2B5EF4-FFF2-40B4-BE49-F238E27FC236}">
                <a16:creationId xmlns:a16="http://schemas.microsoft.com/office/drawing/2014/main" id="{D6D992AD-F208-4A19-B228-9D3A39B9EAA2}"/>
              </a:ext>
            </a:extLst>
          </p:cNvPr>
          <p:cNvSpPr/>
          <p:nvPr userDrawn="1"/>
        </p:nvSpPr>
        <p:spPr>
          <a:xfrm>
            <a:off x="1027114" y="4771963"/>
            <a:ext cx="3383106" cy="45719"/>
          </a:xfrm>
          <a:custGeom>
            <a:avLst/>
            <a:gdLst>
              <a:gd name="connsiteX0" fmla="*/ 0 w 2946408"/>
              <a:gd name="connsiteY0" fmla="*/ 0 h 1767845"/>
              <a:gd name="connsiteX1" fmla="*/ 2946408 w 2946408"/>
              <a:gd name="connsiteY1" fmla="*/ 0 h 1767845"/>
              <a:gd name="connsiteX2" fmla="*/ 2946408 w 2946408"/>
              <a:gd name="connsiteY2" fmla="*/ 1767845 h 1767845"/>
              <a:gd name="connsiteX3" fmla="*/ 0 w 2946408"/>
              <a:gd name="connsiteY3" fmla="*/ 1767845 h 1767845"/>
              <a:gd name="connsiteX4" fmla="*/ 0 w 2946408"/>
              <a:gd name="connsiteY4" fmla="*/ 0 h 1767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6408" h="1767845">
                <a:moveTo>
                  <a:pt x="0" y="0"/>
                </a:moveTo>
                <a:lnTo>
                  <a:pt x="2946408" y="0"/>
                </a:lnTo>
                <a:lnTo>
                  <a:pt x="2946408" y="1767845"/>
                </a:lnTo>
                <a:lnTo>
                  <a:pt x="0" y="1767845"/>
                </a:lnTo>
                <a:lnTo>
                  <a:pt x="0" y="0"/>
                </a:lnTo>
                <a:close/>
              </a:path>
            </a:pathLst>
          </a:custGeom>
          <a:solidFill>
            <a:schemeClr val="accent1"/>
          </a:solidFill>
          <a:effectLst/>
        </p:spPr>
        <p:style>
          <a:lnRef idx="0">
            <a:schemeClr val="lt1">
              <a:hueOff val="0"/>
              <a:satOff val="0"/>
              <a:lumOff val="0"/>
              <a:alphaOff val="0"/>
            </a:schemeClr>
          </a:lnRef>
          <a:fillRef idx="3">
            <a:schemeClr val="accent2">
              <a:shade val="50000"/>
              <a:hueOff val="0"/>
              <a:satOff val="0"/>
              <a:lumOff val="0"/>
              <a:alphaOff val="0"/>
            </a:schemeClr>
          </a:fillRef>
          <a:effectRef idx="2">
            <a:schemeClr val="accent2">
              <a:shade val="50000"/>
              <a:hueOff val="0"/>
              <a:satOff val="0"/>
              <a:lumOff val="0"/>
              <a:alphaOff val="0"/>
            </a:schemeClr>
          </a:effectRef>
          <a:fontRef idx="minor">
            <a:schemeClr val="lt1"/>
          </a:fontRef>
        </p:style>
        <p:txBody>
          <a:bodyPr spcFirstLastPara="0" vert="horz" wrap="square" lIns="822746" tIns="91416" rIns="133281" bIns="133281" numCol="1" spcCol="1270" anchor="t" anchorCtr="0">
            <a:noAutofit/>
          </a:bodyPr>
          <a:lstStyle/>
          <a:p>
            <a:pPr marL="0" marR="0" lvl="0" indent="0" defTabSz="1554895" rtl="0" eaLnBrk="1" fontAlgn="auto" latinLnBrk="0" hangingPunct="1">
              <a:lnSpc>
                <a:spcPct val="90000"/>
              </a:lnSpc>
              <a:spcBef>
                <a:spcPct val="0"/>
              </a:spcBef>
              <a:spcAft>
                <a:spcPct val="35000"/>
              </a:spcAft>
              <a:buClrTx/>
              <a:buSzTx/>
              <a:buFontTx/>
              <a:buNone/>
              <a:tabLst/>
              <a:defRPr/>
            </a:pPr>
            <a:endParaRPr kumimoji="0" lang="en-US" sz="2399" u="none" strike="noStrike" kern="1200" cap="none" spc="0" normalizeH="0" baseline="0" noProof="0">
              <a:ln>
                <a:noFill/>
              </a:ln>
              <a:solidFill>
                <a:srgbClr val="373737"/>
              </a:solidFill>
              <a:effectLst/>
              <a:uLnTx/>
              <a:uFillTx/>
              <a:latin typeface="Roboto Light" panose="02000000000000000000" pitchFamily="2" charset="0"/>
              <a:ea typeface="Roboto Light" panose="02000000000000000000" pitchFamily="2" charset="0"/>
            </a:endParaRPr>
          </a:p>
        </p:txBody>
      </p:sp>
      <p:sp>
        <p:nvSpPr>
          <p:cNvPr id="90" name="Freeform 11">
            <a:extLst>
              <a:ext uri="{FF2B5EF4-FFF2-40B4-BE49-F238E27FC236}">
                <a16:creationId xmlns:a16="http://schemas.microsoft.com/office/drawing/2014/main" id="{6C2E48A7-4BD9-4738-BFAC-BA6CE8743072}"/>
              </a:ext>
            </a:extLst>
          </p:cNvPr>
          <p:cNvSpPr/>
          <p:nvPr userDrawn="1"/>
        </p:nvSpPr>
        <p:spPr>
          <a:xfrm>
            <a:off x="4660829" y="4771961"/>
            <a:ext cx="3383107" cy="45719"/>
          </a:xfrm>
          <a:custGeom>
            <a:avLst/>
            <a:gdLst>
              <a:gd name="connsiteX0" fmla="*/ 0 w 2946408"/>
              <a:gd name="connsiteY0" fmla="*/ 0 h 1767845"/>
              <a:gd name="connsiteX1" fmla="*/ 2946408 w 2946408"/>
              <a:gd name="connsiteY1" fmla="*/ 0 h 1767845"/>
              <a:gd name="connsiteX2" fmla="*/ 2946408 w 2946408"/>
              <a:gd name="connsiteY2" fmla="*/ 1767845 h 1767845"/>
              <a:gd name="connsiteX3" fmla="*/ 0 w 2946408"/>
              <a:gd name="connsiteY3" fmla="*/ 1767845 h 1767845"/>
              <a:gd name="connsiteX4" fmla="*/ 0 w 2946408"/>
              <a:gd name="connsiteY4" fmla="*/ 0 h 1767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6408" h="1767845">
                <a:moveTo>
                  <a:pt x="0" y="0"/>
                </a:moveTo>
                <a:lnTo>
                  <a:pt x="2946408" y="0"/>
                </a:lnTo>
                <a:lnTo>
                  <a:pt x="2946408" y="1767845"/>
                </a:lnTo>
                <a:lnTo>
                  <a:pt x="0" y="1767845"/>
                </a:lnTo>
                <a:lnTo>
                  <a:pt x="0" y="0"/>
                </a:lnTo>
                <a:close/>
              </a:path>
            </a:pathLst>
          </a:custGeom>
          <a:solidFill>
            <a:schemeClr val="tx1"/>
          </a:solidFill>
          <a:effectLst/>
        </p:spPr>
        <p:style>
          <a:lnRef idx="0">
            <a:schemeClr val="lt1">
              <a:hueOff val="0"/>
              <a:satOff val="0"/>
              <a:lumOff val="0"/>
              <a:alphaOff val="0"/>
            </a:schemeClr>
          </a:lnRef>
          <a:fillRef idx="3">
            <a:schemeClr val="accent2">
              <a:shade val="50000"/>
              <a:hueOff val="-352213"/>
              <a:satOff val="0"/>
              <a:lumOff val="20640"/>
              <a:alphaOff val="0"/>
            </a:schemeClr>
          </a:fillRef>
          <a:effectRef idx="2">
            <a:schemeClr val="accent2">
              <a:shade val="50000"/>
              <a:hueOff val="-352213"/>
              <a:satOff val="0"/>
              <a:lumOff val="20640"/>
              <a:alphaOff val="0"/>
            </a:schemeClr>
          </a:effectRef>
          <a:fontRef idx="minor">
            <a:schemeClr val="lt1"/>
          </a:fontRef>
        </p:style>
        <p:txBody>
          <a:bodyPr spcFirstLastPara="0" vert="horz" wrap="square" lIns="822746" tIns="91416" rIns="133281" bIns="133281" numCol="1" spcCol="1270" anchor="t" anchorCtr="0">
            <a:noAutofit/>
          </a:bodyPr>
          <a:lstStyle/>
          <a:p>
            <a:pPr marL="0" marR="0" lvl="0" indent="0" defTabSz="1554895" rtl="0" eaLnBrk="1" fontAlgn="auto" latinLnBrk="0" hangingPunct="1">
              <a:lnSpc>
                <a:spcPct val="90000"/>
              </a:lnSpc>
              <a:spcBef>
                <a:spcPct val="0"/>
              </a:spcBef>
              <a:spcAft>
                <a:spcPct val="35000"/>
              </a:spcAft>
              <a:buClrTx/>
              <a:buSzTx/>
              <a:buFontTx/>
              <a:buNone/>
              <a:tabLst/>
              <a:defRPr/>
            </a:pPr>
            <a:endParaRPr kumimoji="0" lang="en-US" sz="2399" u="none" strike="noStrike" kern="1200" cap="none" spc="0" normalizeH="0" baseline="0" noProof="0">
              <a:ln>
                <a:noFill/>
              </a:ln>
              <a:solidFill>
                <a:srgbClr val="373737"/>
              </a:solidFill>
              <a:effectLst/>
              <a:uLnTx/>
              <a:uFillTx/>
              <a:latin typeface="Roboto Light" panose="02000000000000000000" pitchFamily="2" charset="0"/>
              <a:ea typeface="Roboto Light" panose="02000000000000000000" pitchFamily="2" charset="0"/>
            </a:endParaRPr>
          </a:p>
        </p:txBody>
      </p:sp>
      <p:sp>
        <p:nvSpPr>
          <p:cNvPr id="91" name="Freeform 12">
            <a:extLst>
              <a:ext uri="{FF2B5EF4-FFF2-40B4-BE49-F238E27FC236}">
                <a16:creationId xmlns:a16="http://schemas.microsoft.com/office/drawing/2014/main" id="{2B2AED57-952D-47AC-AD1F-90D4E57F0121}"/>
              </a:ext>
            </a:extLst>
          </p:cNvPr>
          <p:cNvSpPr/>
          <p:nvPr userDrawn="1"/>
        </p:nvSpPr>
        <p:spPr>
          <a:xfrm>
            <a:off x="8294546" y="4771962"/>
            <a:ext cx="3383106" cy="45719"/>
          </a:xfrm>
          <a:custGeom>
            <a:avLst/>
            <a:gdLst>
              <a:gd name="connsiteX0" fmla="*/ 0 w 2946408"/>
              <a:gd name="connsiteY0" fmla="*/ 0 h 1767845"/>
              <a:gd name="connsiteX1" fmla="*/ 2946408 w 2946408"/>
              <a:gd name="connsiteY1" fmla="*/ 0 h 1767845"/>
              <a:gd name="connsiteX2" fmla="*/ 2946408 w 2946408"/>
              <a:gd name="connsiteY2" fmla="*/ 1767845 h 1767845"/>
              <a:gd name="connsiteX3" fmla="*/ 0 w 2946408"/>
              <a:gd name="connsiteY3" fmla="*/ 1767845 h 1767845"/>
              <a:gd name="connsiteX4" fmla="*/ 0 w 2946408"/>
              <a:gd name="connsiteY4" fmla="*/ 0 h 1767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6408" h="1767845">
                <a:moveTo>
                  <a:pt x="0" y="0"/>
                </a:moveTo>
                <a:lnTo>
                  <a:pt x="2946408" y="0"/>
                </a:lnTo>
                <a:lnTo>
                  <a:pt x="2946408" y="1767845"/>
                </a:lnTo>
                <a:lnTo>
                  <a:pt x="0" y="1767845"/>
                </a:lnTo>
                <a:lnTo>
                  <a:pt x="0" y="0"/>
                </a:lnTo>
                <a:close/>
              </a:path>
            </a:pathLst>
          </a:custGeom>
          <a:solidFill>
            <a:schemeClr val="accent6"/>
          </a:solidFill>
          <a:effectLst/>
        </p:spPr>
        <p:style>
          <a:lnRef idx="0">
            <a:schemeClr val="lt1">
              <a:hueOff val="0"/>
              <a:satOff val="0"/>
              <a:lumOff val="0"/>
              <a:alphaOff val="0"/>
            </a:schemeClr>
          </a:lnRef>
          <a:fillRef idx="3">
            <a:schemeClr val="accent2">
              <a:shade val="50000"/>
              <a:hueOff val="-704426"/>
              <a:satOff val="0"/>
              <a:lumOff val="41281"/>
              <a:alphaOff val="0"/>
            </a:schemeClr>
          </a:fillRef>
          <a:effectRef idx="2">
            <a:schemeClr val="accent2">
              <a:shade val="50000"/>
              <a:hueOff val="-704426"/>
              <a:satOff val="0"/>
              <a:lumOff val="41281"/>
              <a:alphaOff val="0"/>
            </a:schemeClr>
          </a:effectRef>
          <a:fontRef idx="minor">
            <a:schemeClr val="lt1"/>
          </a:fontRef>
        </p:style>
        <p:txBody>
          <a:bodyPr spcFirstLastPara="0" vert="horz" wrap="square" lIns="822746" tIns="91416" rIns="133281" bIns="133281" numCol="1" spcCol="1270" anchor="t" anchorCtr="0">
            <a:noAutofit/>
          </a:bodyPr>
          <a:lstStyle/>
          <a:p>
            <a:pPr marL="0" marR="0" lvl="0" indent="0" defTabSz="1554895" rtl="0" eaLnBrk="1" fontAlgn="auto" latinLnBrk="0" hangingPunct="1">
              <a:lnSpc>
                <a:spcPct val="90000"/>
              </a:lnSpc>
              <a:spcBef>
                <a:spcPct val="0"/>
              </a:spcBef>
              <a:spcAft>
                <a:spcPct val="35000"/>
              </a:spcAft>
              <a:buClrTx/>
              <a:buSzTx/>
              <a:buFontTx/>
              <a:buNone/>
              <a:tabLst/>
              <a:defRPr/>
            </a:pPr>
            <a:endParaRPr kumimoji="0" lang="en-US" sz="2399" u="none" strike="noStrike" kern="1200" cap="none" spc="0" normalizeH="0" baseline="0" noProof="0">
              <a:ln>
                <a:noFill/>
              </a:ln>
              <a:solidFill>
                <a:srgbClr val="373737"/>
              </a:solidFill>
              <a:effectLst/>
              <a:uLnTx/>
              <a:uFillTx/>
              <a:latin typeface="Roboto Light" panose="02000000000000000000" pitchFamily="2" charset="0"/>
              <a:ea typeface="Roboto Light" panose="02000000000000000000" pitchFamily="2" charset="0"/>
            </a:endParaRPr>
          </a:p>
        </p:txBody>
      </p:sp>
      <p:sp>
        <p:nvSpPr>
          <p:cNvPr id="3" name="TextBox 2">
            <a:extLst>
              <a:ext uri="{FF2B5EF4-FFF2-40B4-BE49-F238E27FC236}">
                <a16:creationId xmlns:a16="http://schemas.microsoft.com/office/drawing/2014/main" id="{441A09E4-BC75-4DF9-9A9D-720A119A8D6E}"/>
              </a:ext>
            </a:extLst>
          </p:cNvPr>
          <p:cNvSpPr txBox="1"/>
          <p:nvPr userDrawn="1"/>
        </p:nvSpPr>
        <p:spPr>
          <a:xfrm>
            <a:off x="1023709"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a:solidFill>
                  <a:schemeClr val="tx1">
                    <a:lumMod val="60000"/>
                    <a:lumOff val="40000"/>
                  </a:schemeClr>
                </a:solidFill>
                <a:latin typeface="Roboto" panose="02000000000000000000" pitchFamily="2" charset="0"/>
                <a:ea typeface="Roboto" panose="02000000000000000000" pitchFamily="2" charset="0"/>
                <a:cs typeface="Roboto" charset="0"/>
              </a:rPr>
              <a:t>© Informatica. Proprietary and Confidential.</a:t>
            </a:r>
          </a:p>
        </p:txBody>
      </p:sp>
      <p:pic>
        <p:nvPicPr>
          <p:cNvPr id="35" name="Picture 34">
            <a:extLst>
              <a:ext uri="{FF2B5EF4-FFF2-40B4-BE49-F238E27FC236}">
                <a16:creationId xmlns:a16="http://schemas.microsoft.com/office/drawing/2014/main" id="{B82C524C-CCED-7C4C-AB37-DC08F2783612}"/>
              </a:ext>
            </a:extLst>
          </p:cNvPr>
          <p:cNvPicPr>
            <a:picLocks noChangeAspect="1"/>
          </p:cNvPicPr>
          <p:nvPr userDrawn="1"/>
        </p:nvPicPr>
        <p:blipFill>
          <a:blip r:embed="rId2"/>
          <a:srcRect/>
          <a:stretch/>
        </p:blipFill>
        <p:spPr>
          <a:xfrm>
            <a:off x="9744604" y="6098796"/>
            <a:ext cx="2039100" cy="699990"/>
          </a:xfrm>
          <a:prstGeom prst="rect">
            <a:avLst/>
          </a:prstGeom>
        </p:spPr>
      </p:pic>
      <p:sp>
        <p:nvSpPr>
          <p:cNvPr id="36" name="Right Triangle 35">
            <a:extLst>
              <a:ext uri="{FF2B5EF4-FFF2-40B4-BE49-F238E27FC236}">
                <a16:creationId xmlns:a16="http://schemas.microsoft.com/office/drawing/2014/main" id="{EBEE8010-176F-BC4A-BF2A-D9C7BE0DBB1E}"/>
              </a:ext>
            </a:extLst>
          </p:cNvPr>
          <p:cNvSpPr/>
          <p:nvPr userDrawn="1"/>
        </p:nvSpPr>
        <p:spPr>
          <a:xfrm>
            <a:off x="1" y="2761950"/>
            <a:ext cx="590764" cy="4096050"/>
          </a:xfrm>
          <a:prstGeom prst="rtTriangle">
            <a:avLst/>
          </a:prstGeom>
          <a:gradFill>
            <a:gsLst>
              <a:gs pos="0">
                <a:schemeClr val="accent2"/>
              </a:gs>
              <a:gs pos="76000">
                <a:srgbClr val="FF6500"/>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7124" tIns="91416" rIns="137124" bIns="91416" rtlCol="0" anchor="ctr">
            <a:noAutofit/>
          </a:bodyPr>
          <a:lstStyle/>
          <a:p>
            <a:pPr lvl="0"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73" name="TextBox 72">
            <a:extLst>
              <a:ext uri="{FF2B5EF4-FFF2-40B4-BE49-F238E27FC236}">
                <a16:creationId xmlns:a16="http://schemas.microsoft.com/office/drawing/2014/main" id="{D06D4311-CC27-4703-8C2C-07DEA5C95A87}"/>
              </a:ext>
            </a:extLst>
          </p:cNvPr>
          <p:cNvSpPr txBox="1"/>
          <p:nvPr userDrawn="1"/>
        </p:nvSpPr>
        <p:spPr>
          <a:xfrm>
            <a:off x="176868" y="6365108"/>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063" rtl="0" eaLnBrk="1" latinLnBrk="0" hangingPunct="1"/>
            <a:fld id="{64202F7F-356F-46E2-8791-88745C87F5D9}" type="slidenum">
              <a:rPr lang="en-US" sz="900" b="0" i="0" kern="1200" smtClean="0">
                <a:solidFill>
                  <a:schemeClr val="bg1"/>
                </a:solidFill>
                <a:latin typeface="Roboto" panose="02000000000000000000" pitchFamily="2" charset="0"/>
                <a:ea typeface="Roboto" panose="02000000000000000000" pitchFamily="2" charset="0"/>
                <a:cs typeface="Roboto" charset="0"/>
              </a:rPr>
              <a:pPr marL="0" lvl="0" algn="ctr" defTabSz="457063" rtl="0" eaLnBrk="1" latinLnBrk="0" hangingPunct="1"/>
              <a:t>‹#›</a:t>
            </a:fld>
            <a:endParaRPr lang="en-US" sz="900" b="0" i="0" kern="1200">
              <a:solidFill>
                <a:schemeClr val="bg1"/>
              </a:solidFill>
              <a:latin typeface="Roboto" panose="02000000000000000000" pitchFamily="2" charset="0"/>
              <a:ea typeface="Roboto" panose="02000000000000000000" pitchFamily="2" charset="0"/>
              <a:cs typeface="Roboto" charset="0"/>
            </a:endParaRPr>
          </a:p>
        </p:txBody>
      </p:sp>
    </p:spTree>
    <p:extLst>
      <p:ext uri="{BB962C8B-B14F-4D97-AF65-F5344CB8AC3E}">
        <p14:creationId xmlns:p14="http://schemas.microsoft.com/office/powerpoint/2010/main" val="1252074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Only (No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D625EBE-6EFB-4A48-B9E9-BB18863DFEC3}"/>
              </a:ext>
            </a:extLst>
          </p:cNvPr>
          <p:cNvSpPr txBox="1"/>
          <p:nvPr userDrawn="1"/>
        </p:nvSpPr>
        <p:spPr>
          <a:xfrm>
            <a:off x="176868" y="6365106"/>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900" b="0" i="0" kern="1200" smtClean="0">
                <a:solidFill>
                  <a:schemeClr val="bg1"/>
                </a:solidFill>
                <a:latin typeface="Roboto" charset="0"/>
                <a:ea typeface="Roboto" charset="0"/>
                <a:cs typeface="Roboto" charset="0"/>
              </a:rPr>
              <a:pPr marL="0" lvl="0" algn="ctr" defTabSz="457200" rtl="0" eaLnBrk="1" latinLnBrk="0" hangingPunct="1"/>
              <a:t>‹#›</a:t>
            </a:fld>
            <a:endParaRPr lang="en-US" sz="900" b="0" i="0" kern="1200" dirty="0">
              <a:solidFill>
                <a:schemeClr val="bg1"/>
              </a:solidFill>
              <a:latin typeface="Roboto" charset="0"/>
              <a:ea typeface="Roboto" charset="0"/>
              <a:cs typeface="Roboto" charset="0"/>
            </a:endParaRPr>
          </a:p>
        </p:txBody>
      </p:sp>
      <p:sp>
        <p:nvSpPr>
          <p:cNvPr id="2" name="Title 1"/>
          <p:cNvSpPr>
            <a:spLocks noGrp="1"/>
          </p:cNvSpPr>
          <p:nvPr userDrawn="1">
            <p:ph type="title" hasCustomPrompt="1"/>
          </p:nvPr>
        </p:nvSpPr>
        <p:spPr>
          <a:xfrm>
            <a:off x="488950" y="482602"/>
            <a:ext cx="11188699" cy="1066798"/>
          </a:xfrm>
          <a:prstGeom prst="rect">
            <a:avLst/>
          </a:prstGeom>
        </p:spPr>
        <p:txBody>
          <a:bodyPr lIns="0"/>
          <a:lstStyle>
            <a:lvl1pPr>
              <a:defRPr baseline="0">
                <a:solidFill>
                  <a:schemeClr val="tx1"/>
                </a:solidFill>
              </a:defRPr>
            </a:lvl1pPr>
          </a:lstStyle>
          <a:p>
            <a:r>
              <a:rPr lang="en-US" dirty="0"/>
              <a:t>Headline Goes Here, Roboto Light, 36 Points, Can Span 2 Lines</a:t>
            </a:r>
          </a:p>
        </p:txBody>
      </p:sp>
      <p:sp>
        <p:nvSpPr>
          <p:cNvPr id="3" name="TextBox 2">
            <a:extLst>
              <a:ext uri="{FF2B5EF4-FFF2-40B4-BE49-F238E27FC236}">
                <a16:creationId xmlns:a16="http://schemas.microsoft.com/office/drawing/2014/main" id="{9E4B4709-7C2B-4FD8-9933-DAF4E15383F8}"/>
              </a:ext>
            </a:extLst>
          </p:cNvPr>
          <p:cNvSpPr txBox="1"/>
          <p:nvPr userDrawn="1"/>
        </p:nvSpPr>
        <p:spPr>
          <a:xfrm>
            <a:off x="1023708"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dirty="0">
                <a:solidFill>
                  <a:schemeClr val="tx1"/>
                </a:solidFill>
                <a:latin typeface="Roboto" charset="0"/>
                <a:ea typeface="Roboto" charset="0"/>
                <a:cs typeface="Roboto" charset="0"/>
              </a:rPr>
              <a:t>© Informatica. Proprietary and Confidential.</a:t>
            </a:r>
          </a:p>
        </p:txBody>
      </p:sp>
    </p:spTree>
    <p:extLst>
      <p:ext uri="{BB962C8B-B14F-4D97-AF65-F5344CB8AC3E}">
        <p14:creationId xmlns:p14="http://schemas.microsoft.com/office/powerpoint/2010/main" val="3981969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le/Subtitle/Headlines &amp; 3-">
    <p:spTree>
      <p:nvGrpSpPr>
        <p:cNvPr id="1" name=""/>
        <p:cNvGrpSpPr/>
        <p:nvPr/>
      </p:nvGrpSpPr>
      <p:grpSpPr>
        <a:xfrm>
          <a:off x="0" y="0"/>
          <a:ext cx="0" cy="0"/>
          <a:chOff x="0" y="0"/>
          <a:chExt cx="0" cy="0"/>
        </a:xfrm>
      </p:grpSpPr>
      <p:sp>
        <p:nvSpPr>
          <p:cNvPr id="17" name="Right Triangle 16">
            <a:extLst>
              <a:ext uri="{FF2B5EF4-FFF2-40B4-BE49-F238E27FC236}">
                <a16:creationId xmlns:a16="http://schemas.microsoft.com/office/drawing/2014/main" id="{604C7E48-5DD6-024F-B64E-62071197E643}"/>
              </a:ext>
            </a:extLst>
          </p:cNvPr>
          <p:cNvSpPr/>
          <p:nvPr userDrawn="1"/>
        </p:nvSpPr>
        <p:spPr>
          <a:xfrm>
            <a:off x="0" y="2761950"/>
            <a:ext cx="702453" cy="4096050"/>
          </a:xfrm>
          <a:prstGeom prst="r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37124" tIns="91416" rIns="137124" bIns="91416" rtlCol="0" anchor="ct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2" name="Title 1"/>
          <p:cNvSpPr>
            <a:spLocks noGrp="1"/>
          </p:cNvSpPr>
          <p:nvPr userDrawn="1">
            <p:ph type="title" hasCustomPrompt="1"/>
          </p:nvPr>
        </p:nvSpPr>
        <p:spPr>
          <a:xfrm>
            <a:off x="488951" y="482604"/>
            <a:ext cx="11188701" cy="562427"/>
          </a:xfrm>
          <a:prstGeom prst="rect">
            <a:avLst/>
          </a:prstGeom>
        </p:spPr>
        <p:txBody>
          <a:bodyPr lIns="0"/>
          <a:lstStyle>
            <a:lvl1pPr>
              <a:defRPr baseline="0">
                <a:solidFill>
                  <a:schemeClr val="bg1"/>
                </a:solidFill>
              </a:defRPr>
            </a:lvl1pPr>
          </a:lstStyle>
          <a:p>
            <a:r>
              <a:rPr lang="en-US"/>
              <a:t>Headline Goes Here, Roboto Light, 36 Points, 1 Line</a:t>
            </a:r>
          </a:p>
        </p:txBody>
      </p:sp>
      <p:sp>
        <p:nvSpPr>
          <p:cNvPr id="11" name="Content Placeholder 5">
            <a:extLst>
              <a:ext uri="{FF2B5EF4-FFF2-40B4-BE49-F238E27FC236}">
                <a16:creationId xmlns:a16="http://schemas.microsoft.com/office/drawing/2014/main" id="{956D1FDC-5FA5-4B2D-A5AA-86637FA3B976}"/>
              </a:ext>
            </a:extLst>
          </p:cNvPr>
          <p:cNvSpPr>
            <a:spLocks noGrp="1"/>
          </p:cNvSpPr>
          <p:nvPr userDrawn="1">
            <p:ph sz="quarter" idx="14" hasCustomPrompt="1"/>
          </p:nvPr>
        </p:nvSpPr>
        <p:spPr>
          <a:xfrm>
            <a:off x="1025388" y="2290762"/>
            <a:ext cx="3269180" cy="3729038"/>
          </a:xfrm>
          <a:prstGeom prst="rect">
            <a:avLst/>
          </a:prstGeom>
        </p:spPr>
        <p:txBody>
          <a:bodyPr/>
          <a:lstStyle>
            <a:lvl1pPr>
              <a:spcBef>
                <a:spcPts val="1200"/>
              </a:spcBef>
              <a:defRPr sz="1799" baseline="0">
                <a:latin typeface="Roboto" panose="02000000000000000000" pitchFamily="2" charset="0"/>
                <a:ea typeface="Roboto" panose="02000000000000000000" pitchFamily="2" charset="0"/>
              </a:defRPr>
            </a:lvl1pPr>
            <a:lvl2pPr>
              <a:spcBef>
                <a:spcPts val="600"/>
              </a:spcBef>
              <a:defRPr sz="1600" baseline="0">
                <a:latin typeface="Roboto" panose="02000000000000000000" pitchFamily="2" charset="0"/>
                <a:ea typeface="Roboto" panose="02000000000000000000" pitchFamily="2" charset="0"/>
              </a:defRPr>
            </a:lvl2pPr>
            <a:lvl3pPr>
              <a:spcBef>
                <a:spcPts val="600"/>
              </a:spcBef>
              <a:defRPr sz="1400">
                <a:latin typeface="Roboto" panose="02000000000000000000" pitchFamily="2" charset="0"/>
                <a:ea typeface="Roboto" panose="02000000000000000000" pitchFamily="2" charset="0"/>
              </a:defRPr>
            </a:lvl3pPr>
          </a:lstStyle>
          <a:p>
            <a:pPr lvl="0"/>
            <a:r>
              <a:rPr lang="en-US"/>
              <a:t>First bullet, Roboto Regular </a:t>
            </a:r>
          </a:p>
          <a:p>
            <a:pPr lvl="1"/>
            <a:r>
              <a:rPr lang="en-US"/>
              <a:t>Second bullet, Roboto Regular</a:t>
            </a:r>
          </a:p>
          <a:p>
            <a:pPr lvl="2"/>
            <a:r>
              <a:rPr lang="en-US"/>
              <a:t>Third bullet, Roboto Regular</a:t>
            </a:r>
          </a:p>
        </p:txBody>
      </p:sp>
      <p:sp>
        <p:nvSpPr>
          <p:cNvPr id="12" name="Text Placeholder 2">
            <a:extLst>
              <a:ext uri="{FF2B5EF4-FFF2-40B4-BE49-F238E27FC236}">
                <a16:creationId xmlns:a16="http://schemas.microsoft.com/office/drawing/2014/main" id="{055D64D1-7AD8-4D53-A0ED-118D84E22AE7}"/>
              </a:ext>
            </a:extLst>
          </p:cNvPr>
          <p:cNvSpPr>
            <a:spLocks noGrp="1"/>
          </p:cNvSpPr>
          <p:nvPr userDrawn="1">
            <p:ph type="body" idx="1" hasCustomPrompt="1"/>
          </p:nvPr>
        </p:nvSpPr>
        <p:spPr>
          <a:xfrm>
            <a:off x="1027526" y="1854201"/>
            <a:ext cx="3269180" cy="436563"/>
          </a:xfrm>
          <a:prstGeom prst="rect">
            <a:avLst/>
          </a:prstGeom>
        </p:spPr>
        <p:txBody>
          <a:bodyPr anchor="t"/>
          <a:lstStyle>
            <a:lvl1pPr marL="0" indent="0">
              <a:buNone/>
              <a:defRPr sz="1999" b="1" baseline="0">
                <a:solidFill>
                  <a:schemeClr val="accent5"/>
                </a:solidFill>
                <a:latin typeface="Roboto" panose="02000000000000000000" pitchFamily="2" charset="0"/>
                <a:ea typeface="Roboto" panose="02000000000000000000" pitchFamily="2" charset="0"/>
              </a:defRPr>
            </a:lvl1pPr>
            <a:lvl2pPr marL="456972" indent="0">
              <a:buNone/>
              <a:defRPr sz="1999" b="1"/>
            </a:lvl2pPr>
            <a:lvl3pPr marL="913943" indent="0">
              <a:buNone/>
              <a:defRPr sz="1799" b="1"/>
            </a:lvl3pPr>
            <a:lvl4pPr marL="1370915" indent="0">
              <a:buNone/>
              <a:defRPr sz="1600" b="1"/>
            </a:lvl4pPr>
            <a:lvl5pPr marL="1827885" indent="0">
              <a:buNone/>
              <a:defRPr sz="1600" b="1"/>
            </a:lvl5pPr>
            <a:lvl6pPr marL="2284856" indent="0">
              <a:buNone/>
              <a:defRPr sz="1600" b="1"/>
            </a:lvl6pPr>
            <a:lvl7pPr marL="2741828" indent="0">
              <a:buNone/>
              <a:defRPr sz="1600" b="1"/>
            </a:lvl7pPr>
            <a:lvl8pPr marL="3198800" indent="0">
              <a:buNone/>
              <a:defRPr sz="1600" b="1"/>
            </a:lvl8pPr>
            <a:lvl9pPr marL="3655772" indent="0">
              <a:buNone/>
              <a:defRPr sz="1600" b="1"/>
            </a:lvl9pPr>
          </a:lstStyle>
          <a:p>
            <a:pPr lvl="0"/>
            <a:r>
              <a:rPr lang="en-US"/>
              <a:t>Headline goes here</a:t>
            </a:r>
          </a:p>
        </p:txBody>
      </p:sp>
      <p:sp>
        <p:nvSpPr>
          <p:cNvPr id="15" name="Content Placeholder 5">
            <a:extLst>
              <a:ext uri="{FF2B5EF4-FFF2-40B4-BE49-F238E27FC236}">
                <a16:creationId xmlns:a16="http://schemas.microsoft.com/office/drawing/2014/main" id="{26C68CC7-FCFB-4E97-8E67-90A77CBE7883}"/>
              </a:ext>
            </a:extLst>
          </p:cNvPr>
          <p:cNvSpPr>
            <a:spLocks noGrp="1"/>
          </p:cNvSpPr>
          <p:nvPr userDrawn="1">
            <p:ph sz="quarter" idx="15" hasCustomPrompt="1"/>
          </p:nvPr>
        </p:nvSpPr>
        <p:spPr>
          <a:xfrm>
            <a:off x="4734911" y="2290762"/>
            <a:ext cx="3269180" cy="3729038"/>
          </a:xfrm>
          <a:prstGeom prst="rect">
            <a:avLst/>
          </a:prstGeom>
        </p:spPr>
        <p:txBody>
          <a:bodyPr/>
          <a:lstStyle>
            <a:lvl1pPr>
              <a:spcBef>
                <a:spcPts val="1200"/>
              </a:spcBef>
              <a:defRPr sz="1799" baseline="0">
                <a:latin typeface="Roboto" panose="02000000000000000000" pitchFamily="2" charset="0"/>
                <a:ea typeface="Roboto" panose="02000000000000000000" pitchFamily="2" charset="0"/>
              </a:defRPr>
            </a:lvl1pPr>
            <a:lvl2pPr>
              <a:spcBef>
                <a:spcPts val="600"/>
              </a:spcBef>
              <a:defRPr sz="1600" baseline="0">
                <a:latin typeface="Roboto" panose="02000000000000000000" pitchFamily="2" charset="0"/>
                <a:ea typeface="Roboto" panose="02000000000000000000" pitchFamily="2" charset="0"/>
              </a:defRPr>
            </a:lvl2pPr>
            <a:lvl3pPr>
              <a:spcBef>
                <a:spcPts val="600"/>
              </a:spcBef>
              <a:defRPr sz="1400">
                <a:latin typeface="Roboto" panose="02000000000000000000" pitchFamily="2" charset="0"/>
                <a:ea typeface="Roboto" panose="02000000000000000000" pitchFamily="2" charset="0"/>
              </a:defRPr>
            </a:lvl3pPr>
          </a:lstStyle>
          <a:p>
            <a:pPr lvl="0"/>
            <a:r>
              <a:rPr lang="en-US"/>
              <a:t>First bullet, Roboto Regular </a:t>
            </a:r>
          </a:p>
          <a:p>
            <a:pPr lvl="1"/>
            <a:r>
              <a:rPr lang="en-US"/>
              <a:t>Second bullet, Roboto Regular</a:t>
            </a:r>
          </a:p>
          <a:p>
            <a:pPr lvl="2"/>
            <a:r>
              <a:rPr lang="en-US"/>
              <a:t>Third bullet, Roboto Regular</a:t>
            </a:r>
          </a:p>
        </p:txBody>
      </p:sp>
      <p:sp>
        <p:nvSpPr>
          <p:cNvPr id="19" name="Text Placeholder 2">
            <a:extLst>
              <a:ext uri="{FF2B5EF4-FFF2-40B4-BE49-F238E27FC236}">
                <a16:creationId xmlns:a16="http://schemas.microsoft.com/office/drawing/2014/main" id="{F89E3C59-0A83-46CB-AFF1-091BB74D0EA9}"/>
              </a:ext>
            </a:extLst>
          </p:cNvPr>
          <p:cNvSpPr>
            <a:spLocks noGrp="1"/>
          </p:cNvSpPr>
          <p:nvPr userDrawn="1">
            <p:ph type="body" idx="16" hasCustomPrompt="1"/>
          </p:nvPr>
        </p:nvSpPr>
        <p:spPr>
          <a:xfrm>
            <a:off x="4731941" y="1854201"/>
            <a:ext cx="3269180" cy="436563"/>
          </a:xfrm>
          <a:prstGeom prst="rect">
            <a:avLst/>
          </a:prstGeom>
        </p:spPr>
        <p:txBody>
          <a:bodyPr anchor="t"/>
          <a:lstStyle>
            <a:lvl1pPr marL="0" indent="0">
              <a:buNone/>
              <a:defRPr sz="1999" b="1" baseline="0">
                <a:solidFill>
                  <a:schemeClr val="accent5"/>
                </a:solidFill>
                <a:latin typeface="Roboto" panose="02000000000000000000" pitchFamily="2" charset="0"/>
                <a:ea typeface="Roboto" panose="02000000000000000000" pitchFamily="2" charset="0"/>
              </a:defRPr>
            </a:lvl1pPr>
            <a:lvl2pPr marL="456972" indent="0">
              <a:buNone/>
              <a:defRPr sz="1999" b="1"/>
            </a:lvl2pPr>
            <a:lvl3pPr marL="913943" indent="0">
              <a:buNone/>
              <a:defRPr sz="1799" b="1"/>
            </a:lvl3pPr>
            <a:lvl4pPr marL="1370915" indent="0">
              <a:buNone/>
              <a:defRPr sz="1600" b="1"/>
            </a:lvl4pPr>
            <a:lvl5pPr marL="1827885" indent="0">
              <a:buNone/>
              <a:defRPr sz="1600" b="1"/>
            </a:lvl5pPr>
            <a:lvl6pPr marL="2284856" indent="0">
              <a:buNone/>
              <a:defRPr sz="1600" b="1"/>
            </a:lvl6pPr>
            <a:lvl7pPr marL="2741828" indent="0">
              <a:buNone/>
              <a:defRPr sz="1600" b="1"/>
            </a:lvl7pPr>
            <a:lvl8pPr marL="3198800" indent="0">
              <a:buNone/>
              <a:defRPr sz="1600" b="1"/>
            </a:lvl8pPr>
            <a:lvl9pPr marL="3655772" indent="0">
              <a:buNone/>
              <a:defRPr sz="1600" b="1"/>
            </a:lvl9pPr>
          </a:lstStyle>
          <a:p>
            <a:pPr lvl="0"/>
            <a:r>
              <a:rPr lang="en-US"/>
              <a:t>Headline goes here</a:t>
            </a:r>
          </a:p>
        </p:txBody>
      </p:sp>
      <p:sp>
        <p:nvSpPr>
          <p:cNvPr id="20" name="Content Placeholder 5">
            <a:extLst>
              <a:ext uri="{FF2B5EF4-FFF2-40B4-BE49-F238E27FC236}">
                <a16:creationId xmlns:a16="http://schemas.microsoft.com/office/drawing/2014/main" id="{962B4E02-4383-440D-AB49-C9B1E385046F}"/>
              </a:ext>
            </a:extLst>
          </p:cNvPr>
          <p:cNvSpPr>
            <a:spLocks noGrp="1"/>
          </p:cNvSpPr>
          <p:nvPr userDrawn="1">
            <p:ph sz="quarter" idx="17" hasCustomPrompt="1"/>
          </p:nvPr>
        </p:nvSpPr>
        <p:spPr>
          <a:xfrm>
            <a:off x="8408366" y="2290762"/>
            <a:ext cx="3269180" cy="3729038"/>
          </a:xfrm>
          <a:prstGeom prst="rect">
            <a:avLst/>
          </a:prstGeom>
        </p:spPr>
        <p:txBody>
          <a:bodyPr/>
          <a:lstStyle>
            <a:lvl1pPr>
              <a:spcBef>
                <a:spcPts val="1200"/>
              </a:spcBef>
              <a:defRPr sz="1799" baseline="0">
                <a:latin typeface="Roboto" panose="02000000000000000000" pitchFamily="2" charset="0"/>
                <a:ea typeface="Roboto" panose="02000000000000000000" pitchFamily="2" charset="0"/>
              </a:defRPr>
            </a:lvl1pPr>
            <a:lvl2pPr>
              <a:spcBef>
                <a:spcPts val="600"/>
              </a:spcBef>
              <a:defRPr sz="1600" baseline="0">
                <a:latin typeface="Roboto" panose="02000000000000000000" pitchFamily="2" charset="0"/>
                <a:ea typeface="Roboto" panose="02000000000000000000" pitchFamily="2" charset="0"/>
              </a:defRPr>
            </a:lvl2pPr>
            <a:lvl3pPr>
              <a:spcBef>
                <a:spcPts val="600"/>
              </a:spcBef>
              <a:defRPr sz="1400">
                <a:latin typeface="Roboto" panose="02000000000000000000" pitchFamily="2" charset="0"/>
                <a:ea typeface="Roboto" panose="02000000000000000000" pitchFamily="2" charset="0"/>
              </a:defRPr>
            </a:lvl3pPr>
          </a:lstStyle>
          <a:p>
            <a:pPr lvl="0"/>
            <a:r>
              <a:rPr lang="en-US"/>
              <a:t>First bullet, Roboto Regular </a:t>
            </a:r>
          </a:p>
          <a:p>
            <a:pPr lvl="1"/>
            <a:r>
              <a:rPr lang="en-US"/>
              <a:t>Second bullet, Roboto Regular</a:t>
            </a:r>
          </a:p>
          <a:p>
            <a:pPr lvl="2"/>
            <a:r>
              <a:rPr lang="en-US"/>
              <a:t>Third bullet, Roboto Regular</a:t>
            </a:r>
          </a:p>
        </p:txBody>
      </p:sp>
      <p:sp>
        <p:nvSpPr>
          <p:cNvPr id="21" name="Text Placeholder 2">
            <a:extLst>
              <a:ext uri="{FF2B5EF4-FFF2-40B4-BE49-F238E27FC236}">
                <a16:creationId xmlns:a16="http://schemas.microsoft.com/office/drawing/2014/main" id="{50F3AD2F-D27D-4DC6-8CE0-ACED6D2AD57D}"/>
              </a:ext>
            </a:extLst>
          </p:cNvPr>
          <p:cNvSpPr>
            <a:spLocks noGrp="1"/>
          </p:cNvSpPr>
          <p:nvPr userDrawn="1">
            <p:ph type="body" idx="18" hasCustomPrompt="1"/>
          </p:nvPr>
        </p:nvSpPr>
        <p:spPr>
          <a:xfrm>
            <a:off x="8405396" y="1854201"/>
            <a:ext cx="3269180" cy="436563"/>
          </a:xfrm>
          <a:prstGeom prst="rect">
            <a:avLst/>
          </a:prstGeom>
        </p:spPr>
        <p:txBody>
          <a:bodyPr anchor="t"/>
          <a:lstStyle>
            <a:lvl1pPr marL="0" indent="0">
              <a:buNone/>
              <a:defRPr sz="1999" b="1" baseline="0">
                <a:solidFill>
                  <a:schemeClr val="accent5"/>
                </a:solidFill>
                <a:latin typeface="Roboto" panose="02000000000000000000" pitchFamily="2" charset="0"/>
                <a:ea typeface="Roboto" panose="02000000000000000000" pitchFamily="2" charset="0"/>
              </a:defRPr>
            </a:lvl1pPr>
            <a:lvl2pPr marL="456972" indent="0">
              <a:buNone/>
              <a:defRPr sz="1999" b="1"/>
            </a:lvl2pPr>
            <a:lvl3pPr marL="913943" indent="0">
              <a:buNone/>
              <a:defRPr sz="1799" b="1"/>
            </a:lvl3pPr>
            <a:lvl4pPr marL="1370915" indent="0">
              <a:buNone/>
              <a:defRPr sz="1600" b="1"/>
            </a:lvl4pPr>
            <a:lvl5pPr marL="1827885" indent="0">
              <a:buNone/>
              <a:defRPr sz="1600" b="1"/>
            </a:lvl5pPr>
            <a:lvl6pPr marL="2284856" indent="0">
              <a:buNone/>
              <a:defRPr sz="1600" b="1"/>
            </a:lvl6pPr>
            <a:lvl7pPr marL="2741828" indent="0">
              <a:buNone/>
              <a:defRPr sz="1600" b="1"/>
            </a:lvl7pPr>
            <a:lvl8pPr marL="3198800" indent="0">
              <a:buNone/>
              <a:defRPr sz="1600" b="1"/>
            </a:lvl8pPr>
            <a:lvl9pPr marL="3655772" indent="0">
              <a:buNone/>
              <a:defRPr sz="1600" b="1"/>
            </a:lvl9pPr>
          </a:lstStyle>
          <a:p>
            <a:pPr lvl="0"/>
            <a:r>
              <a:rPr lang="en-US"/>
              <a:t>Headline goes here</a:t>
            </a:r>
          </a:p>
        </p:txBody>
      </p:sp>
      <p:sp>
        <p:nvSpPr>
          <p:cNvPr id="3" name="TextBox 2">
            <a:extLst>
              <a:ext uri="{FF2B5EF4-FFF2-40B4-BE49-F238E27FC236}">
                <a16:creationId xmlns:a16="http://schemas.microsoft.com/office/drawing/2014/main" id="{7381646B-CBD8-4A6C-AC78-62B17E690EE5}"/>
              </a:ext>
            </a:extLst>
          </p:cNvPr>
          <p:cNvSpPr txBox="1"/>
          <p:nvPr userDrawn="1"/>
        </p:nvSpPr>
        <p:spPr>
          <a:xfrm>
            <a:off x="1023709"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a:solidFill>
                  <a:schemeClr val="tx1">
                    <a:lumMod val="60000"/>
                    <a:lumOff val="40000"/>
                  </a:schemeClr>
                </a:solidFill>
                <a:latin typeface="Roboto" panose="02000000000000000000" pitchFamily="2" charset="0"/>
                <a:ea typeface="Roboto" panose="02000000000000000000" pitchFamily="2" charset="0"/>
                <a:cs typeface="Roboto" charset="0"/>
              </a:rPr>
              <a:t>© Informatica. Proprietary and Confidential.</a:t>
            </a:r>
          </a:p>
        </p:txBody>
      </p:sp>
      <p:pic>
        <p:nvPicPr>
          <p:cNvPr id="16" name="Picture 15">
            <a:extLst>
              <a:ext uri="{FF2B5EF4-FFF2-40B4-BE49-F238E27FC236}">
                <a16:creationId xmlns:a16="http://schemas.microsoft.com/office/drawing/2014/main" id="{A6BB98FB-04A1-8843-9326-64075BA31452}"/>
              </a:ext>
            </a:extLst>
          </p:cNvPr>
          <p:cNvPicPr>
            <a:picLocks noChangeAspect="1"/>
          </p:cNvPicPr>
          <p:nvPr userDrawn="1"/>
        </p:nvPicPr>
        <p:blipFill>
          <a:blip r:embed="rId2"/>
          <a:srcRect/>
          <a:stretch/>
        </p:blipFill>
        <p:spPr>
          <a:xfrm>
            <a:off x="9744604" y="6098796"/>
            <a:ext cx="2039100" cy="699990"/>
          </a:xfrm>
          <a:prstGeom prst="rect">
            <a:avLst/>
          </a:prstGeom>
        </p:spPr>
      </p:pic>
      <p:sp>
        <p:nvSpPr>
          <p:cNvPr id="22" name="Right Triangle 21">
            <a:extLst>
              <a:ext uri="{FF2B5EF4-FFF2-40B4-BE49-F238E27FC236}">
                <a16:creationId xmlns:a16="http://schemas.microsoft.com/office/drawing/2014/main" id="{6031F55A-56B7-F14D-84D1-23C8A6703764}"/>
              </a:ext>
            </a:extLst>
          </p:cNvPr>
          <p:cNvSpPr/>
          <p:nvPr userDrawn="1"/>
        </p:nvSpPr>
        <p:spPr>
          <a:xfrm>
            <a:off x="1" y="2761950"/>
            <a:ext cx="590764" cy="4096050"/>
          </a:xfrm>
          <a:prstGeom prst="rtTriangle">
            <a:avLst/>
          </a:prstGeom>
          <a:gradFill>
            <a:gsLst>
              <a:gs pos="0">
                <a:schemeClr val="accent2"/>
              </a:gs>
              <a:gs pos="76000">
                <a:srgbClr val="FF6500"/>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7124" tIns="91416" rIns="137124" bIns="91416" rtlCol="0" anchor="ctr">
            <a:noAutofit/>
          </a:bodyPr>
          <a:lstStyle/>
          <a:p>
            <a:pPr lvl="0"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84" name="TextBox 83">
            <a:extLst>
              <a:ext uri="{FF2B5EF4-FFF2-40B4-BE49-F238E27FC236}">
                <a16:creationId xmlns:a16="http://schemas.microsoft.com/office/drawing/2014/main" id="{452D0E9B-C1A1-417A-AEE1-63EB1720F76F}"/>
              </a:ext>
            </a:extLst>
          </p:cNvPr>
          <p:cNvSpPr txBox="1"/>
          <p:nvPr userDrawn="1"/>
        </p:nvSpPr>
        <p:spPr>
          <a:xfrm>
            <a:off x="176868" y="6365108"/>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063" rtl="0" eaLnBrk="1" latinLnBrk="0" hangingPunct="1"/>
            <a:fld id="{64202F7F-356F-46E2-8791-88745C87F5D9}" type="slidenum">
              <a:rPr lang="en-US" sz="900" b="0" i="0" kern="1200" smtClean="0">
                <a:solidFill>
                  <a:schemeClr val="bg1"/>
                </a:solidFill>
                <a:latin typeface="Roboto" panose="02000000000000000000" pitchFamily="2" charset="0"/>
                <a:ea typeface="Roboto" panose="02000000000000000000" pitchFamily="2" charset="0"/>
                <a:cs typeface="Roboto" charset="0"/>
              </a:rPr>
              <a:pPr marL="0" lvl="0" algn="ctr" defTabSz="457063" rtl="0" eaLnBrk="1" latinLnBrk="0" hangingPunct="1"/>
              <a:t>‹#›</a:t>
            </a:fld>
            <a:endParaRPr lang="en-US" sz="900" b="0" i="0" kern="1200">
              <a:solidFill>
                <a:schemeClr val="bg1"/>
              </a:solidFill>
              <a:latin typeface="Roboto" panose="02000000000000000000" pitchFamily="2" charset="0"/>
              <a:ea typeface="Roboto" panose="02000000000000000000" pitchFamily="2" charset="0"/>
              <a:cs typeface="Roboto" charset="0"/>
            </a:endParaRPr>
          </a:p>
        </p:txBody>
      </p:sp>
      <p:sp>
        <p:nvSpPr>
          <p:cNvPr id="18" name="Text Placeholder 4">
            <a:extLst>
              <a:ext uri="{FF2B5EF4-FFF2-40B4-BE49-F238E27FC236}">
                <a16:creationId xmlns:a16="http://schemas.microsoft.com/office/drawing/2014/main" id="{A75C29B7-CF2A-564E-933A-F562DD7EF4A0}"/>
              </a:ext>
            </a:extLst>
          </p:cNvPr>
          <p:cNvSpPr>
            <a:spLocks noGrp="1"/>
          </p:cNvSpPr>
          <p:nvPr>
            <p:ph type="body" sz="quarter" idx="13" hasCustomPrompt="1"/>
          </p:nvPr>
        </p:nvSpPr>
        <p:spPr>
          <a:xfrm>
            <a:off x="493714" y="1058901"/>
            <a:ext cx="11188532" cy="331601"/>
          </a:xfrm>
          <a:prstGeom prst="rect">
            <a:avLst/>
          </a:prstGeom>
        </p:spPr>
        <p:txBody>
          <a:bodyPr lIns="0" anchor="t"/>
          <a:lstStyle>
            <a:lvl1pPr marL="0" indent="0">
              <a:buNone/>
              <a:defRPr sz="2399" i="0">
                <a:solidFill>
                  <a:schemeClr val="bg1"/>
                </a:solidFill>
                <a:latin typeface="Roboto" panose="02000000000000000000" pitchFamily="2" charset="0"/>
                <a:ea typeface="Roboto" panose="02000000000000000000" pitchFamily="2" charset="0"/>
              </a:defRPr>
            </a:lvl1pPr>
            <a:lvl2pPr marL="169812" indent="0">
              <a:buNone/>
              <a:defRPr/>
            </a:lvl2pPr>
            <a:lvl3pPr marL="344384" indent="0">
              <a:buNone/>
              <a:defRPr/>
            </a:lvl3pPr>
            <a:lvl4pPr marL="458650" indent="0">
              <a:buNone/>
              <a:defRPr/>
            </a:lvl4pPr>
            <a:lvl5pPr marL="630048" indent="0">
              <a:buNone/>
              <a:defRPr/>
            </a:lvl5pPr>
          </a:lstStyle>
          <a:p>
            <a:pPr lvl="0"/>
            <a:r>
              <a:rPr lang="en-US"/>
              <a:t>Subtitle goes here, </a:t>
            </a:r>
            <a:r>
              <a:rPr lang="en-US" err="1"/>
              <a:t>Roboto</a:t>
            </a:r>
            <a:r>
              <a:rPr lang="en-US"/>
              <a:t> Regular 24 point, no longer than one line</a:t>
            </a:r>
          </a:p>
        </p:txBody>
      </p:sp>
    </p:spTree>
    <p:extLst>
      <p:ext uri="{BB962C8B-B14F-4D97-AF65-F5344CB8AC3E}">
        <p14:creationId xmlns:p14="http://schemas.microsoft.com/office/powerpoint/2010/main" val="2265140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Subtitle/Images/Headlines &amp; 2-">
    <p:spTree>
      <p:nvGrpSpPr>
        <p:cNvPr id="1" name=""/>
        <p:cNvGrpSpPr/>
        <p:nvPr/>
      </p:nvGrpSpPr>
      <p:grpSpPr>
        <a:xfrm>
          <a:off x="0" y="0"/>
          <a:ext cx="0" cy="0"/>
          <a:chOff x="0" y="0"/>
          <a:chExt cx="0" cy="0"/>
        </a:xfrm>
      </p:grpSpPr>
      <p:sp>
        <p:nvSpPr>
          <p:cNvPr id="18" name="Right Triangle 17">
            <a:extLst>
              <a:ext uri="{FF2B5EF4-FFF2-40B4-BE49-F238E27FC236}">
                <a16:creationId xmlns:a16="http://schemas.microsoft.com/office/drawing/2014/main" id="{E4C47A45-5800-014C-ACCA-FA4349548B9C}"/>
              </a:ext>
            </a:extLst>
          </p:cNvPr>
          <p:cNvSpPr/>
          <p:nvPr userDrawn="1"/>
        </p:nvSpPr>
        <p:spPr>
          <a:xfrm>
            <a:off x="0" y="2761950"/>
            <a:ext cx="702453" cy="4096050"/>
          </a:xfrm>
          <a:prstGeom prst="r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37124" tIns="91416" rIns="137124" bIns="91416" rtlCol="0" anchor="ct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2" name="Title 1"/>
          <p:cNvSpPr>
            <a:spLocks noGrp="1"/>
          </p:cNvSpPr>
          <p:nvPr userDrawn="1">
            <p:ph type="title" hasCustomPrompt="1"/>
          </p:nvPr>
        </p:nvSpPr>
        <p:spPr>
          <a:xfrm>
            <a:off x="488951" y="482604"/>
            <a:ext cx="11188701" cy="562427"/>
          </a:xfrm>
          <a:prstGeom prst="rect">
            <a:avLst/>
          </a:prstGeom>
        </p:spPr>
        <p:txBody>
          <a:bodyPr lIns="0"/>
          <a:lstStyle>
            <a:lvl1pPr>
              <a:defRPr lang="en-US" dirty="0"/>
            </a:lvl1pPr>
          </a:lstStyle>
          <a:p>
            <a:pPr lvl="0"/>
            <a:r>
              <a:rPr lang="en-US"/>
              <a:t>Headline Goes Here, Roboto Light, 36 Points, 1 Line</a:t>
            </a:r>
          </a:p>
        </p:txBody>
      </p:sp>
      <p:sp>
        <p:nvSpPr>
          <p:cNvPr id="11" name="Content Placeholder 5">
            <a:extLst>
              <a:ext uri="{FF2B5EF4-FFF2-40B4-BE49-F238E27FC236}">
                <a16:creationId xmlns:a16="http://schemas.microsoft.com/office/drawing/2014/main" id="{956D1FDC-5FA5-4B2D-A5AA-86637FA3B976}"/>
              </a:ext>
            </a:extLst>
          </p:cNvPr>
          <p:cNvSpPr>
            <a:spLocks noGrp="1"/>
          </p:cNvSpPr>
          <p:nvPr userDrawn="1">
            <p:ph sz="quarter" idx="14" hasCustomPrompt="1"/>
          </p:nvPr>
        </p:nvSpPr>
        <p:spPr>
          <a:xfrm>
            <a:off x="1032222" y="4581525"/>
            <a:ext cx="5080275" cy="1438274"/>
          </a:xfrm>
          <a:prstGeom prst="rect">
            <a:avLst/>
          </a:prstGeom>
        </p:spPr>
        <p:txBody>
          <a:bodyPr/>
          <a:lstStyle>
            <a:lvl1pPr>
              <a:spcBef>
                <a:spcPts val="1200"/>
              </a:spcBef>
              <a:defRPr sz="1799" baseline="0">
                <a:latin typeface="Roboto" panose="02000000000000000000" pitchFamily="2" charset="0"/>
                <a:ea typeface="Roboto" panose="02000000000000000000" pitchFamily="2" charset="0"/>
              </a:defRPr>
            </a:lvl1pPr>
            <a:lvl2pPr>
              <a:spcBef>
                <a:spcPts val="600"/>
              </a:spcBef>
              <a:defRPr sz="1600" baseline="0">
                <a:latin typeface="Roboto" panose="02000000000000000000" pitchFamily="2" charset="0"/>
                <a:ea typeface="Roboto" panose="02000000000000000000" pitchFamily="2" charset="0"/>
              </a:defRPr>
            </a:lvl2pPr>
            <a:lvl3pPr>
              <a:spcBef>
                <a:spcPts val="600"/>
              </a:spcBef>
              <a:defRPr sz="1400">
                <a:latin typeface="Roboto" panose="02000000000000000000" pitchFamily="2" charset="0"/>
                <a:ea typeface="Roboto" panose="02000000000000000000" pitchFamily="2" charset="0"/>
              </a:defRPr>
            </a:lvl3pPr>
          </a:lstStyle>
          <a:p>
            <a:pPr lvl="0"/>
            <a:r>
              <a:rPr lang="en-US"/>
              <a:t>First bullet, Roboto Regular 18 point</a:t>
            </a:r>
          </a:p>
          <a:p>
            <a:pPr lvl="1"/>
            <a:r>
              <a:rPr lang="en-US"/>
              <a:t>Second bullet, Roboto Regular 16 point</a:t>
            </a:r>
          </a:p>
          <a:p>
            <a:pPr lvl="2"/>
            <a:r>
              <a:rPr lang="en-US"/>
              <a:t>Third bullet, Roboto Regular 14 point</a:t>
            </a:r>
          </a:p>
        </p:txBody>
      </p:sp>
      <p:sp>
        <p:nvSpPr>
          <p:cNvPr id="12" name="Text Placeholder 2">
            <a:extLst>
              <a:ext uri="{FF2B5EF4-FFF2-40B4-BE49-F238E27FC236}">
                <a16:creationId xmlns:a16="http://schemas.microsoft.com/office/drawing/2014/main" id="{055D64D1-7AD8-4D53-A0ED-118D84E22AE7}"/>
              </a:ext>
            </a:extLst>
          </p:cNvPr>
          <p:cNvSpPr>
            <a:spLocks noGrp="1"/>
          </p:cNvSpPr>
          <p:nvPr userDrawn="1">
            <p:ph type="body" idx="1" hasCustomPrompt="1"/>
          </p:nvPr>
        </p:nvSpPr>
        <p:spPr>
          <a:xfrm>
            <a:off x="1027113" y="4141889"/>
            <a:ext cx="5084770" cy="436563"/>
          </a:xfrm>
          <a:prstGeom prst="rect">
            <a:avLst/>
          </a:prstGeom>
        </p:spPr>
        <p:txBody>
          <a:bodyPr anchor="t"/>
          <a:lstStyle>
            <a:lvl1pPr marL="0" indent="0">
              <a:buNone/>
              <a:defRPr sz="1799" b="1" baseline="0">
                <a:solidFill>
                  <a:schemeClr val="accent5"/>
                </a:solidFill>
                <a:latin typeface="Roboto" panose="02000000000000000000" pitchFamily="2" charset="0"/>
                <a:ea typeface="Roboto" panose="02000000000000000000" pitchFamily="2" charset="0"/>
              </a:defRPr>
            </a:lvl1pPr>
            <a:lvl2pPr marL="456972" indent="0">
              <a:buNone/>
              <a:defRPr sz="1999" b="1"/>
            </a:lvl2pPr>
            <a:lvl3pPr marL="913943" indent="0">
              <a:buNone/>
              <a:defRPr sz="1799" b="1"/>
            </a:lvl3pPr>
            <a:lvl4pPr marL="1370915" indent="0">
              <a:buNone/>
              <a:defRPr sz="1600" b="1"/>
            </a:lvl4pPr>
            <a:lvl5pPr marL="1827885" indent="0">
              <a:buNone/>
              <a:defRPr sz="1600" b="1"/>
            </a:lvl5pPr>
            <a:lvl6pPr marL="2284856" indent="0">
              <a:buNone/>
              <a:defRPr sz="1600" b="1"/>
            </a:lvl6pPr>
            <a:lvl7pPr marL="2741828" indent="0">
              <a:buNone/>
              <a:defRPr sz="1600" b="1"/>
            </a:lvl7pPr>
            <a:lvl8pPr marL="3198800" indent="0">
              <a:buNone/>
              <a:defRPr sz="1600" b="1"/>
            </a:lvl8pPr>
            <a:lvl9pPr marL="3655772" indent="0">
              <a:buNone/>
              <a:defRPr sz="1600" b="1"/>
            </a:lvl9pPr>
          </a:lstStyle>
          <a:p>
            <a:pPr lvl="0"/>
            <a:r>
              <a:rPr lang="en-US"/>
              <a:t>Headline goes here, Roboto 18 point bold</a:t>
            </a:r>
          </a:p>
        </p:txBody>
      </p:sp>
      <p:sp>
        <p:nvSpPr>
          <p:cNvPr id="13" name="Content Placeholder 5">
            <a:extLst>
              <a:ext uri="{FF2B5EF4-FFF2-40B4-BE49-F238E27FC236}">
                <a16:creationId xmlns:a16="http://schemas.microsoft.com/office/drawing/2014/main" id="{82F76E5E-F799-4651-BEAE-F9087B98CD04}"/>
              </a:ext>
            </a:extLst>
          </p:cNvPr>
          <p:cNvSpPr>
            <a:spLocks noGrp="1"/>
          </p:cNvSpPr>
          <p:nvPr userDrawn="1">
            <p:ph sz="quarter" idx="15" hasCustomPrompt="1"/>
          </p:nvPr>
        </p:nvSpPr>
        <p:spPr>
          <a:xfrm>
            <a:off x="6590642" y="4581525"/>
            <a:ext cx="5085971" cy="1438274"/>
          </a:xfrm>
          <a:prstGeom prst="rect">
            <a:avLst/>
          </a:prstGeom>
        </p:spPr>
        <p:txBody>
          <a:bodyPr/>
          <a:lstStyle>
            <a:lvl1pPr>
              <a:spcBef>
                <a:spcPts val="1200"/>
              </a:spcBef>
              <a:defRPr sz="1799" baseline="0">
                <a:latin typeface="Roboto" panose="02000000000000000000" pitchFamily="2" charset="0"/>
                <a:ea typeface="Roboto" panose="02000000000000000000" pitchFamily="2" charset="0"/>
              </a:defRPr>
            </a:lvl1pPr>
            <a:lvl2pPr>
              <a:spcBef>
                <a:spcPts val="600"/>
              </a:spcBef>
              <a:defRPr sz="1600" baseline="0">
                <a:latin typeface="Roboto" panose="02000000000000000000" pitchFamily="2" charset="0"/>
                <a:ea typeface="Roboto" panose="02000000000000000000" pitchFamily="2" charset="0"/>
              </a:defRPr>
            </a:lvl2pPr>
            <a:lvl3pPr>
              <a:spcBef>
                <a:spcPts val="600"/>
              </a:spcBef>
              <a:defRPr sz="1400">
                <a:latin typeface="Roboto" panose="02000000000000000000" pitchFamily="2" charset="0"/>
                <a:ea typeface="Roboto" panose="02000000000000000000" pitchFamily="2" charset="0"/>
              </a:defRPr>
            </a:lvl3pPr>
          </a:lstStyle>
          <a:p>
            <a:pPr lvl="0"/>
            <a:r>
              <a:rPr lang="en-US"/>
              <a:t>First bullet, Roboto Regular 18 point</a:t>
            </a:r>
          </a:p>
          <a:p>
            <a:pPr lvl="1"/>
            <a:r>
              <a:rPr lang="en-US"/>
              <a:t>Second bullet, Roboto Regular 16 point</a:t>
            </a:r>
          </a:p>
          <a:p>
            <a:pPr lvl="2"/>
            <a:r>
              <a:rPr lang="en-US"/>
              <a:t>Third bullet, Roboto Regular 14 point</a:t>
            </a:r>
          </a:p>
        </p:txBody>
      </p:sp>
      <p:sp>
        <p:nvSpPr>
          <p:cNvPr id="14" name="Text Placeholder 2">
            <a:extLst>
              <a:ext uri="{FF2B5EF4-FFF2-40B4-BE49-F238E27FC236}">
                <a16:creationId xmlns:a16="http://schemas.microsoft.com/office/drawing/2014/main" id="{B715CEF1-A7FF-4442-88D8-7F20DA48ADC7}"/>
              </a:ext>
            </a:extLst>
          </p:cNvPr>
          <p:cNvSpPr>
            <a:spLocks noGrp="1"/>
          </p:cNvSpPr>
          <p:nvPr userDrawn="1">
            <p:ph type="body" idx="16" hasCustomPrompt="1"/>
          </p:nvPr>
        </p:nvSpPr>
        <p:spPr>
          <a:xfrm>
            <a:off x="6586607" y="4132264"/>
            <a:ext cx="5097010" cy="436563"/>
          </a:xfrm>
          <a:prstGeom prst="rect">
            <a:avLst/>
          </a:prstGeom>
        </p:spPr>
        <p:txBody>
          <a:bodyPr anchor="t"/>
          <a:lstStyle>
            <a:lvl1pPr marL="0" indent="0">
              <a:buNone/>
              <a:defRPr sz="1799" b="1" baseline="0">
                <a:solidFill>
                  <a:schemeClr val="accent5"/>
                </a:solidFill>
                <a:latin typeface="Roboto" panose="02000000000000000000" pitchFamily="2" charset="0"/>
                <a:ea typeface="Roboto" panose="02000000000000000000" pitchFamily="2" charset="0"/>
              </a:defRPr>
            </a:lvl1pPr>
            <a:lvl2pPr marL="456972" indent="0">
              <a:buNone/>
              <a:defRPr sz="1999" b="1"/>
            </a:lvl2pPr>
            <a:lvl3pPr marL="913943" indent="0">
              <a:buNone/>
              <a:defRPr sz="1799" b="1"/>
            </a:lvl3pPr>
            <a:lvl4pPr marL="1370915" indent="0">
              <a:buNone/>
              <a:defRPr sz="1600" b="1"/>
            </a:lvl4pPr>
            <a:lvl5pPr marL="1827885" indent="0">
              <a:buNone/>
              <a:defRPr sz="1600" b="1"/>
            </a:lvl5pPr>
            <a:lvl6pPr marL="2284856" indent="0">
              <a:buNone/>
              <a:defRPr sz="1600" b="1"/>
            </a:lvl6pPr>
            <a:lvl7pPr marL="2741828" indent="0">
              <a:buNone/>
              <a:defRPr sz="1600" b="1"/>
            </a:lvl7pPr>
            <a:lvl8pPr marL="3198800" indent="0">
              <a:buNone/>
              <a:defRPr sz="1600" b="1"/>
            </a:lvl8pPr>
            <a:lvl9pPr marL="3655772" indent="0">
              <a:buNone/>
              <a:defRPr sz="1600" b="1"/>
            </a:lvl9pPr>
          </a:lstStyle>
          <a:p>
            <a:pPr lvl="0"/>
            <a:r>
              <a:rPr lang="en-US"/>
              <a:t>Headline goes here, Roboto 18 point bold</a:t>
            </a:r>
          </a:p>
        </p:txBody>
      </p:sp>
      <p:sp>
        <p:nvSpPr>
          <p:cNvPr id="15" name="Picture Placeholder 6">
            <a:extLst>
              <a:ext uri="{FF2B5EF4-FFF2-40B4-BE49-F238E27FC236}">
                <a16:creationId xmlns:a16="http://schemas.microsoft.com/office/drawing/2014/main" id="{46B0C8DB-1D41-4ABF-896D-80CF7EFD97FD}"/>
              </a:ext>
            </a:extLst>
          </p:cNvPr>
          <p:cNvSpPr>
            <a:spLocks noGrp="1"/>
          </p:cNvSpPr>
          <p:nvPr userDrawn="1">
            <p:ph type="pic" sz="quarter" idx="17" hasCustomPrompt="1"/>
          </p:nvPr>
        </p:nvSpPr>
        <p:spPr>
          <a:xfrm>
            <a:off x="1027113" y="1854200"/>
            <a:ext cx="4761212" cy="2088072"/>
          </a:xfrm>
          <a:prstGeom prst="rect">
            <a:avLst/>
          </a:prstGeom>
          <a:solidFill>
            <a:schemeClr val="bg1">
              <a:lumMod val="95000"/>
            </a:schemeClr>
          </a:solidFill>
        </p:spPr>
        <p:txBody>
          <a:bodyPr anchor="ctr"/>
          <a:lstStyle>
            <a:lvl1pPr marL="0" indent="0" algn="ctr">
              <a:buNone/>
              <a:defRPr>
                <a:latin typeface="Roboto" panose="02000000000000000000" pitchFamily="2" charset="0"/>
                <a:ea typeface="Roboto" panose="02000000000000000000" pitchFamily="2" charset="0"/>
              </a:defRPr>
            </a:lvl1pPr>
          </a:lstStyle>
          <a:p>
            <a:r>
              <a:rPr lang="en-US"/>
              <a:t>CLICK TO INSERT IMAGE</a:t>
            </a:r>
          </a:p>
        </p:txBody>
      </p:sp>
      <p:sp>
        <p:nvSpPr>
          <p:cNvPr id="19" name="Picture Placeholder 6">
            <a:extLst>
              <a:ext uri="{FF2B5EF4-FFF2-40B4-BE49-F238E27FC236}">
                <a16:creationId xmlns:a16="http://schemas.microsoft.com/office/drawing/2014/main" id="{50C5E539-EA0F-43C9-94FB-2E4FECAC8DD1}"/>
              </a:ext>
            </a:extLst>
          </p:cNvPr>
          <p:cNvSpPr>
            <a:spLocks noGrp="1"/>
          </p:cNvSpPr>
          <p:nvPr userDrawn="1">
            <p:ph type="pic" sz="quarter" idx="18" hasCustomPrompt="1"/>
          </p:nvPr>
        </p:nvSpPr>
        <p:spPr>
          <a:xfrm>
            <a:off x="6586607" y="1854200"/>
            <a:ext cx="4766550" cy="2088072"/>
          </a:xfrm>
          <a:prstGeom prst="rect">
            <a:avLst/>
          </a:prstGeom>
          <a:solidFill>
            <a:schemeClr val="bg1">
              <a:lumMod val="95000"/>
            </a:schemeClr>
          </a:solidFill>
        </p:spPr>
        <p:txBody>
          <a:bodyPr anchor="ctr"/>
          <a:lstStyle>
            <a:lvl1pPr marL="0" indent="0" algn="ctr">
              <a:buNone/>
              <a:defRPr>
                <a:latin typeface="Roboto" panose="02000000000000000000" pitchFamily="2" charset="0"/>
                <a:ea typeface="Roboto" panose="02000000000000000000" pitchFamily="2" charset="0"/>
              </a:defRPr>
            </a:lvl1pPr>
          </a:lstStyle>
          <a:p>
            <a:r>
              <a:rPr lang="en-US"/>
              <a:t>CLICK TO INSERT IMAGE</a:t>
            </a:r>
          </a:p>
        </p:txBody>
      </p:sp>
      <p:sp>
        <p:nvSpPr>
          <p:cNvPr id="3" name="TextBox 2">
            <a:extLst>
              <a:ext uri="{FF2B5EF4-FFF2-40B4-BE49-F238E27FC236}">
                <a16:creationId xmlns:a16="http://schemas.microsoft.com/office/drawing/2014/main" id="{7B478BEA-4903-4298-BEE0-9D44347BD4FE}"/>
              </a:ext>
            </a:extLst>
          </p:cNvPr>
          <p:cNvSpPr txBox="1"/>
          <p:nvPr userDrawn="1"/>
        </p:nvSpPr>
        <p:spPr>
          <a:xfrm>
            <a:off x="1023709"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a:solidFill>
                  <a:schemeClr val="tx1">
                    <a:lumMod val="60000"/>
                    <a:lumOff val="40000"/>
                  </a:schemeClr>
                </a:solidFill>
                <a:latin typeface="Roboto" panose="02000000000000000000" pitchFamily="2" charset="0"/>
                <a:ea typeface="Roboto" panose="02000000000000000000" pitchFamily="2" charset="0"/>
                <a:cs typeface="Roboto" charset="0"/>
              </a:rPr>
              <a:t>© Informatica. Proprietary and Confidential.</a:t>
            </a:r>
          </a:p>
        </p:txBody>
      </p:sp>
      <p:pic>
        <p:nvPicPr>
          <p:cNvPr id="16" name="Picture 15">
            <a:extLst>
              <a:ext uri="{FF2B5EF4-FFF2-40B4-BE49-F238E27FC236}">
                <a16:creationId xmlns:a16="http://schemas.microsoft.com/office/drawing/2014/main" id="{3D50B40B-C569-8D4D-BEC0-84E7834A2025}"/>
              </a:ext>
            </a:extLst>
          </p:cNvPr>
          <p:cNvPicPr>
            <a:picLocks noChangeAspect="1"/>
          </p:cNvPicPr>
          <p:nvPr userDrawn="1"/>
        </p:nvPicPr>
        <p:blipFill>
          <a:blip r:embed="rId2"/>
          <a:srcRect/>
          <a:stretch/>
        </p:blipFill>
        <p:spPr>
          <a:xfrm>
            <a:off x="9744604" y="6098796"/>
            <a:ext cx="2039100" cy="699990"/>
          </a:xfrm>
          <a:prstGeom prst="rect">
            <a:avLst/>
          </a:prstGeom>
        </p:spPr>
      </p:pic>
      <p:sp>
        <p:nvSpPr>
          <p:cNvPr id="21" name="Right Triangle 20">
            <a:extLst>
              <a:ext uri="{FF2B5EF4-FFF2-40B4-BE49-F238E27FC236}">
                <a16:creationId xmlns:a16="http://schemas.microsoft.com/office/drawing/2014/main" id="{4B560B0C-14A6-974F-8FD7-75A3B143A667}"/>
              </a:ext>
            </a:extLst>
          </p:cNvPr>
          <p:cNvSpPr/>
          <p:nvPr userDrawn="1"/>
        </p:nvSpPr>
        <p:spPr>
          <a:xfrm>
            <a:off x="1" y="2761950"/>
            <a:ext cx="590764" cy="4096050"/>
          </a:xfrm>
          <a:prstGeom prst="rtTriangle">
            <a:avLst/>
          </a:prstGeom>
          <a:gradFill>
            <a:gsLst>
              <a:gs pos="0">
                <a:schemeClr val="accent2"/>
              </a:gs>
              <a:gs pos="76000">
                <a:srgbClr val="FF6500"/>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7124" tIns="91416" rIns="137124" bIns="91416" rtlCol="0" anchor="ctr">
            <a:noAutofit/>
          </a:bodyPr>
          <a:lstStyle/>
          <a:p>
            <a:pPr lvl="0"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55" name="TextBox 54">
            <a:extLst>
              <a:ext uri="{FF2B5EF4-FFF2-40B4-BE49-F238E27FC236}">
                <a16:creationId xmlns:a16="http://schemas.microsoft.com/office/drawing/2014/main" id="{4E04ED03-EA9F-4368-A83A-01E9195C1AF3}"/>
              </a:ext>
            </a:extLst>
          </p:cNvPr>
          <p:cNvSpPr txBox="1"/>
          <p:nvPr userDrawn="1"/>
        </p:nvSpPr>
        <p:spPr>
          <a:xfrm>
            <a:off x="176868" y="6365108"/>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063" rtl="0" eaLnBrk="1" latinLnBrk="0" hangingPunct="1"/>
            <a:fld id="{64202F7F-356F-46E2-8791-88745C87F5D9}" type="slidenum">
              <a:rPr lang="en-US" sz="900" b="0" i="0" kern="1200" smtClean="0">
                <a:solidFill>
                  <a:schemeClr val="bg1"/>
                </a:solidFill>
                <a:latin typeface="Roboto" panose="02000000000000000000" pitchFamily="2" charset="0"/>
                <a:ea typeface="Roboto" panose="02000000000000000000" pitchFamily="2" charset="0"/>
                <a:cs typeface="Roboto" charset="0"/>
              </a:rPr>
              <a:pPr marL="0" lvl="0" algn="ctr" defTabSz="457063" rtl="0" eaLnBrk="1" latinLnBrk="0" hangingPunct="1"/>
              <a:t>‹#›</a:t>
            </a:fld>
            <a:endParaRPr lang="en-US" sz="900" b="0" i="0" kern="1200">
              <a:solidFill>
                <a:schemeClr val="bg1"/>
              </a:solidFill>
              <a:latin typeface="Roboto" panose="02000000000000000000" pitchFamily="2" charset="0"/>
              <a:ea typeface="Roboto" panose="02000000000000000000" pitchFamily="2" charset="0"/>
              <a:cs typeface="Roboto" charset="0"/>
            </a:endParaRPr>
          </a:p>
        </p:txBody>
      </p:sp>
      <p:sp>
        <p:nvSpPr>
          <p:cNvPr id="17" name="Text Placeholder 4">
            <a:extLst>
              <a:ext uri="{FF2B5EF4-FFF2-40B4-BE49-F238E27FC236}">
                <a16:creationId xmlns:a16="http://schemas.microsoft.com/office/drawing/2014/main" id="{8F6DE6A5-2F5D-CD46-9798-B2F810D809C9}"/>
              </a:ext>
            </a:extLst>
          </p:cNvPr>
          <p:cNvSpPr>
            <a:spLocks noGrp="1"/>
          </p:cNvSpPr>
          <p:nvPr>
            <p:ph type="body" sz="quarter" idx="13" hasCustomPrompt="1"/>
          </p:nvPr>
        </p:nvSpPr>
        <p:spPr>
          <a:xfrm>
            <a:off x="493714" y="1058901"/>
            <a:ext cx="11188532" cy="331601"/>
          </a:xfrm>
          <a:prstGeom prst="rect">
            <a:avLst/>
          </a:prstGeom>
        </p:spPr>
        <p:txBody>
          <a:bodyPr lIns="0" anchor="t"/>
          <a:lstStyle>
            <a:lvl1pPr marL="0" indent="0">
              <a:buNone/>
              <a:defRPr sz="2399" i="0">
                <a:solidFill>
                  <a:schemeClr val="bg1"/>
                </a:solidFill>
                <a:latin typeface="Roboto" panose="02000000000000000000" pitchFamily="2" charset="0"/>
                <a:ea typeface="Roboto" panose="02000000000000000000" pitchFamily="2" charset="0"/>
              </a:defRPr>
            </a:lvl1pPr>
            <a:lvl2pPr marL="169812" indent="0">
              <a:buNone/>
              <a:defRPr/>
            </a:lvl2pPr>
            <a:lvl3pPr marL="344384" indent="0">
              <a:buNone/>
              <a:defRPr/>
            </a:lvl3pPr>
            <a:lvl4pPr marL="458650" indent="0">
              <a:buNone/>
              <a:defRPr/>
            </a:lvl4pPr>
            <a:lvl5pPr marL="630048" indent="0">
              <a:buNone/>
              <a:defRPr/>
            </a:lvl5pPr>
          </a:lstStyle>
          <a:p>
            <a:pPr lvl="0"/>
            <a:r>
              <a:rPr lang="en-US"/>
              <a:t>Subtitle goes here, </a:t>
            </a:r>
            <a:r>
              <a:rPr lang="en-US" err="1"/>
              <a:t>Roboto</a:t>
            </a:r>
            <a:r>
              <a:rPr lang="en-US"/>
              <a:t> Regular 24 point, no longer than one line</a:t>
            </a:r>
          </a:p>
        </p:txBody>
      </p:sp>
    </p:spTree>
    <p:extLst>
      <p:ext uri="{BB962C8B-B14F-4D97-AF65-F5344CB8AC3E}">
        <p14:creationId xmlns:p14="http://schemas.microsoft.com/office/powerpoint/2010/main" val="1947747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Subtitle/Images/Headlines &amp; 3-">
    <p:spTree>
      <p:nvGrpSpPr>
        <p:cNvPr id="1" name=""/>
        <p:cNvGrpSpPr/>
        <p:nvPr/>
      </p:nvGrpSpPr>
      <p:grpSpPr>
        <a:xfrm>
          <a:off x="0" y="0"/>
          <a:ext cx="0" cy="0"/>
          <a:chOff x="0" y="0"/>
          <a:chExt cx="0" cy="0"/>
        </a:xfrm>
      </p:grpSpPr>
      <p:sp>
        <p:nvSpPr>
          <p:cNvPr id="22" name="Right Triangle 21">
            <a:extLst>
              <a:ext uri="{FF2B5EF4-FFF2-40B4-BE49-F238E27FC236}">
                <a16:creationId xmlns:a16="http://schemas.microsoft.com/office/drawing/2014/main" id="{9664620C-A7FA-8E49-A232-54609A100327}"/>
              </a:ext>
            </a:extLst>
          </p:cNvPr>
          <p:cNvSpPr/>
          <p:nvPr userDrawn="1"/>
        </p:nvSpPr>
        <p:spPr>
          <a:xfrm>
            <a:off x="0" y="2761950"/>
            <a:ext cx="702453" cy="4096050"/>
          </a:xfrm>
          <a:prstGeom prst="r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37124" tIns="91416" rIns="137124" bIns="91416" rtlCol="0" anchor="ct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11" name="Content Placeholder 5">
            <a:extLst>
              <a:ext uri="{FF2B5EF4-FFF2-40B4-BE49-F238E27FC236}">
                <a16:creationId xmlns:a16="http://schemas.microsoft.com/office/drawing/2014/main" id="{956D1FDC-5FA5-4B2D-A5AA-86637FA3B976}"/>
              </a:ext>
            </a:extLst>
          </p:cNvPr>
          <p:cNvSpPr>
            <a:spLocks noGrp="1"/>
          </p:cNvSpPr>
          <p:nvPr userDrawn="1">
            <p:ph sz="quarter" idx="14" hasCustomPrompt="1"/>
          </p:nvPr>
        </p:nvSpPr>
        <p:spPr>
          <a:xfrm>
            <a:off x="1031594" y="4259046"/>
            <a:ext cx="3318413" cy="1450975"/>
          </a:xfrm>
          <a:prstGeom prst="rect">
            <a:avLst/>
          </a:prstGeom>
        </p:spPr>
        <p:txBody>
          <a:bodyPr/>
          <a:lstStyle>
            <a:lvl1pPr>
              <a:spcBef>
                <a:spcPts val="600"/>
              </a:spcBef>
              <a:defRPr sz="1600" baseline="0">
                <a:latin typeface="Roboto" panose="02000000000000000000" pitchFamily="2" charset="0"/>
                <a:ea typeface="Roboto" panose="02000000000000000000" pitchFamily="2" charset="0"/>
              </a:defRPr>
            </a:lvl1pPr>
            <a:lvl2pPr>
              <a:spcBef>
                <a:spcPts val="600"/>
              </a:spcBef>
              <a:defRPr sz="1400" baseline="0">
                <a:latin typeface="Roboto" panose="02000000000000000000" pitchFamily="2" charset="0"/>
                <a:ea typeface="Roboto" panose="02000000000000000000" pitchFamily="2" charset="0"/>
              </a:defRPr>
            </a:lvl2pPr>
            <a:lvl3pPr>
              <a:spcBef>
                <a:spcPts val="600"/>
              </a:spcBef>
              <a:defRPr sz="1200">
                <a:latin typeface="Roboto" panose="02000000000000000000" pitchFamily="2" charset="0"/>
                <a:ea typeface="Roboto" panose="02000000000000000000" pitchFamily="2" charset="0"/>
              </a:defRPr>
            </a:lvl3pPr>
          </a:lstStyle>
          <a:p>
            <a:pPr lvl="0"/>
            <a:r>
              <a:rPr lang="en-US"/>
              <a:t>First bullet, Roboto Regular </a:t>
            </a:r>
          </a:p>
          <a:p>
            <a:pPr lvl="1"/>
            <a:r>
              <a:rPr lang="en-US"/>
              <a:t>Second bullet, Roboto Regular</a:t>
            </a:r>
          </a:p>
          <a:p>
            <a:pPr lvl="2"/>
            <a:r>
              <a:rPr lang="en-US"/>
              <a:t>Third bullet, Roboto Regular</a:t>
            </a:r>
          </a:p>
        </p:txBody>
      </p:sp>
      <p:sp>
        <p:nvSpPr>
          <p:cNvPr id="12" name="Text Placeholder 2">
            <a:extLst>
              <a:ext uri="{FF2B5EF4-FFF2-40B4-BE49-F238E27FC236}">
                <a16:creationId xmlns:a16="http://schemas.microsoft.com/office/drawing/2014/main" id="{055D64D1-7AD8-4D53-A0ED-118D84E22AE7}"/>
              </a:ext>
            </a:extLst>
          </p:cNvPr>
          <p:cNvSpPr>
            <a:spLocks noGrp="1"/>
          </p:cNvSpPr>
          <p:nvPr userDrawn="1">
            <p:ph type="body" idx="1" hasCustomPrompt="1"/>
          </p:nvPr>
        </p:nvSpPr>
        <p:spPr>
          <a:xfrm>
            <a:off x="1038840" y="3822483"/>
            <a:ext cx="3318413" cy="436563"/>
          </a:xfrm>
          <a:prstGeom prst="rect">
            <a:avLst/>
          </a:prstGeom>
        </p:spPr>
        <p:txBody>
          <a:bodyPr anchor="t"/>
          <a:lstStyle>
            <a:lvl1pPr marL="0" indent="0">
              <a:buNone/>
              <a:defRPr sz="1600" b="1" baseline="0">
                <a:solidFill>
                  <a:schemeClr val="accent5"/>
                </a:solidFill>
                <a:latin typeface="Roboto" panose="02000000000000000000" pitchFamily="2" charset="0"/>
                <a:ea typeface="Roboto" panose="02000000000000000000" pitchFamily="2" charset="0"/>
              </a:defRPr>
            </a:lvl1pPr>
            <a:lvl2pPr marL="456972" indent="0">
              <a:buNone/>
              <a:defRPr sz="1999" b="1"/>
            </a:lvl2pPr>
            <a:lvl3pPr marL="913943" indent="0">
              <a:buNone/>
              <a:defRPr sz="1799" b="1"/>
            </a:lvl3pPr>
            <a:lvl4pPr marL="1370915" indent="0">
              <a:buNone/>
              <a:defRPr sz="1600" b="1"/>
            </a:lvl4pPr>
            <a:lvl5pPr marL="1827885" indent="0">
              <a:buNone/>
              <a:defRPr sz="1600" b="1"/>
            </a:lvl5pPr>
            <a:lvl6pPr marL="2284856" indent="0">
              <a:buNone/>
              <a:defRPr sz="1600" b="1"/>
            </a:lvl6pPr>
            <a:lvl7pPr marL="2741828" indent="0">
              <a:buNone/>
              <a:defRPr sz="1600" b="1"/>
            </a:lvl7pPr>
            <a:lvl8pPr marL="3198800" indent="0">
              <a:buNone/>
              <a:defRPr sz="1600" b="1"/>
            </a:lvl8pPr>
            <a:lvl9pPr marL="3655772" indent="0">
              <a:buNone/>
              <a:defRPr sz="1600" b="1"/>
            </a:lvl9pPr>
          </a:lstStyle>
          <a:p>
            <a:pPr lvl="0"/>
            <a:r>
              <a:rPr lang="en-US"/>
              <a:t>Headline goes here</a:t>
            </a:r>
          </a:p>
        </p:txBody>
      </p:sp>
      <p:sp>
        <p:nvSpPr>
          <p:cNvPr id="15" name="Content Placeholder 5">
            <a:extLst>
              <a:ext uri="{FF2B5EF4-FFF2-40B4-BE49-F238E27FC236}">
                <a16:creationId xmlns:a16="http://schemas.microsoft.com/office/drawing/2014/main" id="{26C68CC7-FCFB-4E97-8E67-90A77CBE7883}"/>
              </a:ext>
            </a:extLst>
          </p:cNvPr>
          <p:cNvSpPr>
            <a:spLocks noGrp="1"/>
          </p:cNvSpPr>
          <p:nvPr userDrawn="1">
            <p:ph sz="quarter" idx="15" hasCustomPrompt="1"/>
          </p:nvPr>
        </p:nvSpPr>
        <p:spPr>
          <a:xfrm>
            <a:off x="4694928" y="4259046"/>
            <a:ext cx="3318413" cy="1450975"/>
          </a:xfrm>
          <a:prstGeom prst="rect">
            <a:avLst/>
          </a:prstGeom>
        </p:spPr>
        <p:txBody>
          <a:bodyPr/>
          <a:lstStyle>
            <a:lvl1pPr>
              <a:spcBef>
                <a:spcPts val="600"/>
              </a:spcBef>
              <a:defRPr sz="1600" baseline="0">
                <a:latin typeface="Roboto" panose="02000000000000000000" pitchFamily="2" charset="0"/>
                <a:ea typeface="Roboto" panose="02000000000000000000" pitchFamily="2" charset="0"/>
              </a:defRPr>
            </a:lvl1pPr>
            <a:lvl2pPr>
              <a:spcBef>
                <a:spcPts val="600"/>
              </a:spcBef>
              <a:defRPr sz="1400" baseline="0">
                <a:latin typeface="Roboto" panose="02000000000000000000" pitchFamily="2" charset="0"/>
                <a:ea typeface="Roboto" panose="02000000000000000000" pitchFamily="2" charset="0"/>
              </a:defRPr>
            </a:lvl2pPr>
            <a:lvl3pPr>
              <a:spcBef>
                <a:spcPts val="600"/>
              </a:spcBef>
              <a:defRPr sz="1200">
                <a:latin typeface="Roboto" panose="02000000000000000000" pitchFamily="2" charset="0"/>
                <a:ea typeface="Roboto" panose="02000000000000000000" pitchFamily="2" charset="0"/>
              </a:defRPr>
            </a:lvl3pPr>
          </a:lstStyle>
          <a:p>
            <a:pPr lvl="0"/>
            <a:r>
              <a:rPr lang="en-US"/>
              <a:t>First bullet, Roboto Regular </a:t>
            </a:r>
          </a:p>
          <a:p>
            <a:pPr lvl="1"/>
            <a:r>
              <a:rPr lang="en-US"/>
              <a:t>Second bullet, Roboto Regular</a:t>
            </a:r>
          </a:p>
          <a:p>
            <a:pPr lvl="2"/>
            <a:r>
              <a:rPr lang="en-US"/>
              <a:t>Third bullet, Roboto Regular</a:t>
            </a:r>
          </a:p>
        </p:txBody>
      </p:sp>
      <p:sp>
        <p:nvSpPr>
          <p:cNvPr id="19" name="Text Placeholder 2">
            <a:extLst>
              <a:ext uri="{FF2B5EF4-FFF2-40B4-BE49-F238E27FC236}">
                <a16:creationId xmlns:a16="http://schemas.microsoft.com/office/drawing/2014/main" id="{F89E3C59-0A83-46CB-AFF1-091BB74D0EA9}"/>
              </a:ext>
            </a:extLst>
          </p:cNvPr>
          <p:cNvSpPr>
            <a:spLocks noGrp="1"/>
          </p:cNvSpPr>
          <p:nvPr userDrawn="1">
            <p:ph type="body" idx="16" hasCustomPrompt="1"/>
          </p:nvPr>
        </p:nvSpPr>
        <p:spPr>
          <a:xfrm>
            <a:off x="4702174" y="3822483"/>
            <a:ext cx="3318413" cy="436563"/>
          </a:xfrm>
          <a:prstGeom prst="rect">
            <a:avLst/>
          </a:prstGeom>
        </p:spPr>
        <p:txBody>
          <a:bodyPr anchor="t"/>
          <a:lstStyle>
            <a:lvl1pPr marL="0" indent="0">
              <a:buNone/>
              <a:defRPr sz="1600" b="1" baseline="0">
                <a:solidFill>
                  <a:schemeClr val="accent5"/>
                </a:solidFill>
                <a:latin typeface="Roboto" panose="02000000000000000000" pitchFamily="2" charset="0"/>
                <a:ea typeface="Roboto" panose="02000000000000000000" pitchFamily="2" charset="0"/>
              </a:defRPr>
            </a:lvl1pPr>
            <a:lvl2pPr marL="456972" indent="0">
              <a:buNone/>
              <a:defRPr sz="1999" b="1"/>
            </a:lvl2pPr>
            <a:lvl3pPr marL="913943" indent="0">
              <a:buNone/>
              <a:defRPr sz="1799" b="1"/>
            </a:lvl3pPr>
            <a:lvl4pPr marL="1370915" indent="0">
              <a:buNone/>
              <a:defRPr sz="1600" b="1"/>
            </a:lvl4pPr>
            <a:lvl5pPr marL="1827885" indent="0">
              <a:buNone/>
              <a:defRPr sz="1600" b="1"/>
            </a:lvl5pPr>
            <a:lvl6pPr marL="2284856" indent="0">
              <a:buNone/>
              <a:defRPr sz="1600" b="1"/>
            </a:lvl6pPr>
            <a:lvl7pPr marL="2741828" indent="0">
              <a:buNone/>
              <a:defRPr sz="1600" b="1"/>
            </a:lvl7pPr>
            <a:lvl8pPr marL="3198800" indent="0">
              <a:buNone/>
              <a:defRPr sz="1600" b="1"/>
            </a:lvl8pPr>
            <a:lvl9pPr marL="3655772" indent="0">
              <a:buNone/>
              <a:defRPr sz="1600" b="1"/>
            </a:lvl9pPr>
          </a:lstStyle>
          <a:p>
            <a:pPr lvl="0"/>
            <a:r>
              <a:rPr lang="en-US"/>
              <a:t>Headline goes here</a:t>
            </a:r>
          </a:p>
        </p:txBody>
      </p:sp>
      <p:sp>
        <p:nvSpPr>
          <p:cNvPr id="20" name="Content Placeholder 5">
            <a:extLst>
              <a:ext uri="{FF2B5EF4-FFF2-40B4-BE49-F238E27FC236}">
                <a16:creationId xmlns:a16="http://schemas.microsoft.com/office/drawing/2014/main" id="{962B4E02-4383-440D-AB49-C9B1E385046F}"/>
              </a:ext>
            </a:extLst>
          </p:cNvPr>
          <p:cNvSpPr>
            <a:spLocks noGrp="1"/>
          </p:cNvSpPr>
          <p:nvPr userDrawn="1">
            <p:ph sz="quarter" idx="17" hasCustomPrompt="1"/>
          </p:nvPr>
        </p:nvSpPr>
        <p:spPr>
          <a:xfrm>
            <a:off x="8359051" y="4259046"/>
            <a:ext cx="3318413" cy="1450975"/>
          </a:xfrm>
          <a:prstGeom prst="rect">
            <a:avLst/>
          </a:prstGeom>
        </p:spPr>
        <p:txBody>
          <a:bodyPr/>
          <a:lstStyle>
            <a:lvl1pPr>
              <a:spcBef>
                <a:spcPts val="600"/>
              </a:spcBef>
              <a:defRPr sz="1600" baseline="0">
                <a:latin typeface="Roboto" panose="02000000000000000000" pitchFamily="2" charset="0"/>
                <a:ea typeface="Roboto" panose="02000000000000000000" pitchFamily="2" charset="0"/>
              </a:defRPr>
            </a:lvl1pPr>
            <a:lvl2pPr>
              <a:spcBef>
                <a:spcPts val="600"/>
              </a:spcBef>
              <a:defRPr sz="1400" baseline="0">
                <a:latin typeface="Roboto" panose="02000000000000000000" pitchFamily="2" charset="0"/>
                <a:ea typeface="Roboto" panose="02000000000000000000" pitchFamily="2" charset="0"/>
              </a:defRPr>
            </a:lvl2pPr>
            <a:lvl3pPr>
              <a:spcBef>
                <a:spcPts val="600"/>
              </a:spcBef>
              <a:defRPr sz="1200">
                <a:latin typeface="Roboto" panose="02000000000000000000" pitchFamily="2" charset="0"/>
                <a:ea typeface="Roboto" panose="02000000000000000000" pitchFamily="2" charset="0"/>
              </a:defRPr>
            </a:lvl3pPr>
          </a:lstStyle>
          <a:p>
            <a:pPr lvl="0"/>
            <a:r>
              <a:rPr lang="en-US"/>
              <a:t>First bullet, Roboto Regular </a:t>
            </a:r>
          </a:p>
          <a:p>
            <a:pPr lvl="1"/>
            <a:r>
              <a:rPr lang="en-US"/>
              <a:t>Second bullet, Roboto Regular</a:t>
            </a:r>
          </a:p>
          <a:p>
            <a:pPr lvl="2"/>
            <a:r>
              <a:rPr lang="en-US"/>
              <a:t>Third bullet, Roboto Regular</a:t>
            </a:r>
          </a:p>
        </p:txBody>
      </p:sp>
      <p:sp>
        <p:nvSpPr>
          <p:cNvPr id="21" name="Text Placeholder 2">
            <a:extLst>
              <a:ext uri="{FF2B5EF4-FFF2-40B4-BE49-F238E27FC236}">
                <a16:creationId xmlns:a16="http://schemas.microsoft.com/office/drawing/2014/main" id="{50F3AD2F-D27D-4DC6-8CE0-ACED6D2AD57D}"/>
              </a:ext>
            </a:extLst>
          </p:cNvPr>
          <p:cNvSpPr>
            <a:spLocks noGrp="1"/>
          </p:cNvSpPr>
          <p:nvPr userDrawn="1">
            <p:ph type="body" idx="18" hasCustomPrompt="1"/>
          </p:nvPr>
        </p:nvSpPr>
        <p:spPr>
          <a:xfrm>
            <a:off x="8366297" y="3822483"/>
            <a:ext cx="3318413" cy="436563"/>
          </a:xfrm>
          <a:prstGeom prst="rect">
            <a:avLst/>
          </a:prstGeom>
        </p:spPr>
        <p:txBody>
          <a:bodyPr anchor="t"/>
          <a:lstStyle>
            <a:lvl1pPr marL="0" indent="0">
              <a:buNone/>
              <a:defRPr sz="1600" b="1" baseline="0">
                <a:solidFill>
                  <a:schemeClr val="accent5"/>
                </a:solidFill>
                <a:latin typeface="Roboto" panose="02000000000000000000" pitchFamily="2" charset="0"/>
                <a:ea typeface="Roboto" panose="02000000000000000000" pitchFamily="2" charset="0"/>
              </a:defRPr>
            </a:lvl1pPr>
            <a:lvl2pPr marL="456972" indent="0">
              <a:buNone/>
              <a:defRPr sz="1999" b="1"/>
            </a:lvl2pPr>
            <a:lvl3pPr marL="913943" indent="0">
              <a:buNone/>
              <a:defRPr sz="1799" b="1"/>
            </a:lvl3pPr>
            <a:lvl4pPr marL="1370915" indent="0">
              <a:buNone/>
              <a:defRPr sz="1600" b="1"/>
            </a:lvl4pPr>
            <a:lvl5pPr marL="1827885" indent="0">
              <a:buNone/>
              <a:defRPr sz="1600" b="1"/>
            </a:lvl5pPr>
            <a:lvl6pPr marL="2284856" indent="0">
              <a:buNone/>
              <a:defRPr sz="1600" b="1"/>
            </a:lvl6pPr>
            <a:lvl7pPr marL="2741828" indent="0">
              <a:buNone/>
              <a:defRPr sz="1600" b="1"/>
            </a:lvl7pPr>
            <a:lvl8pPr marL="3198800" indent="0">
              <a:buNone/>
              <a:defRPr sz="1600" b="1"/>
            </a:lvl8pPr>
            <a:lvl9pPr marL="3655772" indent="0">
              <a:buNone/>
              <a:defRPr sz="1600" b="1"/>
            </a:lvl9pPr>
          </a:lstStyle>
          <a:p>
            <a:pPr lvl="0"/>
            <a:r>
              <a:rPr lang="en-US"/>
              <a:t>Headline goes here</a:t>
            </a:r>
          </a:p>
        </p:txBody>
      </p:sp>
      <p:sp>
        <p:nvSpPr>
          <p:cNvPr id="25" name="Picture Placeholder 6">
            <a:extLst>
              <a:ext uri="{FF2B5EF4-FFF2-40B4-BE49-F238E27FC236}">
                <a16:creationId xmlns:a16="http://schemas.microsoft.com/office/drawing/2014/main" id="{B7EFA5D9-9640-46A8-B02E-1BABCFCA2A19}"/>
              </a:ext>
            </a:extLst>
          </p:cNvPr>
          <p:cNvSpPr>
            <a:spLocks noGrp="1"/>
          </p:cNvSpPr>
          <p:nvPr userDrawn="1">
            <p:ph type="pic" sz="quarter" idx="22" hasCustomPrompt="1"/>
          </p:nvPr>
        </p:nvSpPr>
        <p:spPr>
          <a:xfrm>
            <a:off x="1037005" y="1854200"/>
            <a:ext cx="3170725" cy="1574800"/>
          </a:xfrm>
          <a:prstGeom prst="rect">
            <a:avLst/>
          </a:prstGeom>
          <a:solidFill>
            <a:schemeClr val="bg1">
              <a:lumMod val="95000"/>
            </a:schemeClr>
          </a:solidFill>
        </p:spPr>
        <p:txBody>
          <a:bodyPr anchor="ctr"/>
          <a:lstStyle>
            <a:lvl1pPr marL="0" indent="0" algn="ctr">
              <a:buNone/>
              <a:defRPr>
                <a:latin typeface="Roboto" panose="02000000000000000000" pitchFamily="2" charset="0"/>
                <a:ea typeface="Roboto" panose="02000000000000000000" pitchFamily="2" charset="0"/>
              </a:defRPr>
            </a:lvl1pPr>
          </a:lstStyle>
          <a:p>
            <a:r>
              <a:rPr lang="en-US"/>
              <a:t>CLICK TO INSERT IMAGE</a:t>
            </a:r>
          </a:p>
        </p:txBody>
      </p:sp>
      <p:sp>
        <p:nvSpPr>
          <p:cNvPr id="26" name="Picture Placeholder 6">
            <a:extLst>
              <a:ext uri="{FF2B5EF4-FFF2-40B4-BE49-F238E27FC236}">
                <a16:creationId xmlns:a16="http://schemas.microsoft.com/office/drawing/2014/main" id="{5DED8B93-C657-4EC0-BDB2-5286BECAB876}"/>
              </a:ext>
            </a:extLst>
          </p:cNvPr>
          <p:cNvSpPr>
            <a:spLocks noGrp="1"/>
          </p:cNvSpPr>
          <p:nvPr userDrawn="1">
            <p:ph type="pic" sz="quarter" idx="23" hasCustomPrompt="1"/>
          </p:nvPr>
        </p:nvSpPr>
        <p:spPr>
          <a:xfrm>
            <a:off x="4700341" y="1854200"/>
            <a:ext cx="3170725" cy="1574800"/>
          </a:xfrm>
          <a:prstGeom prst="rect">
            <a:avLst/>
          </a:prstGeom>
          <a:solidFill>
            <a:schemeClr val="bg1">
              <a:lumMod val="95000"/>
            </a:schemeClr>
          </a:solidFill>
        </p:spPr>
        <p:txBody>
          <a:bodyPr anchor="ctr"/>
          <a:lstStyle>
            <a:lvl1pPr marL="0" indent="0" algn="ctr">
              <a:buNone/>
              <a:defRPr>
                <a:latin typeface="Roboto" panose="02000000000000000000" pitchFamily="2" charset="0"/>
                <a:ea typeface="Roboto" panose="02000000000000000000" pitchFamily="2" charset="0"/>
              </a:defRPr>
            </a:lvl1pPr>
          </a:lstStyle>
          <a:p>
            <a:r>
              <a:rPr lang="en-US"/>
              <a:t>CLICK TO INSERT IMAGE</a:t>
            </a:r>
          </a:p>
        </p:txBody>
      </p:sp>
      <p:sp>
        <p:nvSpPr>
          <p:cNvPr id="27" name="Picture Placeholder 6">
            <a:extLst>
              <a:ext uri="{FF2B5EF4-FFF2-40B4-BE49-F238E27FC236}">
                <a16:creationId xmlns:a16="http://schemas.microsoft.com/office/drawing/2014/main" id="{FAFF9333-B740-49C5-880B-1C40C90AE23C}"/>
              </a:ext>
            </a:extLst>
          </p:cNvPr>
          <p:cNvSpPr>
            <a:spLocks noGrp="1"/>
          </p:cNvSpPr>
          <p:nvPr userDrawn="1">
            <p:ph type="pic" sz="quarter" idx="24" hasCustomPrompt="1"/>
          </p:nvPr>
        </p:nvSpPr>
        <p:spPr>
          <a:xfrm>
            <a:off x="8359053" y="1854200"/>
            <a:ext cx="3207094" cy="1574800"/>
          </a:xfrm>
          <a:prstGeom prst="rect">
            <a:avLst/>
          </a:prstGeom>
          <a:solidFill>
            <a:schemeClr val="bg1">
              <a:lumMod val="95000"/>
            </a:schemeClr>
          </a:solidFill>
        </p:spPr>
        <p:txBody>
          <a:bodyPr anchor="ctr"/>
          <a:lstStyle>
            <a:lvl1pPr marL="0" indent="0" algn="ctr">
              <a:buNone/>
              <a:defRPr>
                <a:latin typeface="Roboto" panose="02000000000000000000" pitchFamily="2" charset="0"/>
                <a:ea typeface="Roboto" panose="02000000000000000000" pitchFamily="2" charset="0"/>
              </a:defRPr>
            </a:lvl1pPr>
          </a:lstStyle>
          <a:p>
            <a:r>
              <a:rPr lang="en-US"/>
              <a:t>CLICK TO INSERT IMAGE</a:t>
            </a:r>
          </a:p>
        </p:txBody>
      </p:sp>
      <p:sp>
        <p:nvSpPr>
          <p:cNvPr id="23" name="Title 1">
            <a:extLst>
              <a:ext uri="{FF2B5EF4-FFF2-40B4-BE49-F238E27FC236}">
                <a16:creationId xmlns:a16="http://schemas.microsoft.com/office/drawing/2014/main" id="{9D5D9886-D22C-4961-B1A5-49B937D7DE24}"/>
              </a:ext>
            </a:extLst>
          </p:cNvPr>
          <p:cNvSpPr>
            <a:spLocks noGrp="1"/>
          </p:cNvSpPr>
          <p:nvPr userDrawn="1">
            <p:ph type="title" hasCustomPrompt="1"/>
          </p:nvPr>
        </p:nvSpPr>
        <p:spPr>
          <a:xfrm>
            <a:off x="493714" y="482604"/>
            <a:ext cx="11183938" cy="562427"/>
          </a:xfrm>
          <a:prstGeom prst="rect">
            <a:avLst/>
          </a:prstGeom>
        </p:spPr>
        <p:txBody>
          <a:bodyPr lIns="0"/>
          <a:lstStyle>
            <a:lvl1pPr>
              <a:defRPr baseline="0"/>
            </a:lvl1pPr>
          </a:lstStyle>
          <a:p>
            <a:r>
              <a:rPr lang="en-US"/>
              <a:t>Headline Goes Here, Roboto Light, 36 Points, 1 Line</a:t>
            </a:r>
          </a:p>
        </p:txBody>
      </p:sp>
      <p:sp>
        <p:nvSpPr>
          <p:cNvPr id="2" name="TextBox 1">
            <a:extLst>
              <a:ext uri="{FF2B5EF4-FFF2-40B4-BE49-F238E27FC236}">
                <a16:creationId xmlns:a16="http://schemas.microsoft.com/office/drawing/2014/main" id="{ACEE0CA1-923A-4320-9299-A8325B90B5B8}"/>
              </a:ext>
            </a:extLst>
          </p:cNvPr>
          <p:cNvSpPr txBox="1"/>
          <p:nvPr userDrawn="1"/>
        </p:nvSpPr>
        <p:spPr>
          <a:xfrm>
            <a:off x="1023709"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a:solidFill>
                  <a:schemeClr val="tx1">
                    <a:lumMod val="60000"/>
                    <a:lumOff val="40000"/>
                  </a:schemeClr>
                </a:solidFill>
                <a:latin typeface="Roboto" panose="02000000000000000000" pitchFamily="2" charset="0"/>
                <a:ea typeface="Roboto" panose="02000000000000000000" pitchFamily="2" charset="0"/>
                <a:cs typeface="Roboto" charset="0"/>
              </a:rPr>
              <a:t>© Informatica. Proprietary and Confidential.</a:t>
            </a:r>
          </a:p>
        </p:txBody>
      </p:sp>
      <p:pic>
        <p:nvPicPr>
          <p:cNvPr id="28" name="Picture 27">
            <a:extLst>
              <a:ext uri="{FF2B5EF4-FFF2-40B4-BE49-F238E27FC236}">
                <a16:creationId xmlns:a16="http://schemas.microsoft.com/office/drawing/2014/main" id="{85BF9435-B6AB-5342-BE00-4D65D69BDB86}"/>
              </a:ext>
            </a:extLst>
          </p:cNvPr>
          <p:cNvPicPr>
            <a:picLocks noChangeAspect="1"/>
          </p:cNvPicPr>
          <p:nvPr userDrawn="1"/>
        </p:nvPicPr>
        <p:blipFill>
          <a:blip r:embed="rId2"/>
          <a:srcRect/>
          <a:stretch/>
        </p:blipFill>
        <p:spPr>
          <a:xfrm>
            <a:off x="9744604" y="6098796"/>
            <a:ext cx="2039100" cy="699990"/>
          </a:xfrm>
          <a:prstGeom prst="rect">
            <a:avLst/>
          </a:prstGeom>
        </p:spPr>
      </p:pic>
      <p:sp>
        <p:nvSpPr>
          <p:cNvPr id="29" name="Right Triangle 28">
            <a:extLst>
              <a:ext uri="{FF2B5EF4-FFF2-40B4-BE49-F238E27FC236}">
                <a16:creationId xmlns:a16="http://schemas.microsoft.com/office/drawing/2014/main" id="{79837D26-80F0-5A4A-8205-9B11CD5CFA7B}"/>
              </a:ext>
            </a:extLst>
          </p:cNvPr>
          <p:cNvSpPr/>
          <p:nvPr userDrawn="1"/>
        </p:nvSpPr>
        <p:spPr>
          <a:xfrm>
            <a:off x="1" y="2761950"/>
            <a:ext cx="590764" cy="4096050"/>
          </a:xfrm>
          <a:prstGeom prst="rtTriangle">
            <a:avLst/>
          </a:prstGeom>
          <a:gradFill>
            <a:gsLst>
              <a:gs pos="0">
                <a:schemeClr val="accent2"/>
              </a:gs>
              <a:gs pos="76000">
                <a:srgbClr val="FF6500"/>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7124" tIns="91416" rIns="137124" bIns="91416" rtlCol="0" anchor="ctr">
            <a:noAutofit/>
          </a:bodyPr>
          <a:lstStyle/>
          <a:p>
            <a:pPr lvl="0"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56" name="TextBox 55">
            <a:extLst>
              <a:ext uri="{FF2B5EF4-FFF2-40B4-BE49-F238E27FC236}">
                <a16:creationId xmlns:a16="http://schemas.microsoft.com/office/drawing/2014/main" id="{4902183A-4E75-45A1-B406-E334C3C27674}"/>
              </a:ext>
            </a:extLst>
          </p:cNvPr>
          <p:cNvSpPr txBox="1"/>
          <p:nvPr userDrawn="1"/>
        </p:nvSpPr>
        <p:spPr>
          <a:xfrm>
            <a:off x="176868" y="6365108"/>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063" rtl="0" eaLnBrk="1" latinLnBrk="0" hangingPunct="1"/>
            <a:fld id="{64202F7F-356F-46E2-8791-88745C87F5D9}" type="slidenum">
              <a:rPr lang="en-US" sz="900" b="0" i="0" kern="1200" smtClean="0">
                <a:solidFill>
                  <a:schemeClr val="bg1"/>
                </a:solidFill>
                <a:latin typeface="Roboto" panose="02000000000000000000" pitchFamily="2" charset="0"/>
                <a:ea typeface="Roboto" panose="02000000000000000000" pitchFamily="2" charset="0"/>
                <a:cs typeface="Roboto" charset="0"/>
              </a:rPr>
              <a:pPr marL="0" lvl="0" algn="ctr" defTabSz="457063" rtl="0" eaLnBrk="1" latinLnBrk="0" hangingPunct="1"/>
              <a:t>‹#›</a:t>
            </a:fld>
            <a:endParaRPr lang="en-US" sz="900" b="0" i="0" kern="1200">
              <a:solidFill>
                <a:schemeClr val="bg1"/>
              </a:solidFill>
              <a:latin typeface="Roboto" panose="02000000000000000000" pitchFamily="2" charset="0"/>
              <a:ea typeface="Roboto" panose="02000000000000000000" pitchFamily="2" charset="0"/>
              <a:cs typeface="Roboto" charset="0"/>
            </a:endParaRPr>
          </a:p>
        </p:txBody>
      </p:sp>
      <p:sp>
        <p:nvSpPr>
          <p:cNvPr id="18" name="Text Placeholder 4">
            <a:extLst>
              <a:ext uri="{FF2B5EF4-FFF2-40B4-BE49-F238E27FC236}">
                <a16:creationId xmlns:a16="http://schemas.microsoft.com/office/drawing/2014/main" id="{69DDA6E5-1043-0342-8478-7CFD3E881F56}"/>
              </a:ext>
            </a:extLst>
          </p:cNvPr>
          <p:cNvSpPr>
            <a:spLocks noGrp="1"/>
          </p:cNvSpPr>
          <p:nvPr>
            <p:ph type="body" sz="quarter" idx="13" hasCustomPrompt="1"/>
          </p:nvPr>
        </p:nvSpPr>
        <p:spPr>
          <a:xfrm>
            <a:off x="493714" y="1058901"/>
            <a:ext cx="11188532" cy="331601"/>
          </a:xfrm>
          <a:prstGeom prst="rect">
            <a:avLst/>
          </a:prstGeom>
        </p:spPr>
        <p:txBody>
          <a:bodyPr lIns="0" anchor="t"/>
          <a:lstStyle>
            <a:lvl1pPr marL="0" indent="0">
              <a:buNone/>
              <a:defRPr sz="2399" i="0">
                <a:solidFill>
                  <a:schemeClr val="bg1"/>
                </a:solidFill>
                <a:latin typeface="Roboto" panose="02000000000000000000" pitchFamily="2" charset="0"/>
                <a:ea typeface="Roboto" panose="02000000000000000000" pitchFamily="2" charset="0"/>
              </a:defRPr>
            </a:lvl1pPr>
            <a:lvl2pPr marL="169812" indent="0">
              <a:buNone/>
              <a:defRPr/>
            </a:lvl2pPr>
            <a:lvl3pPr marL="344384" indent="0">
              <a:buNone/>
              <a:defRPr/>
            </a:lvl3pPr>
            <a:lvl4pPr marL="458650" indent="0">
              <a:buNone/>
              <a:defRPr/>
            </a:lvl4pPr>
            <a:lvl5pPr marL="630048" indent="0">
              <a:buNone/>
              <a:defRPr/>
            </a:lvl5pPr>
          </a:lstStyle>
          <a:p>
            <a:pPr lvl="0"/>
            <a:r>
              <a:rPr lang="en-US"/>
              <a:t>Subtitle goes here, </a:t>
            </a:r>
            <a:r>
              <a:rPr lang="en-US" err="1"/>
              <a:t>Roboto</a:t>
            </a:r>
            <a:r>
              <a:rPr lang="en-US"/>
              <a:t> Regular 24 point, no longer than one line</a:t>
            </a:r>
          </a:p>
        </p:txBody>
      </p:sp>
    </p:spTree>
    <p:extLst>
      <p:ext uri="{BB962C8B-B14F-4D97-AF65-F5344CB8AC3E}">
        <p14:creationId xmlns:p14="http://schemas.microsoft.com/office/powerpoint/2010/main" val="1946907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ent and Image DARK">
    <p:spTree>
      <p:nvGrpSpPr>
        <p:cNvPr id="1" name=""/>
        <p:cNvGrpSpPr/>
        <p:nvPr/>
      </p:nvGrpSpPr>
      <p:grpSpPr>
        <a:xfrm>
          <a:off x="0" y="0"/>
          <a:ext cx="0" cy="0"/>
          <a:chOff x="0" y="0"/>
          <a:chExt cx="0" cy="0"/>
        </a:xfrm>
      </p:grpSpPr>
      <p:sp>
        <p:nvSpPr>
          <p:cNvPr id="26" name="Picture Placeholder 6">
            <a:extLst>
              <a:ext uri="{FF2B5EF4-FFF2-40B4-BE49-F238E27FC236}">
                <a16:creationId xmlns:a16="http://schemas.microsoft.com/office/drawing/2014/main" id="{19139BE2-3955-4437-8BFB-427D8F682D2F}"/>
              </a:ext>
            </a:extLst>
          </p:cNvPr>
          <p:cNvSpPr>
            <a:spLocks noGrp="1"/>
          </p:cNvSpPr>
          <p:nvPr userDrawn="1">
            <p:ph type="pic" sz="quarter" idx="15" hasCustomPrompt="1"/>
          </p:nvPr>
        </p:nvSpPr>
        <p:spPr>
          <a:xfrm>
            <a:off x="4706424" y="-5483"/>
            <a:ext cx="7475471" cy="6858000"/>
          </a:xfrm>
          <a:prstGeom prst="rect">
            <a:avLst/>
          </a:prstGeom>
          <a:solidFill>
            <a:schemeClr val="bg1">
              <a:lumMod val="95000"/>
            </a:schemeClr>
          </a:solidFill>
        </p:spPr>
        <p:txBody>
          <a:bodyPr anchor="ctr"/>
          <a:lstStyle>
            <a:lvl1pPr marL="0" indent="0" algn="ctr">
              <a:buNone/>
              <a:defRPr>
                <a:latin typeface="Roboto" panose="02000000000000000000" pitchFamily="2" charset="0"/>
                <a:ea typeface="Roboto" panose="02000000000000000000" pitchFamily="2" charset="0"/>
              </a:defRPr>
            </a:lvl1pPr>
          </a:lstStyle>
          <a:p>
            <a:r>
              <a:rPr lang="en-US"/>
              <a:t>CLICK TO INSERT IMAGE</a:t>
            </a:r>
          </a:p>
        </p:txBody>
      </p:sp>
      <p:grpSp>
        <p:nvGrpSpPr>
          <p:cNvPr id="2" name="Group 1">
            <a:extLst>
              <a:ext uri="{FF2B5EF4-FFF2-40B4-BE49-F238E27FC236}">
                <a16:creationId xmlns:a16="http://schemas.microsoft.com/office/drawing/2014/main" id="{84BA3247-8202-45DB-8DD8-853557202279}"/>
              </a:ext>
            </a:extLst>
          </p:cNvPr>
          <p:cNvGrpSpPr/>
          <p:nvPr userDrawn="1"/>
        </p:nvGrpSpPr>
        <p:grpSpPr>
          <a:xfrm>
            <a:off x="4706425" y="-5483"/>
            <a:ext cx="1632031" cy="6858001"/>
            <a:chOff x="4706424" y="-5483"/>
            <a:chExt cx="1819066" cy="6858001"/>
          </a:xfrm>
        </p:grpSpPr>
        <p:sp>
          <p:nvSpPr>
            <p:cNvPr id="12" name="Right Triangle 11">
              <a:extLst>
                <a:ext uri="{FF2B5EF4-FFF2-40B4-BE49-F238E27FC236}">
                  <a16:creationId xmlns:a16="http://schemas.microsoft.com/office/drawing/2014/main" id="{4197BA62-971A-4CF4-8AD3-CBAF002EA413}"/>
                </a:ext>
              </a:extLst>
            </p:cNvPr>
            <p:cNvSpPr/>
            <p:nvPr userDrawn="1"/>
          </p:nvSpPr>
          <p:spPr>
            <a:xfrm rot="16200000" flipH="1" flipV="1">
              <a:off x="2186956" y="2513985"/>
              <a:ext cx="6858001" cy="1819066"/>
            </a:xfrm>
            <a:prstGeom prst="r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latin typeface="Roboto" panose="02000000000000000000" pitchFamily="2" charset="0"/>
              </a:endParaRPr>
            </a:p>
          </p:txBody>
        </p:sp>
        <p:sp>
          <p:nvSpPr>
            <p:cNvPr id="9" name="Right Triangle 8">
              <a:extLst>
                <a:ext uri="{FF2B5EF4-FFF2-40B4-BE49-F238E27FC236}">
                  <a16:creationId xmlns:a16="http://schemas.microsoft.com/office/drawing/2014/main" id="{F9EFCD8C-ACB4-4F6D-8261-2493D33628A7}"/>
                </a:ext>
              </a:extLst>
            </p:cNvPr>
            <p:cNvSpPr/>
            <p:nvPr userDrawn="1"/>
          </p:nvSpPr>
          <p:spPr>
            <a:xfrm rot="16200000" flipH="1" flipV="1">
              <a:off x="2065009" y="2635932"/>
              <a:ext cx="6858001" cy="1575171"/>
            </a:xfrm>
            <a:prstGeom prst="r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latin typeface="Roboto" panose="02000000000000000000" pitchFamily="2" charset="0"/>
              </a:endParaRPr>
            </a:p>
          </p:txBody>
        </p:sp>
      </p:grpSp>
      <p:sp>
        <p:nvSpPr>
          <p:cNvPr id="10" name="Title 1">
            <a:extLst>
              <a:ext uri="{FF2B5EF4-FFF2-40B4-BE49-F238E27FC236}">
                <a16:creationId xmlns:a16="http://schemas.microsoft.com/office/drawing/2014/main" id="{B96418C4-B832-4880-8986-EEAA2D4D84BA}"/>
              </a:ext>
            </a:extLst>
          </p:cNvPr>
          <p:cNvSpPr>
            <a:spLocks noGrp="1"/>
          </p:cNvSpPr>
          <p:nvPr userDrawn="1">
            <p:ph type="title" hasCustomPrompt="1"/>
          </p:nvPr>
        </p:nvSpPr>
        <p:spPr>
          <a:xfrm>
            <a:off x="493714" y="966652"/>
            <a:ext cx="4092142" cy="2035627"/>
          </a:xfrm>
          <a:prstGeom prst="rect">
            <a:avLst/>
          </a:prstGeom>
        </p:spPr>
        <p:txBody>
          <a:bodyPr lIns="0" anchor="b" anchorCtr="0"/>
          <a:lstStyle>
            <a:lvl1pPr>
              <a:defRPr sz="4399" baseline="0"/>
            </a:lvl1pPr>
          </a:lstStyle>
          <a:p>
            <a:r>
              <a:rPr lang="en-US"/>
              <a:t>Headline Goes Here, Roboto Light, 44 Points</a:t>
            </a:r>
          </a:p>
        </p:txBody>
      </p:sp>
      <p:sp>
        <p:nvSpPr>
          <p:cNvPr id="50" name="TextBox 49">
            <a:extLst>
              <a:ext uri="{FF2B5EF4-FFF2-40B4-BE49-F238E27FC236}">
                <a16:creationId xmlns:a16="http://schemas.microsoft.com/office/drawing/2014/main" id="{AF3D519E-FE9B-47BE-83A1-D01F8C7B4C47}"/>
              </a:ext>
            </a:extLst>
          </p:cNvPr>
          <p:cNvSpPr txBox="1"/>
          <p:nvPr userDrawn="1"/>
        </p:nvSpPr>
        <p:spPr>
          <a:xfrm>
            <a:off x="176868" y="6365108"/>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063" rtl="0" eaLnBrk="1" latinLnBrk="0" hangingPunct="1"/>
            <a:fld id="{64202F7F-356F-46E2-8791-88745C87F5D9}" type="slidenum">
              <a:rPr lang="en-US" sz="900" b="0" i="0" kern="1200" smtClean="0">
                <a:solidFill>
                  <a:schemeClr val="tx1">
                    <a:lumMod val="20000"/>
                    <a:lumOff val="80000"/>
                  </a:schemeClr>
                </a:solidFill>
                <a:latin typeface="Roboto" panose="02000000000000000000" pitchFamily="2" charset="0"/>
                <a:ea typeface="Roboto" panose="02000000000000000000" pitchFamily="2" charset="0"/>
                <a:cs typeface="Roboto" charset="0"/>
              </a:rPr>
              <a:pPr marL="0" lvl="0" algn="ctr" defTabSz="457063" rtl="0" eaLnBrk="1" latinLnBrk="0" hangingPunct="1"/>
              <a:t>‹#›</a:t>
            </a:fld>
            <a:endParaRPr lang="en-US" sz="900" b="0" i="0" kern="1200">
              <a:solidFill>
                <a:schemeClr val="tx1">
                  <a:lumMod val="20000"/>
                  <a:lumOff val="80000"/>
                </a:schemeClr>
              </a:solidFill>
              <a:latin typeface="Roboto" panose="02000000000000000000" pitchFamily="2" charset="0"/>
              <a:ea typeface="Roboto" panose="02000000000000000000" pitchFamily="2" charset="0"/>
              <a:cs typeface="Roboto" charset="0"/>
            </a:endParaRPr>
          </a:p>
        </p:txBody>
      </p:sp>
      <p:sp>
        <p:nvSpPr>
          <p:cNvPr id="3" name="TextBox 2">
            <a:extLst>
              <a:ext uri="{FF2B5EF4-FFF2-40B4-BE49-F238E27FC236}">
                <a16:creationId xmlns:a16="http://schemas.microsoft.com/office/drawing/2014/main" id="{6B82BA0B-DA91-4B59-A1E3-F69FAF12F0B9}"/>
              </a:ext>
            </a:extLst>
          </p:cNvPr>
          <p:cNvSpPr txBox="1"/>
          <p:nvPr userDrawn="1"/>
        </p:nvSpPr>
        <p:spPr>
          <a:xfrm>
            <a:off x="1023709"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a:solidFill>
                  <a:schemeClr val="tx1">
                    <a:lumMod val="60000"/>
                    <a:lumOff val="40000"/>
                  </a:schemeClr>
                </a:solidFill>
                <a:latin typeface="Roboto" panose="02000000000000000000" pitchFamily="2" charset="0"/>
                <a:ea typeface="Roboto" panose="02000000000000000000" pitchFamily="2" charset="0"/>
                <a:cs typeface="Roboto" charset="0"/>
              </a:rPr>
              <a:t>© Informatica. Proprietary and Confidential.</a:t>
            </a:r>
          </a:p>
        </p:txBody>
      </p:sp>
      <p:sp>
        <p:nvSpPr>
          <p:cNvPr id="6" name="Text Placeholder 5">
            <a:extLst>
              <a:ext uri="{FF2B5EF4-FFF2-40B4-BE49-F238E27FC236}">
                <a16:creationId xmlns:a16="http://schemas.microsoft.com/office/drawing/2014/main" id="{52CDB1D5-2903-4E27-BB41-9901A4E8A856}"/>
              </a:ext>
            </a:extLst>
          </p:cNvPr>
          <p:cNvSpPr>
            <a:spLocks noGrp="1"/>
          </p:cNvSpPr>
          <p:nvPr>
            <p:ph type="body" sz="quarter" idx="16" hasCustomPrompt="1"/>
          </p:nvPr>
        </p:nvSpPr>
        <p:spPr>
          <a:xfrm>
            <a:off x="493713" y="3437711"/>
            <a:ext cx="4092142" cy="1001713"/>
          </a:xfrm>
          <a:prstGeom prst="rect">
            <a:avLst/>
          </a:prstGeom>
        </p:spPr>
        <p:txBody>
          <a:bodyPr lIns="0"/>
          <a:lstStyle>
            <a:lvl1pPr marL="0" indent="0">
              <a:buNone/>
              <a:defRPr sz="2399">
                <a:solidFill>
                  <a:schemeClr val="accent2"/>
                </a:solidFill>
                <a:latin typeface="+mj-lt"/>
                <a:ea typeface="Roboto" panose="02000000000000000000" pitchFamily="2" charset="0"/>
              </a:defRPr>
            </a:lvl1pPr>
          </a:lstStyle>
          <a:p>
            <a:pPr lvl="0"/>
            <a:r>
              <a:rPr lang="en-US"/>
              <a:t>Secondary text here Roboto Light 24 points</a:t>
            </a:r>
          </a:p>
        </p:txBody>
      </p:sp>
      <p:pic>
        <p:nvPicPr>
          <p:cNvPr id="11" name="Picture 10">
            <a:extLst>
              <a:ext uri="{FF2B5EF4-FFF2-40B4-BE49-F238E27FC236}">
                <a16:creationId xmlns:a16="http://schemas.microsoft.com/office/drawing/2014/main" id="{58FCA978-FA7D-F541-ABD6-1D00357DA744}"/>
              </a:ext>
            </a:extLst>
          </p:cNvPr>
          <p:cNvPicPr>
            <a:picLocks noChangeAspect="1"/>
          </p:cNvPicPr>
          <p:nvPr userDrawn="1"/>
        </p:nvPicPr>
        <p:blipFill>
          <a:blip r:embed="rId2"/>
          <a:stretch>
            <a:fillRect/>
          </a:stretch>
        </p:blipFill>
        <p:spPr>
          <a:xfrm>
            <a:off x="9743687" y="6098796"/>
            <a:ext cx="2040934" cy="699990"/>
          </a:xfrm>
          <a:prstGeom prst="rect">
            <a:avLst/>
          </a:prstGeom>
        </p:spPr>
      </p:pic>
    </p:spTree>
    <p:extLst>
      <p:ext uri="{BB962C8B-B14F-4D97-AF65-F5344CB8AC3E}">
        <p14:creationId xmlns:p14="http://schemas.microsoft.com/office/powerpoint/2010/main" val="3881345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Full Bleed Image">
    <p:spTree>
      <p:nvGrpSpPr>
        <p:cNvPr id="1" name=""/>
        <p:cNvGrpSpPr/>
        <p:nvPr/>
      </p:nvGrpSpPr>
      <p:grpSpPr>
        <a:xfrm>
          <a:off x="0" y="0"/>
          <a:ext cx="0" cy="0"/>
          <a:chOff x="0" y="0"/>
          <a:chExt cx="0" cy="0"/>
        </a:xfrm>
      </p:grpSpPr>
      <p:sp>
        <p:nvSpPr>
          <p:cNvPr id="26" name="Picture Placeholder 6">
            <a:extLst>
              <a:ext uri="{FF2B5EF4-FFF2-40B4-BE49-F238E27FC236}">
                <a16:creationId xmlns:a16="http://schemas.microsoft.com/office/drawing/2014/main" id="{19139BE2-3955-4437-8BFB-427D8F682D2F}"/>
              </a:ext>
            </a:extLst>
          </p:cNvPr>
          <p:cNvSpPr>
            <a:spLocks noGrp="1"/>
          </p:cNvSpPr>
          <p:nvPr userDrawn="1">
            <p:ph type="pic" sz="quarter" idx="15" hasCustomPrompt="1"/>
          </p:nvPr>
        </p:nvSpPr>
        <p:spPr>
          <a:xfrm>
            <a:off x="1" y="-1"/>
            <a:ext cx="12188825" cy="6857999"/>
          </a:xfrm>
          <a:prstGeom prst="rect">
            <a:avLst/>
          </a:prstGeom>
          <a:solidFill>
            <a:schemeClr val="bg1">
              <a:lumMod val="95000"/>
            </a:schemeClr>
          </a:solidFill>
        </p:spPr>
        <p:txBody>
          <a:bodyPr anchor="ctr"/>
          <a:lstStyle>
            <a:lvl1pPr marL="0" indent="0" algn="ctr">
              <a:buNone/>
              <a:defRPr>
                <a:latin typeface="Roboto" panose="02000000000000000000" pitchFamily="2" charset="0"/>
                <a:ea typeface="Roboto" panose="02000000000000000000" pitchFamily="2" charset="0"/>
              </a:defRPr>
            </a:lvl1pPr>
          </a:lstStyle>
          <a:p>
            <a:r>
              <a:rPr lang="en-US"/>
              <a:t>CLICK TO INSERT IMAGE</a:t>
            </a:r>
          </a:p>
        </p:txBody>
      </p:sp>
    </p:spTree>
    <p:extLst>
      <p:ext uri="{BB962C8B-B14F-4D97-AF65-F5344CB8AC3E}">
        <p14:creationId xmlns:p14="http://schemas.microsoft.com/office/powerpoint/2010/main" val="2412142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Section Divider_1">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AC3CA8E-B47E-084A-9F1F-2B81929AA949}"/>
              </a:ext>
            </a:extLst>
          </p:cNvPr>
          <p:cNvPicPr>
            <a:picLocks noChangeAspect="1"/>
          </p:cNvPicPr>
          <p:nvPr userDrawn="1"/>
        </p:nvPicPr>
        <p:blipFill>
          <a:blip r:embed="rId2"/>
          <a:srcRect/>
          <a:stretch/>
        </p:blipFill>
        <p:spPr>
          <a:xfrm>
            <a:off x="398002" y="216485"/>
            <a:ext cx="2468406" cy="849901"/>
          </a:xfrm>
          <a:prstGeom prst="rect">
            <a:avLst/>
          </a:prstGeom>
        </p:spPr>
      </p:pic>
      <p:sp>
        <p:nvSpPr>
          <p:cNvPr id="13" name="Rectangle 28">
            <a:extLst>
              <a:ext uri="{FF2B5EF4-FFF2-40B4-BE49-F238E27FC236}">
                <a16:creationId xmlns:a16="http://schemas.microsoft.com/office/drawing/2014/main" id="{C9FF0F85-FF53-584A-8206-44006F03D208}"/>
              </a:ext>
            </a:extLst>
          </p:cNvPr>
          <p:cNvSpPr/>
          <p:nvPr userDrawn="1"/>
        </p:nvSpPr>
        <p:spPr>
          <a:xfrm>
            <a:off x="7199407" y="1"/>
            <a:ext cx="4991113" cy="6861175"/>
          </a:xfrm>
          <a:custGeom>
            <a:avLst/>
            <a:gdLst>
              <a:gd name="connsiteX0" fmla="*/ 0 w 4949825"/>
              <a:gd name="connsiteY0" fmla="*/ 0 h 6858000"/>
              <a:gd name="connsiteX1" fmla="*/ 4949825 w 4949825"/>
              <a:gd name="connsiteY1" fmla="*/ 0 h 6858000"/>
              <a:gd name="connsiteX2" fmla="*/ 4949825 w 4949825"/>
              <a:gd name="connsiteY2" fmla="*/ 6858000 h 6858000"/>
              <a:gd name="connsiteX3" fmla="*/ 0 w 4949825"/>
              <a:gd name="connsiteY3" fmla="*/ 6858000 h 6858000"/>
              <a:gd name="connsiteX4" fmla="*/ 0 w 4949825"/>
              <a:gd name="connsiteY4" fmla="*/ 0 h 6858000"/>
              <a:gd name="connsiteX0" fmla="*/ 2438400 w 4949825"/>
              <a:gd name="connsiteY0" fmla="*/ 0 h 6858000"/>
              <a:gd name="connsiteX1" fmla="*/ 4949825 w 4949825"/>
              <a:gd name="connsiteY1" fmla="*/ 0 h 6858000"/>
              <a:gd name="connsiteX2" fmla="*/ 4949825 w 4949825"/>
              <a:gd name="connsiteY2" fmla="*/ 6858000 h 6858000"/>
              <a:gd name="connsiteX3" fmla="*/ 0 w 4949825"/>
              <a:gd name="connsiteY3" fmla="*/ 6858000 h 6858000"/>
              <a:gd name="connsiteX4" fmla="*/ 2438400 w 4949825"/>
              <a:gd name="connsiteY4" fmla="*/ 0 h 6858000"/>
              <a:gd name="connsiteX0" fmla="*/ 3202577 w 4949825"/>
              <a:gd name="connsiteY0" fmla="*/ 0 h 6858000"/>
              <a:gd name="connsiteX1" fmla="*/ 4949825 w 4949825"/>
              <a:gd name="connsiteY1" fmla="*/ 0 h 6858000"/>
              <a:gd name="connsiteX2" fmla="*/ 4949825 w 4949825"/>
              <a:gd name="connsiteY2" fmla="*/ 6858000 h 6858000"/>
              <a:gd name="connsiteX3" fmla="*/ 0 w 4949825"/>
              <a:gd name="connsiteY3" fmla="*/ 6858000 h 6858000"/>
              <a:gd name="connsiteX4" fmla="*/ 3202577 w 4949825"/>
              <a:gd name="connsiteY4" fmla="*/ 0 h 6858000"/>
              <a:gd name="connsiteX0" fmla="*/ 3156857 w 4904105"/>
              <a:gd name="connsiteY0" fmla="*/ 0 h 6858000"/>
              <a:gd name="connsiteX1" fmla="*/ 4904105 w 4904105"/>
              <a:gd name="connsiteY1" fmla="*/ 0 h 6858000"/>
              <a:gd name="connsiteX2" fmla="*/ 4904105 w 4904105"/>
              <a:gd name="connsiteY2" fmla="*/ 6858000 h 6858000"/>
              <a:gd name="connsiteX3" fmla="*/ 0 w 4904105"/>
              <a:gd name="connsiteY3" fmla="*/ 6858000 h 6858000"/>
              <a:gd name="connsiteX4" fmla="*/ 3156857 w 4904105"/>
              <a:gd name="connsiteY4" fmla="*/ 0 h 6858000"/>
              <a:gd name="connsiteX0" fmla="*/ 3245347 w 4992595"/>
              <a:gd name="connsiteY0" fmla="*/ 0 h 6867832"/>
              <a:gd name="connsiteX1" fmla="*/ 4992595 w 4992595"/>
              <a:gd name="connsiteY1" fmla="*/ 0 h 6867832"/>
              <a:gd name="connsiteX2" fmla="*/ 4992595 w 4992595"/>
              <a:gd name="connsiteY2" fmla="*/ 6858000 h 6867832"/>
              <a:gd name="connsiteX3" fmla="*/ 0 w 4992595"/>
              <a:gd name="connsiteY3" fmla="*/ 6867832 h 6867832"/>
              <a:gd name="connsiteX4" fmla="*/ 3245347 w 4992595"/>
              <a:gd name="connsiteY4" fmla="*/ 0 h 6867832"/>
              <a:gd name="connsiteX0" fmla="*/ 3245347 w 4992595"/>
              <a:gd name="connsiteY0" fmla="*/ 0 h 6873095"/>
              <a:gd name="connsiteX1" fmla="*/ 4992595 w 4992595"/>
              <a:gd name="connsiteY1" fmla="*/ 0 h 6873095"/>
              <a:gd name="connsiteX2" fmla="*/ 4987571 w 4992595"/>
              <a:gd name="connsiteY2" fmla="*/ 6873095 h 6873095"/>
              <a:gd name="connsiteX3" fmla="*/ 0 w 4992595"/>
              <a:gd name="connsiteY3" fmla="*/ 6867832 h 6873095"/>
              <a:gd name="connsiteX4" fmla="*/ 3245347 w 4992595"/>
              <a:gd name="connsiteY4" fmla="*/ 0 h 6873095"/>
              <a:gd name="connsiteX0" fmla="*/ 3242172 w 4989420"/>
              <a:gd name="connsiteY0" fmla="*/ 0 h 6874196"/>
              <a:gd name="connsiteX1" fmla="*/ 4989420 w 4989420"/>
              <a:gd name="connsiteY1" fmla="*/ 0 h 6874196"/>
              <a:gd name="connsiteX2" fmla="*/ 4984396 w 4989420"/>
              <a:gd name="connsiteY2" fmla="*/ 6873095 h 6874196"/>
              <a:gd name="connsiteX3" fmla="*/ 0 w 4989420"/>
              <a:gd name="connsiteY3" fmla="*/ 6874196 h 6874196"/>
              <a:gd name="connsiteX4" fmla="*/ 3242172 w 4989420"/>
              <a:gd name="connsiteY4" fmla="*/ 0 h 6874196"/>
              <a:gd name="connsiteX0" fmla="*/ 3242172 w 4991114"/>
              <a:gd name="connsiteY0" fmla="*/ 0 h 6876278"/>
              <a:gd name="connsiteX1" fmla="*/ 4989420 w 4991114"/>
              <a:gd name="connsiteY1" fmla="*/ 0 h 6876278"/>
              <a:gd name="connsiteX2" fmla="*/ 4990746 w 4991114"/>
              <a:gd name="connsiteY2" fmla="*/ 6876278 h 6876278"/>
              <a:gd name="connsiteX3" fmla="*/ 0 w 4991114"/>
              <a:gd name="connsiteY3" fmla="*/ 6874196 h 6876278"/>
              <a:gd name="connsiteX4" fmla="*/ 3242172 w 4991114"/>
              <a:gd name="connsiteY4" fmla="*/ 0 h 68762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1114" h="6876278">
                <a:moveTo>
                  <a:pt x="3242172" y="0"/>
                </a:moveTo>
                <a:lnTo>
                  <a:pt x="4989420" y="0"/>
                </a:lnTo>
                <a:cubicBezTo>
                  <a:pt x="4987745" y="2291032"/>
                  <a:pt x="4992421" y="4585246"/>
                  <a:pt x="4990746" y="6876278"/>
                </a:cubicBezTo>
                <a:lnTo>
                  <a:pt x="0" y="6874196"/>
                </a:lnTo>
                <a:lnTo>
                  <a:pt x="3242172" y="0"/>
                </a:lnTo>
                <a:close/>
              </a:path>
            </a:pathLst>
          </a:custGeom>
          <a:gradFill>
            <a:gsLst>
              <a:gs pos="0">
                <a:schemeClr val="accent2"/>
              </a:gs>
              <a:gs pos="76000">
                <a:srgbClr val="FF6500"/>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137124" tIns="91416" rIns="137124" bIns="91416" rtlCol="0" anchor="ctr"/>
          <a:lstStyle/>
          <a:p>
            <a:pPr lvl="0"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14" name="Freeform 13">
            <a:extLst>
              <a:ext uri="{FF2B5EF4-FFF2-40B4-BE49-F238E27FC236}">
                <a16:creationId xmlns:a16="http://schemas.microsoft.com/office/drawing/2014/main" id="{5220FCC1-7D4F-1748-A75E-B459E2C01FC7}"/>
              </a:ext>
            </a:extLst>
          </p:cNvPr>
          <p:cNvSpPr/>
          <p:nvPr userDrawn="1"/>
        </p:nvSpPr>
        <p:spPr>
          <a:xfrm rot="16200000">
            <a:off x="5211830" y="1627650"/>
            <a:ext cx="6859272" cy="3601433"/>
          </a:xfrm>
          <a:custGeom>
            <a:avLst/>
            <a:gdLst>
              <a:gd name="connsiteX0" fmla="*/ 6837041 w 6837041"/>
              <a:gd name="connsiteY0" fmla="*/ 3595080 h 3595080"/>
              <a:gd name="connsiteX1" fmla="*/ 0 w 6837041"/>
              <a:gd name="connsiteY1" fmla="*/ 443330 h 3595080"/>
              <a:gd name="connsiteX2" fmla="*/ 0 w 6837041"/>
              <a:gd name="connsiteY2" fmla="*/ 0 h 3595080"/>
              <a:gd name="connsiteX0" fmla="*/ 6859268 w 6859268"/>
              <a:gd name="connsiteY0" fmla="*/ 3601433 h 3601433"/>
              <a:gd name="connsiteX1" fmla="*/ 0 w 6859268"/>
              <a:gd name="connsiteY1" fmla="*/ 443330 h 3601433"/>
              <a:gd name="connsiteX2" fmla="*/ 0 w 6859268"/>
              <a:gd name="connsiteY2" fmla="*/ 0 h 3601433"/>
              <a:gd name="connsiteX3" fmla="*/ 6859268 w 6859268"/>
              <a:gd name="connsiteY3" fmla="*/ 3601433 h 3601433"/>
            </a:gdLst>
            <a:ahLst/>
            <a:cxnLst>
              <a:cxn ang="0">
                <a:pos x="connsiteX0" y="connsiteY0"/>
              </a:cxn>
              <a:cxn ang="0">
                <a:pos x="connsiteX1" y="connsiteY1"/>
              </a:cxn>
              <a:cxn ang="0">
                <a:pos x="connsiteX2" y="connsiteY2"/>
              </a:cxn>
              <a:cxn ang="0">
                <a:pos x="connsiteX3" y="connsiteY3"/>
              </a:cxn>
            </a:cxnLst>
            <a:rect l="l" t="t" r="r" b="b"/>
            <a:pathLst>
              <a:path w="6859268" h="3601433">
                <a:moveTo>
                  <a:pt x="6859268" y="3601433"/>
                </a:moveTo>
                <a:lnTo>
                  <a:pt x="0" y="443330"/>
                </a:lnTo>
                <a:lnTo>
                  <a:pt x="0" y="0"/>
                </a:lnTo>
                <a:lnTo>
                  <a:pt x="6859268" y="3601433"/>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799">
              <a:solidFill>
                <a:schemeClr val="accent1"/>
              </a:solidFill>
              <a:latin typeface="Roboto" panose="02000000000000000000" pitchFamily="2" charset="0"/>
            </a:endParaRPr>
          </a:p>
        </p:txBody>
      </p:sp>
      <p:sp>
        <p:nvSpPr>
          <p:cNvPr id="7" name="Text Placeholder 23">
            <a:extLst>
              <a:ext uri="{FF2B5EF4-FFF2-40B4-BE49-F238E27FC236}">
                <a16:creationId xmlns:a16="http://schemas.microsoft.com/office/drawing/2014/main" id="{C8EA16C5-8B64-D24F-B77E-996FC45DF1F1}"/>
              </a:ext>
            </a:extLst>
          </p:cNvPr>
          <p:cNvSpPr>
            <a:spLocks noGrp="1"/>
          </p:cNvSpPr>
          <p:nvPr>
            <p:ph type="body" sz="quarter" idx="11"/>
          </p:nvPr>
        </p:nvSpPr>
        <p:spPr>
          <a:xfrm>
            <a:off x="688890" y="2330050"/>
            <a:ext cx="8856475" cy="1292860"/>
          </a:xfrm>
          <a:prstGeom prst="rect">
            <a:avLst/>
          </a:prstGeom>
        </p:spPr>
        <p:txBody>
          <a:bodyPr anchor="b"/>
          <a:lstStyle>
            <a:lvl1pPr marL="0" indent="0">
              <a:buNone/>
              <a:defRPr sz="4799" b="0" i="0">
                <a:solidFill>
                  <a:schemeClr val="bg1"/>
                </a:solidFill>
                <a:latin typeface="+mj-lt"/>
                <a:ea typeface="Roboto Light" panose="02000000000000000000" pitchFamily="2" charset="0"/>
                <a:cs typeface="Roboto Light" panose="02000000000000000000" pitchFamily="2" charset="0"/>
              </a:defRPr>
            </a:lvl1pPr>
            <a:lvl2pPr marL="456971" indent="0">
              <a:buNone/>
              <a:defRPr/>
            </a:lvl2pPr>
            <a:lvl3pPr marL="913943" indent="0">
              <a:buNone/>
              <a:defRPr/>
            </a:lvl3pPr>
            <a:lvl4pPr marL="1370915" indent="0">
              <a:buNone/>
              <a:defRPr/>
            </a:lvl4pPr>
            <a:lvl5pPr marL="1827886" indent="0">
              <a:buNone/>
              <a:defRPr/>
            </a:lvl5pPr>
          </a:lstStyle>
          <a:p>
            <a:pPr lvl="0"/>
            <a:endParaRPr lang="en-US"/>
          </a:p>
        </p:txBody>
      </p:sp>
      <p:sp>
        <p:nvSpPr>
          <p:cNvPr id="8" name="Text Placeholder 27">
            <a:extLst>
              <a:ext uri="{FF2B5EF4-FFF2-40B4-BE49-F238E27FC236}">
                <a16:creationId xmlns:a16="http://schemas.microsoft.com/office/drawing/2014/main" id="{C31BC739-B395-AB47-8B64-7C29F5A00C43}"/>
              </a:ext>
            </a:extLst>
          </p:cNvPr>
          <p:cNvSpPr>
            <a:spLocks noGrp="1"/>
          </p:cNvSpPr>
          <p:nvPr>
            <p:ph type="body" sz="quarter" idx="13"/>
          </p:nvPr>
        </p:nvSpPr>
        <p:spPr bwMode="gray">
          <a:xfrm>
            <a:off x="803190" y="3677777"/>
            <a:ext cx="6045771" cy="475487"/>
          </a:xfrm>
          <a:prstGeom prst="rect">
            <a:avLst/>
          </a:prstGeom>
        </p:spPr>
        <p:txBody>
          <a:bodyPr vert="horz" lIns="0" tIns="0" rIns="0" bIns="0" rtlCol="0">
            <a:noAutofit/>
          </a:bodyPr>
          <a:lstStyle>
            <a:lvl1pPr marL="0" indent="0">
              <a:buNone/>
              <a:defRPr lang="en-US" sz="2799" i="0" baseline="0" dirty="0">
                <a:solidFill>
                  <a:schemeClr val="bg1"/>
                </a:solidFill>
                <a:latin typeface="Roboto Light" panose="02000000000000000000" pitchFamily="2" charset="0"/>
                <a:ea typeface="Roboto Light" panose="02000000000000000000" pitchFamily="2" charset="0"/>
                <a:cs typeface="Roboto Light" panose="02000000000000000000" pitchFamily="2" charset="0"/>
              </a:defRPr>
            </a:lvl1pPr>
          </a:lstStyle>
          <a:p>
            <a:pPr marL="172986" lvl="0" indent="-172986"/>
            <a:endParaRPr lang="en-US"/>
          </a:p>
        </p:txBody>
      </p:sp>
    </p:spTree>
    <p:extLst>
      <p:ext uri="{BB962C8B-B14F-4D97-AF65-F5344CB8AC3E}">
        <p14:creationId xmlns:p14="http://schemas.microsoft.com/office/powerpoint/2010/main" val="2525746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Divider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Freeform 8">
            <a:extLst>
              <a:ext uri="{FF2B5EF4-FFF2-40B4-BE49-F238E27FC236}">
                <a16:creationId xmlns:a16="http://schemas.microsoft.com/office/drawing/2014/main" id="{5EA3EBC2-8059-6C40-AFCA-8DB1E0D77017}"/>
              </a:ext>
            </a:extLst>
          </p:cNvPr>
          <p:cNvSpPr/>
          <p:nvPr userDrawn="1"/>
        </p:nvSpPr>
        <p:spPr>
          <a:xfrm>
            <a:off x="7407017" y="4547198"/>
            <a:ext cx="4785372" cy="2310802"/>
          </a:xfrm>
          <a:custGeom>
            <a:avLst/>
            <a:gdLst>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16268 w 4717029"/>
              <a:gd name="connsiteY12" fmla="*/ 1924881 h 2310802"/>
              <a:gd name="connsiteX13" fmla="*/ 537304 w 4717029"/>
              <a:gd name="connsiteY13" fmla="*/ 1927002 h 2310802"/>
              <a:gd name="connsiteX14" fmla="*/ 555320 w 4717029"/>
              <a:gd name="connsiteY14" fmla="*/ 1748290 h 2310802"/>
              <a:gd name="connsiteX15" fmla="*/ 1458267 w 4717029"/>
              <a:gd name="connsiteY15" fmla="*/ 1012367 h 2310802"/>
              <a:gd name="connsiteX16" fmla="*/ 2307510 w 4717029"/>
              <a:gd name="connsiteY16" fmla="*/ 1575283 h 2310802"/>
              <a:gd name="connsiteX17" fmla="*/ 2359658 w 4717029"/>
              <a:gd name="connsiteY17" fmla="*/ 1743278 h 2310802"/>
              <a:gd name="connsiteX18" fmla="*/ 2697671 w 4717029"/>
              <a:gd name="connsiteY18" fmla="*/ 1743278 h 2310802"/>
              <a:gd name="connsiteX19" fmla="*/ 2691684 w 4717029"/>
              <a:gd name="connsiteY19" fmla="*/ 1683894 h 2310802"/>
              <a:gd name="connsiteX20" fmla="*/ 3479644 w 4717029"/>
              <a:gd name="connsiteY20" fmla="*/ 895934 h 2310802"/>
              <a:gd name="connsiteX21" fmla="*/ 3555657 w 4717029"/>
              <a:gd name="connsiteY21" fmla="*/ 899772 h 2310802"/>
              <a:gd name="connsiteX22" fmla="*/ 3556684 w 4717029"/>
              <a:gd name="connsiteY22" fmla="*/ 889585 h 2310802"/>
              <a:gd name="connsiteX23" fmla="*/ 4648168 w 4717029"/>
              <a:gd name="connsiteY23"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16268 w 4717029"/>
              <a:gd name="connsiteY12" fmla="*/ 1924881 h 2310802"/>
              <a:gd name="connsiteX13" fmla="*/ 555320 w 4717029"/>
              <a:gd name="connsiteY13" fmla="*/ 1748290 h 2310802"/>
              <a:gd name="connsiteX14" fmla="*/ 1458267 w 4717029"/>
              <a:gd name="connsiteY14" fmla="*/ 1012367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55320 w 4717029"/>
              <a:gd name="connsiteY13" fmla="*/ 1748290 h 2310802"/>
              <a:gd name="connsiteX14" fmla="*/ 1458267 w 4717029"/>
              <a:gd name="connsiteY14" fmla="*/ 1012367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55320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55320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55320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73608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73608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73608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479620 w 4717029"/>
              <a:gd name="connsiteY14" fmla="*/ 1020114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6903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76504 w 4745365"/>
              <a:gd name="connsiteY0" fmla="*/ 0 h 2310802"/>
              <a:gd name="connsiteX1" fmla="*/ 4745365 w 4745365"/>
              <a:gd name="connsiteY1" fmla="*/ 3477 h 2310802"/>
              <a:gd name="connsiteX2" fmla="*/ 4745365 w 4745365"/>
              <a:gd name="connsiteY2" fmla="*/ 2224761 h 2310802"/>
              <a:gd name="connsiteX3" fmla="*/ 4676504 w 4745365"/>
              <a:gd name="connsiteY3" fmla="*/ 2228238 h 2310802"/>
              <a:gd name="connsiteX4" fmla="*/ 4193487 w 4745365"/>
              <a:gd name="connsiteY4" fmla="*/ 2118374 h 2310802"/>
              <a:gd name="connsiteX5" fmla="*/ 4171520 w 4745365"/>
              <a:gd name="connsiteY5" fmla="*/ 2105748 h 2310802"/>
              <a:gd name="connsiteX6" fmla="*/ 4161369 w 4745365"/>
              <a:gd name="connsiteY6" fmla="*/ 2124450 h 2310802"/>
              <a:gd name="connsiteX7" fmla="*/ 4065152 w 4745365"/>
              <a:gd name="connsiteY7" fmla="*/ 2241066 h 2310802"/>
              <a:gd name="connsiteX8" fmla="*/ 3986221 w 4745365"/>
              <a:gd name="connsiteY8" fmla="*/ 2306190 h 2310802"/>
              <a:gd name="connsiteX9" fmla="*/ 3986221 w 4745365"/>
              <a:gd name="connsiteY9" fmla="*/ 2310802 h 2310802"/>
              <a:gd name="connsiteX10" fmla="*/ 0 w 4745365"/>
              <a:gd name="connsiteY10" fmla="*/ 2310802 h 2310802"/>
              <a:gd name="connsiteX11" fmla="*/ 45422 w 4745365"/>
              <a:gd name="connsiteY11" fmla="*/ 2255761 h 2310802"/>
              <a:gd name="connsiteX12" fmla="*/ 551119 w 4745365"/>
              <a:gd name="connsiteY12" fmla="*/ 1890083 h 2310802"/>
              <a:gd name="connsiteX13" fmla="*/ 575332 w 4745365"/>
              <a:gd name="connsiteY13" fmla="*/ 1748290 h 2310802"/>
              <a:gd name="connsiteX14" fmla="*/ 1504807 w 4745365"/>
              <a:gd name="connsiteY14" fmla="*/ 1035989 h 2310802"/>
              <a:gd name="connsiteX15" fmla="*/ 2335846 w 4745365"/>
              <a:gd name="connsiteY15" fmla="*/ 1575283 h 2310802"/>
              <a:gd name="connsiteX16" fmla="*/ 2387994 w 4745365"/>
              <a:gd name="connsiteY16" fmla="*/ 1743278 h 2310802"/>
              <a:gd name="connsiteX17" fmla="*/ 2726007 w 4745365"/>
              <a:gd name="connsiteY17" fmla="*/ 1743278 h 2310802"/>
              <a:gd name="connsiteX18" fmla="*/ 2720020 w 4745365"/>
              <a:gd name="connsiteY18" fmla="*/ 1683894 h 2310802"/>
              <a:gd name="connsiteX19" fmla="*/ 3507980 w 4745365"/>
              <a:gd name="connsiteY19" fmla="*/ 895934 h 2310802"/>
              <a:gd name="connsiteX20" fmla="*/ 3583993 w 4745365"/>
              <a:gd name="connsiteY20" fmla="*/ 899772 h 2310802"/>
              <a:gd name="connsiteX21" fmla="*/ 3585020 w 4745365"/>
              <a:gd name="connsiteY21" fmla="*/ 889585 h 2310802"/>
              <a:gd name="connsiteX22" fmla="*/ 4676504 w 4745365"/>
              <a:gd name="connsiteY22" fmla="*/ 0 h 2310802"/>
              <a:gd name="connsiteX0" fmla="*/ 4676504 w 4745365"/>
              <a:gd name="connsiteY0" fmla="*/ 0 h 2310802"/>
              <a:gd name="connsiteX1" fmla="*/ 4745365 w 4745365"/>
              <a:gd name="connsiteY1" fmla="*/ 3477 h 2310802"/>
              <a:gd name="connsiteX2" fmla="*/ 4745365 w 4745365"/>
              <a:gd name="connsiteY2" fmla="*/ 2224761 h 2310802"/>
              <a:gd name="connsiteX3" fmla="*/ 4676504 w 4745365"/>
              <a:gd name="connsiteY3" fmla="*/ 2228238 h 2310802"/>
              <a:gd name="connsiteX4" fmla="*/ 4193487 w 4745365"/>
              <a:gd name="connsiteY4" fmla="*/ 2118374 h 2310802"/>
              <a:gd name="connsiteX5" fmla="*/ 4171520 w 4745365"/>
              <a:gd name="connsiteY5" fmla="*/ 2105748 h 2310802"/>
              <a:gd name="connsiteX6" fmla="*/ 4161369 w 4745365"/>
              <a:gd name="connsiteY6" fmla="*/ 2124450 h 2310802"/>
              <a:gd name="connsiteX7" fmla="*/ 4065152 w 4745365"/>
              <a:gd name="connsiteY7" fmla="*/ 2241066 h 2310802"/>
              <a:gd name="connsiteX8" fmla="*/ 3986221 w 4745365"/>
              <a:gd name="connsiteY8" fmla="*/ 2306190 h 2310802"/>
              <a:gd name="connsiteX9" fmla="*/ 3986221 w 4745365"/>
              <a:gd name="connsiteY9" fmla="*/ 2310802 h 2310802"/>
              <a:gd name="connsiteX10" fmla="*/ 0 w 4745365"/>
              <a:gd name="connsiteY10" fmla="*/ 2310802 h 2310802"/>
              <a:gd name="connsiteX11" fmla="*/ 35977 w 4745365"/>
              <a:gd name="connsiteY11" fmla="*/ 2249411 h 2310802"/>
              <a:gd name="connsiteX12" fmla="*/ 551119 w 4745365"/>
              <a:gd name="connsiteY12" fmla="*/ 1890083 h 2310802"/>
              <a:gd name="connsiteX13" fmla="*/ 575332 w 4745365"/>
              <a:gd name="connsiteY13" fmla="*/ 1748290 h 2310802"/>
              <a:gd name="connsiteX14" fmla="*/ 1504807 w 4745365"/>
              <a:gd name="connsiteY14" fmla="*/ 1035989 h 2310802"/>
              <a:gd name="connsiteX15" fmla="*/ 2335846 w 4745365"/>
              <a:gd name="connsiteY15" fmla="*/ 1575283 h 2310802"/>
              <a:gd name="connsiteX16" fmla="*/ 2387994 w 4745365"/>
              <a:gd name="connsiteY16" fmla="*/ 1743278 h 2310802"/>
              <a:gd name="connsiteX17" fmla="*/ 2726007 w 4745365"/>
              <a:gd name="connsiteY17" fmla="*/ 1743278 h 2310802"/>
              <a:gd name="connsiteX18" fmla="*/ 2720020 w 4745365"/>
              <a:gd name="connsiteY18" fmla="*/ 1683894 h 2310802"/>
              <a:gd name="connsiteX19" fmla="*/ 3507980 w 4745365"/>
              <a:gd name="connsiteY19" fmla="*/ 895934 h 2310802"/>
              <a:gd name="connsiteX20" fmla="*/ 3583993 w 4745365"/>
              <a:gd name="connsiteY20" fmla="*/ 899772 h 2310802"/>
              <a:gd name="connsiteX21" fmla="*/ 3585020 w 4745365"/>
              <a:gd name="connsiteY21" fmla="*/ 889585 h 2310802"/>
              <a:gd name="connsiteX22" fmla="*/ 4676504 w 4745365"/>
              <a:gd name="connsiteY22" fmla="*/ 0 h 2310802"/>
              <a:gd name="connsiteX0" fmla="*/ 4676504 w 4745365"/>
              <a:gd name="connsiteY0" fmla="*/ 0 h 2310802"/>
              <a:gd name="connsiteX1" fmla="*/ 4745365 w 4745365"/>
              <a:gd name="connsiteY1" fmla="*/ 3477 h 2310802"/>
              <a:gd name="connsiteX2" fmla="*/ 4745365 w 4745365"/>
              <a:gd name="connsiteY2" fmla="*/ 2224761 h 2310802"/>
              <a:gd name="connsiteX3" fmla="*/ 4676504 w 4745365"/>
              <a:gd name="connsiteY3" fmla="*/ 2228238 h 2310802"/>
              <a:gd name="connsiteX4" fmla="*/ 4193487 w 4745365"/>
              <a:gd name="connsiteY4" fmla="*/ 2118374 h 2310802"/>
              <a:gd name="connsiteX5" fmla="*/ 4171520 w 4745365"/>
              <a:gd name="connsiteY5" fmla="*/ 2105748 h 2310802"/>
              <a:gd name="connsiteX6" fmla="*/ 4161369 w 4745365"/>
              <a:gd name="connsiteY6" fmla="*/ 2124450 h 2310802"/>
              <a:gd name="connsiteX7" fmla="*/ 4065152 w 4745365"/>
              <a:gd name="connsiteY7" fmla="*/ 2241066 h 2310802"/>
              <a:gd name="connsiteX8" fmla="*/ 3986221 w 4745365"/>
              <a:gd name="connsiteY8" fmla="*/ 2306190 h 2310802"/>
              <a:gd name="connsiteX9" fmla="*/ 3986221 w 4745365"/>
              <a:gd name="connsiteY9" fmla="*/ 2310802 h 2310802"/>
              <a:gd name="connsiteX10" fmla="*/ 0 w 4745365"/>
              <a:gd name="connsiteY10" fmla="*/ 2310802 h 2310802"/>
              <a:gd name="connsiteX11" fmla="*/ 35977 w 4745365"/>
              <a:gd name="connsiteY11" fmla="*/ 2249411 h 2310802"/>
              <a:gd name="connsiteX12" fmla="*/ 551119 w 4745365"/>
              <a:gd name="connsiteY12" fmla="*/ 1890083 h 2310802"/>
              <a:gd name="connsiteX13" fmla="*/ 575332 w 4745365"/>
              <a:gd name="connsiteY13" fmla="*/ 1748290 h 2310802"/>
              <a:gd name="connsiteX14" fmla="*/ 1504807 w 4745365"/>
              <a:gd name="connsiteY14" fmla="*/ 1035989 h 2310802"/>
              <a:gd name="connsiteX15" fmla="*/ 2335846 w 4745365"/>
              <a:gd name="connsiteY15" fmla="*/ 1575283 h 2310802"/>
              <a:gd name="connsiteX16" fmla="*/ 2387994 w 4745365"/>
              <a:gd name="connsiteY16" fmla="*/ 1743278 h 2310802"/>
              <a:gd name="connsiteX17" fmla="*/ 2726007 w 4745365"/>
              <a:gd name="connsiteY17" fmla="*/ 1743278 h 2310802"/>
              <a:gd name="connsiteX18" fmla="*/ 2720020 w 4745365"/>
              <a:gd name="connsiteY18" fmla="*/ 1683894 h 2310802"/>
              <a:gd name="connsiteX19" fmla="*/ 3507980 w 4745365"/>
              <a:gd name="connsiteY19" fmla="*/ 895934 h 2310802"/>
              <a:gd name="connsiteX20" fmla="*/ 3583993 w 4745365"/>
              <a:gd name="connsiteY20" fmla="*/ 899772 h 2310802"/>
              <a:gd name="connsiteX21" fmla="*/ 3585020 w 4745365"/>
              <a:gd name="connsiteY21" fmla="*/ 889585 h 2310802"/>
              <a:gd name="connsiteX22" fmla="*/ 4676504 w 4745365"/>
              <a:gd name="connsiteY22" fmla="*/ 0 h 2310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45365" h="2310802">
                <a:moveTo>
                  <a:pt x="4676504" y="0"/>
                </a:moveTo>
                <a:lnTo>
                  <a:pt x="4745365" y="3477"/>
                </a:lnTo>
                <a:lnTo>
                  <a:pt x="4745365" y="2224761"/>
                </a:lnTo>
                <a:lnTo>
                  <a:pt x="4676504" y="2228238"/>
                </a:lnTo>
                <a:cubicBezTo>
                  <a:pt x="4503447" y="2228238"/>
                  <a:pt x="4339607" y="2188782"/>
                  <a:pt x="4193487" y="2118374"/>
                </a:cubicBezTo>
                <a:lnTo>
                  <a:pt x="4171520" y="2105748"/>
                </a:lnTo>
                <a:lnTo>
                  <a:pt x="4161369" y="2124450"/>
                </a:lnTo>
                <a:cubicBezTo>
                  <a:pt x="4133048" y="2166370"/>
                  <a:pt x="4100800" y="2205418"/>
                  <a:pt x="4065152" y="2241066"/>
                </a:cubicBezTo>
                <a:lnTo>
                  <a:pt x="3986221" y="2306190"/>
                </a:lnTo>
                <a:lnTo>
                  <a:pt x="3986221" y="2310802"/>
                </a:lnTo>
                <a:lnTo>
                  <a:pt x="0" y="2310802"/>
                </a:lnTo>
                <a:lnTo>
                  <a:pt x="35977" y="2249411"/>
                </a:lnTo>
                <a:cubicBezTo>
                  <a:pt x="146556" y="2054967"/>
                  <a:pt x="326716" y="1890083"/>
                  <a:pt x="551119" y="1890083"/>
                </a:cubicBezTo>
                <a:cubicBezTo>
                  <a:pt x="553569" y="1819535"/>
                  <a:pt x="576031" y="1793438"/>
                  <a:pt x="575332" y="1748290"/>
                </a:cubicBezTo>
                <a:cubicBezTo>
                  <a:pt x="699055" y="1334650"/>
                  <a:pt x="1082288" y="1035078"/>
                  <a:pt x="1504807" y="1035989"/>
                </a:cubicBezTo>
                <a:cubicBezTo>
                  <a:pt x="1865747" y="1036767"/>
                  <a:pt x="2195928" y="1244481"/>
                  <a:pt x="2335846" y="1575283"/>
                </a:cubicBezTo>
                <a:lnTo>
                  <a:pt x="2387994" y="1743278"/>
                </a:lnTo>
                <a:lnTo>
                  <a:pt x="2726007" y="1743278"/>
                </a:lnTo>
                <a:lnTo>
                  <a:pt x="2720020" y="1683894"/>
                </a:lnTo>
                <a:cubicBezTo>
                  <a:pt x="2720020" y="1248716"/>
                  <a:pt x="3072802" y="895934"/>
                  <a:pt x="3507980" y="895934"/>
                </a:cubicBezTo>
                <a:lnTo>
                  <a:pt x="3583993" y="899772"/>
                </a:lnTo>
                <a:cubicBezTo>
                  <a:pt x="3584335" y="896376"/>
                  <a:pt x="3584678" y="892981"/>
                  <a:pt x="3585020" y="889585"/>
                </a:cubicBezTo>
                <a:cubicBezTo>
                  <a:pt x="3688907" y="381900"/>
                  <a:pt x="4138107" y="0"/>
                  <a:pt x="467650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7124" tIns="91416" rIns="137124" bIns="91416" rtlCol="0" anchor="ctr">
            <a:noAutofit/>
          </a:bodyP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10" name="Freeform 9">
            <a:extLst>
              <a:ext uri="{FF2B5EF4-FFF2-40B4-BE49-F238E27FC236}">
                <a16:creationId xmlns:a16="http://schemas.microsoft.com/office/drawing/2014/main" id="{A2CA057F-2159-2446-B2DE-CA6F11ED5ED4}"/>
              </a:ext>
            </a:extLst>
          </p:cNvPr>
          <p:cNvSpPr/>
          <p:nvPr userDrawn="1"/>
        </p:nvSpPr>
        <p:spPr>
          <a:xfrm>
            <a:off x="7727999" y="4675237"/>
            <a:ext cx="4461444" cy="2182765"/>
          </a:xfrm>
          <a:custGeom>
            <a:avLst/>
            <a:gdLst>
              <a:gd name="connsiteX0" fmla="*/ 4461444 w 4461444"/>
              <a:gd name="connsiteY0" fmla="*/ 0 h 2182765"/>
              <a:gd name="connsiteX1" fmla="*/ 4461444 w 4461444"/>
              <a:gd name="connsiteY1" fmla="*/ 2182765 h 2182765"/>
              <a:gd name="connsiteX2" fmla="*/ 0 w 4461444"/>
              <a:gd name="connsiteY2" fmla="*/ 2182765 h 2182765"/>
              <a:gd name="connsiteX3" fmla="*/ 24342 w 4461444"/>
              <a:gd name="connsiteY3" fmla="*/ 2153263 h 2182765"/>
              <a:gd name="connsiteX4" fmla="*/ 481037 w 4461444"/>
              <a:gd name="connsiteY4" fmla="*/ 1964093 h 2182765"/>
              <a:gd name="connsiteX5" fmla="*/ 732436 w 4461444"/>
              <a:gd name="connsiteY5" fmla="*/ 2014848 h 2182765"/>
              <a:gd name="connsiteX6" fmla="*/ 787285 w 4461444"/>
              <a:gd name="connsiteY6" fmla="*/ 2044619 h 2182765"/>
              <a:gd name="connsiteX7" fmla="*/ 809805 w 4461444"/>
              <a:gd name="connsiteY7" fmla="*/ 1961250 h 2182765"/>
              <a:gd name="connsiteX8" fmla="*/ 1286315 w 4461444"/>
              <a:gd name="connsiteY8" fmla="*/ 1550577 h 2182765"/>
              <a:gd name="connsiteX9" fmla="*/ 1321466 w 4461444"/>
              <a:gd name="connsiteY9" fmla="*/ 1547033 h 2182765"/>
              <a:gd name="connsiteX10" fmla="*/ 1323271 w 4461444"/>
              <a:gd name="connsiteY10" fmla="*/ 1529127 h 2182765"/>
              <a:gd name="connsiteX11" fmla="*/ 2205095 w 4461444"/>
              <a:gd name="connsiteY11" fmla="*/ 810420 h 2182765"/>
              <a:gd name="connsiteX12" fmla="*/ 2708356 w 4461444"/>
              <a:gd name="connsiteY12" fmla="*/ 964145 h 2182765"/>
              <a:gd name="connsiteX13" fmla="*/ 2798296 w 4461444"/>
              <a:gd name="connsiteY13" fmla="*/ 1038353 h 2182765"/>
              <a:gd name="connsiteX14" fmla="*/ 2868637 w 4461444"/>
              <a:gd name="connsiteY14" fmla="*/ 1020266 h 2182765"/>
              <a:gd name="connsiteX15" fmla="*/ 3050041 w 4461444"/>
              <a:gd name="connsiteY15" fmla="*/ 1001979 h 2182765"/>
              <a:gd name="connsiteX16" fmla="*/ 3231445 w 4461444"/>
              <a:gd name="connsiteY16" fmla="*/ 1020266 h 2182765"/>
              <a:gd name="connsiteX17" fmla="*/ 3245588 w 4461444"/>
              <a:gd name="connsiteY17" fmla="*/ 1023903 h 2182765"/>
              <a:gd name="connsiteX18" fmla="*/ 3297823 w 4461444"/>
              <a:gd name="connsiteY18" fmla="*/ 960592 h 2182765"/>
              <a:gd name="connsiteX19" fmla="*/ 3934298 w 4461444"/>
              <a:gd name="connsiteY19" fmla="*/ 696956 h 2182765"/>
              <a:gd name="connsiteX20" fmla="*/ 4115702 w 4461444"/>
              <a:gd name="connsiteY20" fmla="*/ 715243 h 2182765"/>
              <a:gd name="connsiteX21" fmla="*/ 4127211 w 4461444"/>
              <a:gd name="connsiteY21" fmla="*/ 718203 h 2182765"/>
              <a:gd name="connsiteX22" fmla="*/ 4126073 w 4461444"/>
              <a:gd name="connsiteY22" fmla="*/ 695661 h 2182765"/>
              <a:gd name="connsiteX23" fmla="*/ 4389709 w 4461444"/>
              <a:gd name="connsiteY23" fmla="*/ 59186 h 2182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461444" h="2182765">
                <a:moveTo>
                  <a:pt x="4461444" y="0"/>
                </a:moveTo>
                <a:lnTo>
                  <a:pt x="4461444" y="2182765"/>
                </a:lnTo>
                <a:lnTo>
                  <a:pt x="0" y="2182765"/>
                </a:lnTo>
                <a:lnTo>
                  <a:pt x="24342" y="2153263"/>
                </a:lnTo>
                <a:cubicBezTo>
                  <a:pt x="141221" y="2036384"/>
                  <a:pt x="302687" y="1964093"/>
                  <a:pt x="481037" y="1964093"/>
                </a:cubicBezTo>
                <a:cubicBezTo>
                  <a:pt x="570212" y="1964093"/>
                  <a:pt x="655166" y="1982166"/>
                  <a:pt x="732436" y="2014848"/>
                </a:cubicBezTo>
                <a:lnTo>
                  <a:pt x="787285" y="2044619"/>
                </a:lnTo>
                <a:lnTo>
                  <a:pt x="809805" y="1961250"/>
                </a:lnTo>
                <a:cubicBezTo>
                  <a:pt x="885867" y="1753515"/>
                  <a:pt x="1065582" y="1595745"/>
                  <a:pt x="1286315" y="1550577"/>
                </a:cubicBezTo>
                <a:lnTo>
                  <a:pt x="1321466" y="1547033"/>
                </a:lnTo>
                <a:lnTo>
                  <a:pt x="1323271" y="1529127"/>
                </a:lnTo>
                <a:cubicBezTo>
                  <a:pt x="1407203" y="1118962"/>
                  <a:pt x="1770117" y="810420"/>
                  <a:pt x="2205095" y="810420"/>
                </a:cubicBezTo>
                <a:cubicBezTo>
                  <a:pt x="2391514" y="810420"/>
                  <a:pt x="2564697" y="867091"/>
                  <a:pt x="2708356" y="964145"/>
                </a:cubicBezTo>
                <a:lnTo>
                  <a:pt x="2798296" y="1038353"/>
                </a:lnTo>
                <a:lnTo>
                  <a:pt x="2868637" y="1020266"/>
                </a:lnTo>
                <a:cubicBezTo>
                  <a:pt x="2927232" y="1008276"/>
                  <a:pt x="2987901" y="1001979"/>
                  <a:pt x="3050041" y="1001979"/>
                </a:cubicBezTo>
                <a:cubicBezTo>
                  <a:pt x="3112181" y="1001979"/>
                  <a:pt x="3172850" y="1008276"/>
                  <a:pt x="3231445" y="1020266"/>
                </a:cubicBezTo>
                <a:lnTo>
                  <a:pt x="3245588" y="1023903"/>
                </a:lnTo>
                <a:lnTo>
                  <a:pt x="3297823" y="960592"/>
                </a:lnTo>
                <a:cubicBezTo>
                  <a:pt x="3460711" y="797704"/>
                  <a:pt x="3685739" y="696956"/>
                  <a:pt x="3934298" y="696956"/>
                </a:cubicBezTo>
                <a:cubicBezTo>
                  <a:pt x="3996438" y="696956"/>
                  <a:pt x="4057107" y="703253"/>
                  <a:pt x="4115702" y="715243"/>
                </a:cubicBezTo>
                <a:lnTo>
                  <a:pt x="4127211" y="718203"/>
                </a:lnTo>
                <a:lnTo>
                  <a:pt x="4126073" y="695661"/>
                </a:lnTo>
                <a:cubicBezTo>
                  <a:pt x="4126073" y="447102"/>
                  <a:pt x="4226821" y="222074"/>
                  <a:pt x="4389709" y="59186"/>
                </a:cubicBezTo>
                <a:close/>
              </a:path>
            </a:pathLst>
          </a:custGeom>
          <a:solidFill>
            <a:schemeClr val="bg1"/>
          </a:solidFill>
          <a:ln>
            <a:noFill/>
          </a:ln>
          <a:effectLst>
            <a:outerShdw blurRad="279400" dist="76200" dir="13800000"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37124" tIns="91416" rIns="137124" bIns="91416" rtlCol="0" anchor="ctr">
            <a:noAutofit/>
          </a:bodyPr>
          <a:lstStyle/>
          <a:p>
            <a:pPr lvl="0"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8" name="Text Placeholder 23"/>
          <p:cNvSpPr>
            <a:spLocks noGrp="1"/>
          </p:cNvSpPr>
          <p:nvPr>
            <p:ph type="body" sz="quarter" idx="11"/>
          </p:nvPr>
        </p:nvSpPr>
        <p:spPr>
          <a:xfrm>
            <a:off x="1027112" y="2330050"/>
            <a:ext cx="8856475" cy="1292860"/>
          </a:xfrm>
          <a:prstGeom prst="rect">
            <a:avLst/>
          </a:prstGeom>
        </p:spPr>
        <p:txBody>
          <a:bodyPr anchor="b"/>
          <a:lstStyle>
            <a:lvl1pPr marL="0" indent="0">
              <a:buNone/>
              <a:defRPr sz="4799" b="0" i="0">
                <a:solidFill>
                  <a:schemeClr val="bg1"/>
                </a:solidFill>
                <a:latin typeface="+mj-lt"/>
                <a:ea typeface="Roboto Light" panose="02000000000000000000" pitchFamily="2" charset="0"/>
                <a:cs typeface="Roboto Light" panose="02000000000000000000" pitchFamily="2" charset="0"/>
              </a:defRPr>
            </a:lvl1pPr>
            <a:lvl2pPr marL="456971" indent="0">
              <a:buNone/>
              <a:defRPr/>
            </a:lvl2pPr>
            <a:lvl3pPr marL="913943" indent="0">
              <a:buNone/>
              <a:defRPr/>
            </a:lvl3pPr>
            <a:lvl4pPr marL="1370915" indent="0">
              <a:buNone/>
              <a:defRPr/>
            </a:lvl4pPr>
            <a:lvl5pPr marL="1827886" indent="0">
              <a:buNone/>
              <a:defRPr/>
            </a:lvl5pPr>
          </a:lstStyle>
          <a:p>
            <a:pPr lvl="0"/>
            <a:endParaRPr lang="en-US"/>
          </a:p>
        </p:txBody>
      </p:sp>
      <p:sp>
        <p:nvSpPr>
          <p:cNvPr id="6" name="Text Placeholder 27">
            <a:extLst>
              <a:ext uri="{FF2B5EF4-FFF2-40B4-BE49-F238E27FC236}">
                <a16:creationId xmlns:a16="http://schemas.microsoft.com/office/drawing/2014/main" id="{6D464F48-702C-470A-84C0-4DE06B9EE062}"/>
              </a:ext>
            </a:extLst>
          </p:cNvPr>
          <p:cNvSpPr>
            <a:spLocks noGrp="1"/>
          </p:cNvSpPr>
          <p:nvPr>
            <p:ph type="body" sz="quarter" idx="13"/>
          </p:nvPr>
        </p:nvSpPr>
        <p:spPr bwMode="gray">
          <a:xfrm>
            <a:off x="1141413" y="3677777"/>
            <a:ext cx="6045771" cy="475487"/>
          </a:xfrm>
          <a:prstGeom prst="rect">
            <a:avLst/>
          </a:prstGeom>
        </p:spPr>
        <p:txBody>
          <a:bodyPr vert="horz" lIns="0" tIns="0" rIns="0" bIns="0" rtlCol="0">
            <a:noAutofit/>
          </a:bodyPr>
          <a:lstStyle>
            <a:lvl1pPr marL="0" indent="0">
              <a:buNone/>
              <a:defRPr lang="en-US" sz="2799" i="0" baseline="0" dirty="0">
                <a:solidFill>
                  <a:schemeClr val="bg1"/>
                </a:solidFill>
                <a:latin typeface="Roboto Light" panose="02000000000000000000" pitchFamily="2" charset="0"/>
                <a:ea typeface="Roboto Light" panose="02000000000000000000" pitchFamily="2" charset="0"/>
                <a:cs typeface="Roboto Light" panose="02000000000000000000" pitchFamily="2" charset="0"/>
              </a:defRPr>
            </a:lvl1pPr>
          </a:lstStyle>
          <a:p>
            <a:pPr marL="172986" lvl="0" indent="-172986"/>
            <a:endParaRPr lang="en-US"/>
          </a:p>
        </p:txBody>
      </p:sp>
      <p:pic>
        <p:nvPicPr>
          <p:cNvPr id="14" name="Picture 13">
            <a:extLst>
              <a:ext uri="{FF2B5EF4-FFF2-40B4-BE49-F238E27FC236}">
                <a16:creationId xmlns:a16="http://schemas.microsoft.com/office/drawing/2014/main" id="{BFAF711D-501A-4582-91C7-27EE8809BC53}"/>
              </a:ext>
            </a:extLst>
          </p:cNvPr>
          <p:cNvPicPr>
            <a:picLocks noChangeAspect="1"/>
          </p:cNvPicPr>
          <p:nvPr userDrawn="1"/>
        </p:nvPicPr>
        <p:blipFill>
          <a:blip r:embed="rId3"/>
          <a:stretch>
            <a:fillRect/>
          </a:stretch>
        </p:blipFill>
        <p:spPr>
          <a:xfrm>
            <a:off x="9743687" y="6098796"/>
            <a:ext cx="2040934" cy="699990"/>
          </a:xfrm>
          <a:prstGeom prst="rect">
            <a:avLst/>
          </a:prstGeom>
        </p:spPr>
      </p:pic>
    </p:spTree>
    <p:extLst>
      <p:ext uri="{BB962C8B-B14F-4D97-AF65-F5344CB8AC3E}">
        <p14:creationId xmlns:p14="http://schemas.microsoft.com/office/powerpoint/2010/main" val="3035995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65">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Subtitle ORANGE 2">
    <p:bg>
      <p:bgPr>
        <a:solidFill>
          <a:schemeClr val="accent2"/>
        </a:solidFill>
        <a:effectLst/>
      </p:bgPr>
    </p:bg>
    <p:spTree>
      <p:nvGrpSpPr>
        <p:cNvPr id="1" name=""/>
        <p:cNvGrpSpPr/>
        <p:nvPr/>
      </p:nvGrpSpPr>
      <p:grpSpPr>
        <a:xfrm>
          <a:off x="0" y="0"/>
          <a:ext cx="0" cy="0"/>
          <a:chOff x="0" y="0"/>
          <a:chExt cx="0" cy="0"/>
        </a:xfrm>
      </p:grpSpPr>
      <p:sp>
        <p:nvSpPr>
          <p:cNvPr id="7" name="Right Triangle 6">
            <a:extLst>
              <a:ext uri="{FF2B5EF4-FFF2-40B4-BE49-F238E27FC236}">
                <a16:creationId xmlns:a16="http://schemas.microsoft.com/office/drawing/2014/main" id="{287E6045-1D65-C348-B1AC-354A7E898359}"/>
              </a:ext>
            </a:extLst>
          </p:cNvPr>
          <p:cNvSpPr/>
          <p:nvPr userDrawn="1"/>
        </p:nvSpPr>
        <p:spPr>
          <a:xfrm rot="5400000" flipH="1">
            <a:off x="3831485" y="912772"/>
            <a:ext cx="2123832" cy="9786801"/>
          </a:xfrm>
          <a:prstGeom prst="rtTriangle">
            <a:avLst/>
          </a:prstGeom>
          <a:solidFill>
            <a:srgbClr val="FF8A1A"/>
          </a:solidFill>
          <a:ln>
            <a:noFill/>
          </a:ln>
        </p:spPr>
        <p:style>
          <a:lnRef idx="2">
            <a:schemeClr val="accent1">
              <a:shade val="50000"/>
            </a:schemeClr>
          </a:lnRef>
          <a:fillRef idx="1">
            <a:schemeClr val="accent1"/>
          </a:fillRef>
          <a:effectRef idx="0">
            <a:schemeClr val="accent1"/>
          </a:effectRef>
          <a:fontRef idx="minor">
            <a:schemeClr val="lt1"/>
          </a:fontRef>
        </p:style>
        <p:txBody>
          <a:bodyPr lIns="137124" tIns="91416" rIns="137124" bIns="91416" rtlCol="0" anchor="ct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95" name="Title 1">
            <a:extLst>
              <a:ext uri="{FF2B5EF4-FFF2-40B4-BE49-F238E27FC236}">
                <a16:creationId xmlns:a16="http://schemas.microsoft.com/office/drawing/2014/main" id="{48E5717B-9E58-49D2-9749-1479F91EEFDC}"/>
              </a:ext>
            </a:extLst>
          </p:cNvPr>
          <p:cNvSpPr>
            <a:spLocks noGrp="1"/>
          </p:cNvSpPr>
          <p:nvPr userDrawn="1">
            <p:ph type="title" hasCustomPrompt="1"/>
          </p:nvPr>
        </p:nvSpPr>
        <p:spPr>
          <a:xfrm>
            <a:off x="488951" y="482604"/>
            <a:ext cx="9670033" cy="562427"/>
          </a:xfrm>
          <a:prstGeom prst="rect">
            <a:avLst/>
          </a:prstGeom>
        </p:spPr>
        <p:txBody>
          <a:bodyPr lIns="0"/>
          <a:lstStyle>
            <a:lvl1pPr>
              <a:defRPr baseline="0">
                <a:solidFill>
                  <a:schemeClr val="bg1"/>
                </a:solidFill>
              </a:defRPr>
            </a:lvl1pPr>
          </a:lstStyle>
          <a:p>
            <a:r>
              <a:rPr lang="en-US"/>
              <a:t>Roboto Light, 36 Points, 1 Line</a:t>
            </a:r>
          </a:p>
        </p:txBody>
      </p:sp>
      <p:sp>
        <p:nvSpPr>
          <p:cNvPr id="2" name="TextBox 1">
            <a:extLst>
              <a:ext uri="{FF2B5EF4-FFF2-40B4-BE49-F238E27FC236}">
                <a16:creationId xmlns:a16="http://schemas.microsoft.com/office/drawing/2014/main" id="{9AC38ECF-A1CC-43FD-9E95-4F7D1897BA7B}"/>
              </a:ext>
            </a:extLst>
          </p:cNvPr>
          <p:cNvSpPr txBox="1"/>
          <p:nvPr userDrawn="1"/>
        </p:nvSpPr>
        <p:spPr>
          <a:xfrm>
            <a:off x="176868" y="6365108"/>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063" rtl="0" eaLnBrk="1" latinLnBrk="0" hangingPunct="1"/>
            <a:fld id="{64202F7F-356F-46E2-8791-88745C87F5D9}" type="slidenum">
              <a:rPr lang="en-US" sz="900" b="0" i="0" kern="1200" smtClean="0">
                <a:solidFill>
                  <a:schemeClr val="bg1"/>
                </a:solidFill>
                <a:latin typeface="Roboto" panose="02000000000000000000" pitchFamily="2" charset="0"/>
                <a:ea typeface="Roboto" panose="02000000000000000000" pitchFamily="2" charset="0"/>
                <a:cs typeface="Roboto" charset="0"/>
              </a:rPr>
              <a:pPr marL="0" lvl="0" algn="ctr" defTabSz="457063" rtl="0" eaLnBrk="1" latinLnBrk="0" hangingPunct="1"/>
              <a:t>‹#›</a:t>
            </a:fld>
            <a:endParaRPr lang="en-US" sz="900" b="0" i="0" kern="1200">
              <a:solidFill>
                <a:schemeClr val="bg1"/>
              </a:solidFill>
              <a:latin typeface="Roboto" panose="02000000000000000000" pitchFamily="2" charset="0"/>
              <a:ea typeface="Roboto" panose="02000000000000000000" pitchFamily="2" charset="0"/>
              <a:cs typeface="Roboto" charset="0"/>
            </a:endParaRPr>
          </a:p>
        </p:txBody>
      </p:sp>
      <p:sp>
        <p:nvSpPr>
          <p:cNvPr id="6" name="TextBox 5">
            <a:extLst>
              <a:ext uri="{FF2B5EF4-FFF2-40B4-BE49-F238E27FC236}">
                <a16:creationId xmlns:a16="http://schemas.microsoft.com/office/drawing/2014/main" id="{52025EE9-C26E-4F56-B597-3021BADF9185}"/>
              </a:ext>
            </a:extLst>
          </p:cNvPr>
          <p:cNvSpPr txBox="1"/>
          <p:nvPr userDrawn="1"/>
        </p:nvSpPr>
        <p:spPr>
          <a:xfrm>
            <a:off x="1023709"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a:solidFill>
                  <a:schemeClr val="bg1"/>
                </a:solidFill>
                <a:latin typeface="Roboto" panose="02000000000000000000" pitchFamily="2" charset="0"/>
                <a:ea typeface="Roboto" panose="02000000000000000000" pitchFamily="2" charset="0"/>
                <a:cs typeface="Roboto" charset="0"/>
              </a:rPr>
              <a:t>© Informatica. Proprietary and Confidential.</a:t>
            </a:r>
          </a:p>
        </p:txBody>
      </p:sp>
      <p:sp>
        <p:nvSpPr>
          <p:cNvPr id="8" name="Freeform 7">
            <a:extLst>
              <a:ext uri="{FF2B5EF4-FFF2-40B4-BE49-F238E27FC236}">
                <a16:creationId xmlns:a16="http://schemas.microsoft.com/office/drawing/2014/main" id="{CB2EA786-1118-C74E-A526-A88743A4B94F}"/>
              </a:ext>
            </a:extLst>
          </p:cNvPr>
          <p:cNvSpPr/>
          <p:nvPr userDrawn="1"/>
        </p:nvSpPr>
        <p:spPr>
          <a:xfrm>
            <a:off x="7407017" y="4547198"/>
            <a:ext cx="4785372" cy="2310802"/>
          </a:xfrm>
          <a:custGeom>
            <a:avLst/>
            <a:gdLst>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16268 w 4717029"/>
              <a:gd name="connsiteY12" fmla="*/ 1924881 h 2310802"/>
              <a:gd name="connsiteX13" fmla="*/ 537304 w 4717029"/>
              <a:gd name="connsiteY13" fmla="*/ 1927002 h 2310802"/>
              <a:gd name="connsiteX14" fmla="*/ 555320 w 4717029"/>
              <a:gd name="connsiteY14" fmla="*/ 1748290 h 2310802"/>
              <a:gd name="connsiteX15" fmla="*/ 1458267 w 4717029"/>
              <a:gd name="connsiteY15" fmla="*/ 1012367 h 2310802"/>
              <a:gd name="connsiteX16" fmla="*/ 2307510 w 4717029"/>
              <a:gd name="connsiteY16" fmla="*/ 1575283 h 2310802"/>
              <a:gd name="connsiteX17" fmla="*/ 2359658 w 4717029"/>
              <a:gd name="connsiteY17" fmla="*/ 1743278 h 2310802"/>
              <a:gd name="connsiteX18" fmla="*/ 2697671 w 4717029"/>
              <a:gd name="connsiteY18" fmla="*/ 1743278 h 2310802"/>
              <a:gd name="connsiteX19" fmla="*/ 2691684 w 4717029"/>
              <a:gd name="connsiteY19" fmla="*/ 1683894 h 2310802"/>
              <a:gd name="connsiteX20" fmla="*/ 3479644 w 4717029"/>
              <a:gd name="connsiteY20" fmla="*/ 895934 h 2310802"/>
              <a:gd name="connsiteX21" fmla="*/ 3555657 w 4717029"/>
              <a:gd name="connsiteY21" fmla="*/ 899772 h 2310802"/>
              <a:gd name="connsiteX22" fmla="*/ 3556684 w 4717029"/>
              <a:gd name="connsiteY22" fmla="*/ 889585 h 2310802"/>
              <a:gd name="connsiteX23" fmla="*/ 4648168 w 4717029"/>
              <a:gd name="connsiteY23"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16268 w 4717029"/>
              <a:gd name="connsiteY12" fmla="*/ 1924881 h 2310802"/>
              <a:gd name="connsiteX13" fmla="*/ 555320 w 4717029"/>
              <a:gd name="connsiteY13" fmla="*/ 1748290 h 2310802"/>
              <a:gd name="connsiteX14" fmla="*/ 1458267 w 4717029"/>
              <a:gd name="connsiteY14" fmla="*/ 1012367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55320 w 4717029"/>
              <a:gd name="connsiteY13" fmla="*/ 1748290 h 2310802"/>
              <a:gd name="connsiteX14" fmla="*/ 1458267 w 4717029"/>
              <a:gd name="connsiteY14" fmla="*/ 1012367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55320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55320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55320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73608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73608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73608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479620 w 4717029"/>
              <a:gd name="connsiteY14" fmla="*/ 1020114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6903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76504 w 4745365"/>
              <a:gd name="connsiteY0" fmla="*/ 0 h 2310802"/>
              <a:gd name="connsiteX1" fmla="*/ 4745365 w 4745365"/>
              <a:gd name="connsiteY1" fmla="*/ 3477 h 2310802"/>
              <a:gd name="connsiteX2" fmla="*/ 4745365 w 4745365"/>
              <a:gd name="connsiteY2" fmla="*/ 2224761 h 2310802"/>
              <a:gd name="connsiteX3" fmla="*/ 4676504 w 4745365"/>
              <a:gd name="connsiteY3" fmla="*/ 2228238 h 2310802"/>
              <a:gd name="connsiteX4" fmla="*/ 4193487 w 4745365"/>
              <a:gd name="connsiteY4" fmla="*/ 2118374 h 2310802"/>
              <a:gd name="connsiteX5" fmla="*/ 4171520 w 4745365"/>
              <a:gd name="connsiteY5" fmla="*/ 2105748 h 2310802"/>
              <a:gd name="connsiteX6" fmla="*/ 4161369 w 4745365"/>
              <a:gd name="connsiteY6" fmla="*/ 2124450 h 2310802"/>
              <a:gd name="connsiteX7" fmla="*/ 4065152 w 4745365"/>
              <a:gd name="connsiteY7" fmla="*/ 2241066 h 2310802"/>
              <a:gd name="connsiteX8" fmla="*/ 3986221 w 4745365"/>
              <a:gd name="connsiteY8" fmla="*/ 2306190 h 2310802"/>
              <a:gd name="connsiteX9" fmla="*/ 3986221 w 4745365"/>
              <a:gd name="connsiteY9" fmla="*/ 2310802 h 2310802"/>
              <a:gd name="connsiteX10" fmla="*/ 0 w 4745365"/>
              <a:gd name="connsiteY10" fmla="*/ 2310802 h 2310802"/>
              <a:gd name="connsiteX11" fmla="*/ 45422 w 4745365"/>
              <a:gd name="connsiteY11" fmla="*/ 2255761 h 2310802"/>
              <a:gd name="connsiteX12" fmla="*/ 551119 w 4745365"/>
              <a:gd name="connsiteY12" fmla="*/ 1890083 h 2310802"/>
              <a:gd name="connsiteX13" fmla="*/ 575332 w 4745365"/>
              <a:gd name="connsiteY13" fmla="*/ 1748290 h 2310802"/>
              <a:gd name="connsiteX14" fmla="*/ 1504807 w 4745365"/>
              <a:gd name="connsiteY14" fmla="*/ 1035989 h 2310802"/>
              <a:gd name="connsiteX15" fmla="*/ 2335846 w 4745365"/>
              <a:gd name="connsiteY15" fmla="*/ 1575283 h 2310802"/>
              <a:gd name="connsiteX16" fmla="*/ 2387994 w 4745365"/>
              <a:gd name="connsiteY16" fmla="*/ 1743278 h 2310802"/>
              <a:gd name="connsiteX17" fmla="*/ 2726007 w 4745365"/>
              <a:gd name="connsiteY17" fmla="*/ 1743278 h 2310802"/>
              <a:gd name="connsiteX18" fmla="*/ 2720020 w 4745365"/>
              <a:gd name="connsiteY18" fmla="*/ 1683894 h 2310802"/>
              <a:gd name="connsiteX19" fmla="*/ 3507980 w 4745365"/>
              <a:gd name="connsiteY19" fmla="*/ 895934 h 2310802"/>
              <a:gd name="connsiteX20" fmla="*/ 3583993 w 4745365"/>
              <a:gd name="connsiteY20" fmla="*/ 899772 h 2310802"/>
              <a:gd name="connsiteX21" fmla="*/ 3585020 w 4745365"/>
              <a:gd name="connsiteY21" fmla="*/ 889585 h 2310802"/>
              <a:gd name="connsiteX22" fmla="*/ 4676504 w 4745365"/>
              <a:gd name="connsiteY22" fmla="*/ 0 h 2310802"/>
              <a:gd name="connsiteX0" fmla="*/ 4676504 w 4745365"/>
              <a:gd name="connsiteY0" fmla="*/ 0 h 2310802"/>
              <a:gd name="connsiteX1" fmla="*/ 4745365 w 4745365"/>
              <a:gd name="connsiteY1" fmla="*/ 3477 h 2310802"/>
              <a:gd name="connsiteX2" fmla="*/ 4745365 w 4745365"/>
              <a:gd name="connsiteY2" fmla="*/ 2224761 h 2310802"/>
              <a:gd name="connsiteX3" fmla="*/ 4676504 w 4745365"/>
              <a:gd name="connsiteY3" fmla="*/ 2228238 h 2310802"/>
              <a:gd name="connsiteX4" fmla="*/ 4193487 w 4745365"/>
              <a:gd name="connsiteY4" fmla="*/ 2118374 h 2310802"/>
              <a:gd name="connsiteX5" fmla="*/ 4171520 w 4745365"/>
              <a:gd name="connsiteY5" fmla="*/ 2105748 h 2310802"/>
              <a:gd name="connsiteX6" fmla="*/ 4161369 w 4745365"/>
              <a:gd name="connsiteY6" fmla="*/ 2124450 h 2310802"/>
              <a:gd name="connsiteX7" fmla="*/ 4065152 w 4745365"/>
              <a:gd name="connsiteY7" fmla="*/ 2241066 h 2310802"/>
              <a:gd name="connsiteX8" fmla="*/ 3986221 w 4745365"/>
              <a:gd name="connsiteY8" fmla="*/ 2306190 h 2310802"/>
              <a:gd name="connsiteX9" fmla="*/ 3986221 w 4745365"/>
              <a:gd name="connsiteY9" fmla="*/ 2310802 h 2310802"/>
              <a:gd name="connsiteX10" fmla="*/ 0 w 4745365"/>
              <a:gd name="connsiteY10" fmla="*/ 2310802 h 2310802"/>
              <a:gd name="connsiteX11" fmla="*/ 35977 w 4745365"/>
              <a:gd name="connsiteY11" fmla="*/ 2249411 h 2310802"/>
              <a:gd name="connsiteX12" fmla="*/ 551119 w 4745365"/>
              <a:gd name="connsiteY12" fmla="*/ 1890083 h 2310802"/>
              <a:gd name="connsiteX13" fmla="*/ 575332 w 4745365"/>
              <a:gd name="connsiteY13" fmla="*/ 1748290 h 2310802"/>
              <a:gd name="connsiteX14" fmla="*/ 1504807 w 4745365"/>
              <a:gd name="connsiteY14" fmla="*/ 1035989 h 2310802"/>
              <a:gd name="connsiteX15" fmla="*/ 2335846 w 4745365"/>
              <a:gd name="connsiteY15" fmla="*/ 1575283 h 2310802"/>
              <a:gd name="connsiteX16" fmla="*/ 2387994 w 4745365"/>
              <a:gd name="connsiteY16" fmla="*/ 1743278 h 2310802"/>
              <a:gd name="connsiteX17" fmla="*/ 2726007 w 4745365"/>
              <a:gd name="connsiteY17" fmla="*/ 1743278 h 2310802"/>
              <a:gd name="connsiteX18" fmla="*/ 2720020 w 4745365"/>
              <a:gd name="connsiteY18" fmla="*/ 1683894 h 2310802"/>
              <a:gd name="connsiteX19" fmla="*/ 3507980 w 4745365"/>
              <a:gd name="connsiteY19" fmla="*/ 895934 h 2310802"/>
              <a:gd name="connsiteX20" fmla="*/ 3583993 w 4745365"/>
              <a:gd name="connsiteY20" fmla="*/ 899772 h 2310802"/>
              <a:gd name="connsiteX21" fmla="*/ 3585020 w 4745365"/>
              <a:gd name="connsiteY21" fmla="*/ 889585 h 2310802"/>
              <a:gd name="connsiteX22" fmla="*/ 4676504 w 4745365"/>
              <a:gd name="connsiteY22" fmla="*/ 0 h 2310802"/>
              <a:gd name="connsiteX0" fmla="*/ 4676504 w 4745365"/>
              <a:gd name="connsiteY0" fmla="*/ 0 h 2310802"/>
              <a:gd name="connsiteX1" fmla="*/ 4745365 w 4745365"/>
              <a:gd name="connsiteY1" fmla="*/ 3477 h 2310802"/>
              <a:gd name="connsiteX2" fmla="*/ 4745365 w 4745365"/>
              <a:gd name="connsiteY2" fmla="*/ 2224761 h 2310802"/>
              <a:gd name="connsiteX3" fmla="*/ 4676504 w 4745365"/>
              <a:gd name="connsiteY3" fmla="*/ 2228238 h 2310802"/>
              <a:gd name="connsiteX4" fmla="*/ 4193487 w 4745365"/>
              <a:gd name="connsiteY4" fmla="*/ 2118374 h 2310802"/>
              <a:gd name="connsiteX5" fmla="*/ 4171520 w 4745365"/>
              <a:gd name="connsiteY5" fmla="*/ 2105748 h 2310802"/>
              <a:gd name="connsiteX6" fmla="*/ 4161369 w 4745365"/>
              <a:gd name="connsiteY6" fmla="*/ 2124450 h 2310802"/>
              <a:gd name="connsiteX7" fmla="*/ 4065152 w 4745365"/>
              <a:gd name="connsiteY7" fmla="*/ 2241066 h 2310802"/>
              <a:gd name="connsiteX8" fmla="*/ 3986221 w 4745365"/>
              <a:gd name="connsiteY8" fmla="*/ 2306190 h 2310802"/>
              <a:gd name="connsiteX9" fmla="*/ 3986221 w 4745365"/>
              <a:gd name="connsiteY9" fmla="*/ 2310802 h 2310802"/>
              <a:gd name="connsiteX10" fmla="*/ 0 w 4745365"/>
              <a:gd name="connsiteY10" fmla="*/ 2310802 h 2310802"/>
              <a:gd name="connsiteX11" fmla="*/ 35977 w 4745365"/>
              <a:gd name="connsiteY11" fmla="*/ 2249411 h 2310802"/>
              <a:gd name="connsiteX12" fmla="*/ 551119 w 4745365"/>
              <a:gd name="connsiteY12" fmla="*/ 1890083 h 2310802"/>
              <a:gd name="connsiteX13" fmla="*/ 575332 w 4745365"/>
              <a:gd name="connsiteY13" fmla="*/ 1748290 h 2310802"/>
              <a:gd name="connsiteX14" fmla="*/ 1504807 w 4745365"/>
              <a:gd name="connsiteY14" fmla="*/ 1035989 h 2310802"/>
              <a:gd name="connsiteX15" fmla="*/ 2335846 w 4745365"/>
              <a:gd name="connsiteY15" fmla="*/ 1575283 h 2310802"/>
              <a:gd name="connsiteX16" fmla="*/ 2387994 w 4745365"/>
              <a:gd name="connsiteY16" fmla="*/ 1743278 h 2310802"/>
              <a:gd name="connsiteX17" fmla="*/ 2726007 w 4745365"/>
              <a:gd name="connsiteY17" fmla="*/ 1743278 h 2310802"/>
              <a:gd name="connsiteX18" fmla="*/ 2720020 w 4745365"/>
              <a:gd name="connsiteY18" fmla="*/ 1683894 h 2310802"/>
              <a:gd name="connsiteX19" fmla="*/ 3507980 w 4745365"/>
              <a:gd name="connsiteY19" fmla="*/ 895934 h 2310802"/>
              <a:gd name="connsiteX20" fmla="*/ 3583993 w 4745365"/>
              <a:gd name="connsiteY20" fmla="*/ 899772 h 2310802"/>
              <a:gd name="connsiteX21" fmla="*/ 3585020 w 4745365"/>
              <a:gd name="connsiteY21" fmla="*/ 889585 h 2310802"/>
              <a:gd name="connsiteX22" fmla="*/ 4676504 w 4745365"/>
              <a:gd name="connsiteY22" fmla="*/ 0 h 2310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45365" h="2310802">
                <a:moveTo>
                  <a:pt x="4676504" y="0"/>
                </a:moveTo>
                <a:lnTo>
                  <a:pt x="4745365" y="3477"/>
                </a:lnTo>
                <a:lnTo>
                  <a:pt x="4745365" y="2224761"/>
                </a:lnTo>
                <a:lnTo>
                  <a:pt x="4676504" y="2228238"/>
                </a:lnTo>
                <a:cubicBezTo>
                  <a:pt x="4503447" y="2228238"/>
                  <a:pt x="4339607" y="2188782"/>
                  <a:pt x="4193487" y="2118374"/>
                </a:cubicBezTo>
                <a:lnTo>
                  <a:pt x="4171520" y="2105748"/>
                </a:lnTo>
                <a:lnTo>
                  <a:pt x="4161369" y="2124450"/>
                </a:lnTo>
                <a:cubicBezTo>
                  <a:pt x="4133048" y="2166370"/>
                  <a:pt x="4100800" y="2205418"/>
                  <a:pt x="4065152" y="2241066"/>
                </a:cubicBezTo>
                <a:lnTo>
                  <a:pt x="3986221" y="2306190"/>
                </a:lnTo>
                <a:lnTo>
                  <a:pt x="3986221" y="2310802"/>
                </a:lnTo>
                <a:lnTo>
                  <a:pt x="0" y="2310802"/>
                </a:lnTo>
                <a:lnTo>
                  <a:pt x="35977" y="2249411"/>
                </a:lnTo>
                <a:cubicBezTo>
                  <a:pt x="146556" y="2054967"/>
                  <a:pt x="326716" y="1890083"/>
                  <a:pt x="551119" y="1890083"/>
                </a:cubicBezTo>
                <a:cubicBezTo>
                  <a:pt x="553569" y="1819535"/>
                  <a:pt x="576031" y="1793438"/>
                  <a:pt x="575332" y="1748290"/>
                </a:cubicBezTo>
                <a:cubicBezTo>
                  <a:pt x="699055" y="1334650"/>
                  <a:pt x="1082288" y="1035078"/>
                  <a:pt x="1504807" y="1035989"/>
                </a:cubicBezTo>
                <a:cubicBezTo>
                  <a:pt x="1865747" y="1036767"/>
                  <a:pt x="2195928" y="1244481"/>
                  <a:pt x="2335846" y="1575283"/>
                </a:cubicBezTo>
                <a:lnTo>
                  <a:pt x="2387994" y="1743278"/>
                </a:lnTo>
                <a:lnTo>
                  <a:pt x="2726007" y="1743278"/>
                </a:lnTo>
                <a:lnTo>
                  <a:pt x="2720020" y="1683894"/>
                </a:lnTo>
                <a:cubicBezTo>
                  <a:pt x="2720020" y="1248716"/>
                  <a:pt x="3072802" y="895934"/>
                  <a:pt x="3507980" y="895934"/>
                </a:cubicBezTo>
                <a:lnTo>
                  <a:pt x="3583993" y="899772"/>
                </a:lnTo>
                <a:cubicBezTo>
                  <a:pt x="3584335" y="896376"/>
                  <a:pt x="3584678" y="892981"/>
                  <a:pt x="3585020" y="889585"/>
                </a:cubicBezTo>
                <a:cubicBezTo>
                  <a:pt x="3688907" y="381900"/>
                  <a:pt x="4138107" y="0"/>
                  <a:pt x="467650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7124" tIns="91416" rIns="137124" bIns="91416" rtlCol="0" anchor="ctr">
            <a:noAutofit/>
          </a:bodyP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9" name="Freeform 8">
            <a:extLst>
              <a:ext uri="{FF2B5EF4-FFF2-40B4-BE49-F238E27FC236}">
                <a16:creationId xmlns:a16="http://schemas.microsoft.com/office/drawing/2014/main" id="{8338EAD2-8F74-B741-8D85-76ADB5632AE4}"/>
              </a:ext>
            </a:extLst>
          </p:cNvPr>
          <p:cNvSpPr/>
          <p:nvPr userDrawn="1"/>
        </p:nvSpPr>
        <p:spPr>
          <a:xfrm>
            <a:off x="7727999" y="4675237"/>
            <a:ext cx="4461444" cy="2182765"/>
          </a:xfrm>
          <a:custGeom>
            <a:avLst/>
            <a:gdLst>
              <a:gd name="connsiteX0" fmla="*/ 4461444 w 4461444"/>
              <a:gd name="connsiteY0" fmla="*/ 0 h 2182765"/>
              <a:gd name="connsiteX1" fmla="*/ 4461444 w 4461444"/>
              <a:gd name="connsiteY1" fmla="*/ 2182765 h 2182765"/>
              <a:gd name="connsiteX2" fmla="*/ 0 w 4461444"/>
              <a:gd name="connsiteY2" fmla="*/ 2182765 h 2182765"/>
              <a:gd name="connsiteX3" fmla="*/ 24342 w 4461444"/>
              <a:gd name="connsiteY3" fmla="*/ 2153263 h 2182765"/>
              <a:gd name="connsiteX4" fmla="*/ 481037 w 4461444"/>
              <a:gd name="connsiteY4" fmla="*/ 1964093 h 2182765"/>
              <a:gd name="connsiteX5" fmla="*/ 732436 w 4461444"/>
              <a:gd name="connsiteY5" fmla="*/ 2014848 h 2182765"/>
              <a:gd name="connsiteX6" fmla="*/ 787285 w 4461444"/>
              <a:gd name="connsiteY6" fmla="*/ 2044619 h 2182765"/>
              <a:gd name="connsiteX7" fmla="*/ 809805 w 4461444"/>
              <a:gd name="connsiteY7" fmla="*/ 1961250 h 2182765"/>
              <a:gd name="connsiteX8" fmla="*/ 1286315 w 4461444"/>
              <a:gd name="connsiteY8" fmla="*/ 1550577 h 2182765"/>
              <a:gd name="connsiteX9" fmla="*/ 1321466 w 4461444"/>
              <a:gd name="connsiteY9" fmla="*/ 1547033 h 2182765"/>
              <a:gd name="connsiteX10" fmla="*/ 1323271 w 4461444"/>
              <a:gd name="connsiteY10" fmla="*/ 1529127 h 2182765"/>
              <a:gd name="connsiteX11" fmla="*/ 2205095 w 4461444"/>
              <a:gd name="connsiteY11" fmla="*/ 810420 h 2182765"/>
              <a:gd name="connsiteX12" fmla="*/ 2708356 w 4461444"/>
              <a:gd name="connsiteY12" fmla="*/ 964145 h 2182765"/>
              <a:gd name="connsiteX13" fmla="*/ 2798296 w 4461444"/>
              <a:gd name="connsiteY13" fmla="*/ 1038353 h 2182765"/>
              <a:gd name="connsiteX14" fmla="*/ 2868637 w 4461444"/>
              <a:gd name="connsiteY14" fmla="*/ 1020266 h 2182765"/>
              <a:gd name="connsiteX15" fmla="*/ 3050041 w 4461444"/>
              <a:gd name="connsiteY15" fmla="*/ 1001979 h 2182765"/>
              <a:gd name="connsiteX16" fmla="*/ 3231445 w 4461444"/>
              <a:gd name="connsiteY16" fmla="*/ 1020266 h 2182765"/>
              <a:gd name="connsiteX17" fmla="*/ 3245588 w 4461444"/>
              <a:gd name="connsiteY17" fmla="*/ 1023903 h 2182765"/>
              <a:gd name="connsiteX18" fmla="*/ 3297823 w 4461444"/>
              <a:gd name="connsiteY18" fmla="*/ 960592 h 2182765"/>
              <a:gd name="connsiteX19" fmla="*/ 3934298 w 4461444"/>
              <a:gd name="connsiteY19" fmla="*/ 696956 h 2182765"/>
              <a:gd name="connsiteX20" fmla="*/ 4115702 w 4461444"/>
              <a:gd name="connsiteY20" fmla="*/ 715243 h 2182765"/>
              <a:gd name="connsiteX21" fmla="*/ 4127211 w 4461444"/>
              <a:gd name="connsiteY21" fmla="*/ 718203 h 2182765"/>
              <a:gd name="connsiteX22" fmla="*/ 4126073 w 4461444"/>
              <a:gd name="connsiteY22" fmla="*/ 695661 h 2182765"/>
              <a:gd name="connsiteX23" fmla="*/ 4389709 w 4461444"/>
              <a:gd name="connsiteY23" fmla="*/ 59186 h 2182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461444" h="2182765">
                <a:moveTo>
                  <a:pt x="4461444" y="0"/>
                </a:moveTo>
                <a:lnTo>
                  <a:pt x="4461444" y="2182765"/>
                </a:lnTo>
                <a:lnTo>
                  <a:pt x="0" y="2182765"/>
                </a:lnTo>
                <a:lnTo>
                  <a:pt x="24342" y="2153263"/>
                </a:lnTo>
                <a:cubicBezTo>
                  <a:pt x="141221" y="2036384"/>
                  <a:pt x="302687" y="1964093"/>
                  <a:pt x="481037" y="1964093"/>
                </a:cubicBezTo>
                <a:cubicBezTo>
                  <a:pt x="570212" y="1964093"/>
                  <a:pt x="655166" y="1982166"/>
                  <a:pt x="732436" y="2014848"/>
                </a:cubicBezTo>
                <a:lnTo>
                  <a:pt x="787285" y="2044619"/>
                </a:lnTo>
                <a:lnTo>
                  <a:pt x="809805" y="1961250"/>
                </a:lnTo>
                <a:cubicBezTo>
                  <a:pt x="885867" y="1753515"/>
                  <a:pt x="1065582" y="1595745"/>
                  <a:pt x="1286315" y="1550577"/>
                </a:cubicBezTo>
                <a:lnTo>
                  <a:pt x="1321466" y="1547033"/>
                </a:lnTo>
                <a:lnTo>
                  <a:pt x="1323271" y="1529127"/>
                </a:lnTo>
                <a:cubicBezTo>
                  <a:pt x="1407203" y="1118962"/>
                  <a:pt x="1770117" y="810420"/>
                  <a:pt x="2205095" y="810420"/>
                </a:cubicBezTo>
                <a:cubicBezTo>
                  <a:pt x="2391514" y="810420"/>
                  <a:pt x="2564697" y="867091"/>
                  <a:pt x="2708356" y="964145"/>
                </a:cubicBezTo>
                <a:lnTo>
                  <a:pt x="2798296" y="1038353"/>
                </a:lnTo>
                <a:lnTo>
                  <a:pt x="2868637" y="1020266"/>
                </a:lnTo>
                <a:cubicBezTo>
                  <a:pt x="2927232" y="1008276"/>
                  <a:pt x="2987901" y="1001979"/>
                  <a:pt x="3050041" y="1001979"/>
                </a:cubicBezTo>
                <a:cubicBezTo>
                  <a:pt x="3112181" y="1001979"/>
                  <a:pt x="3172850" y="1008276"/>
                  <a:pt x="3231445" y="1020266"/>
                </a:cubicBezTo>
                <a:lnTo>
                  <a:pt x="3245588" y="1023903"/>
                </a:lnTo>
                <a:lnTo>
                  <a:pt x="3297823" y="960592"/>
                </a:lnTo>
                <a:cubicBezTo>
                  <a:pt x="3460711" y="797704"/>
                  <a:pt x="3685739" y="696956"/>
                  <a:pt x="3934298" y="696956"/>
                </a:cubicBezTo>
                <a:cubicBezTo>
                  <a:pt x="3996438" y="696956"/>
                  <a:pt x="4057107" y="703253"/>
                  <a:pt x="4115702" y="715243"/>
                </a:cubicBezTo>
                <a:lnTo>
                  <a:pt x="4127211" y="718203"/>
                </a:lnTo>
                <a:lnTo>
                  <a:pt x="4126073" y="695661"/>
                </a:lnTo>
                <a:cubicBezTo>
                  <a:pt x="4126073" y="447102"/>
                  <a:pt x="4226821" y="222074"/>
                  <a:pt x="4389709" y="59186"/>
                </a:cubicBezTo>
                <a:close/>
              </a:path>
            </a:pathLst>
          </a:custGeom>
          <a:solidFill>
            <a:schemeClr val="bg1"/>
          </a:solidFill>
          <a:ln>
            <a:noFill/>
          </a:ln>
          <a:effectLst>
            <a:outerShdw blurRad="279400" dist="76200" dir="13800000"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37124" tIns="91416" rIns="137124" bIns="91416" rtlCol="0" anchor="ctr">
            <a:noAutofit/>
          </a:bodyPr>
          <a:lstStyle/>
          <a:p>
            <a:pPr lvl="0" algn="ctr"/>
            <a:endParaRPr lang="en-US" sz="1600">
              <a:solidFill>
                <a:schemeClr val="bg1"/>
              </a:solidFill>
              <a:latin typeface="Roboto" panose="02000000000000000000" pitchFamily="2" charset="0"/>
              <a:ea typeface="Roboto" panose="02000000000000000000" pitchFamily="2" charset="0"/>
              <a:cs typeface="Roboto" charset="0"/>
            </a:endParaRPr>
          </a:p>
        </p:txBody>
      </p:sp>
      <p:pic>
        <p:nvPicPr>
          <p:cNvPr id="13" name="Picture 12">
            <a:extLst>
              <a:ext uri="{FF2B5EF4-FFF2-40B4-BE49-F238E27FC236}">
                <a16:creationId xmlns:a16="http://schemas.microsoft.com/office/drawing/2014/main" id="{66389566-7648-904B-9A7C-78A56AA0AA15}"/>
              </a:ext>
            </a:extLst>
          </p:cNvPr>
          <p:cNvPicPr>
            <a:picLocks noChangeAspect="1"/>
          </p:cNvPicPr>
          <p:nvPr userDrawn="1"/>
        </p:nvPicPr>
        <p:blipFill>
          <a:blip r:embed="rId2"/>
          <a:stretch>
            <a:fillRect/>
          </a:stretch>
        </p:blipFill>
        <p:spPr>
          <a:xfrm>
            <a:off x="9743687" y="6098796"/>
            <a:ext cx="2040934" cy="699990"/>
          </a:xfrm>
          <a:prstGeom prst="rect">
            <a:avLst/>
          </a:prstGeom>
        </p:spPr>
      </p:pic>
      <p:sp>
        <p:nvSpPr>
          <p:cNvPr id="11" name="Text Placeholder 4">
            <a:extLst>
              <a:ext uri="{FF2B5EF4-FFF2-40B4-BE49-F238E27FC236}">
                <a16:creationId xmlns:a16="http://schemas.microsoft.com/office/drawing/2014/main" id="{23E00955-A400-5B4E-B361-C42539018EAD}"/>
              </a:ext>
            </a:extLst>
          </p:cNvPr>
          <p:cNvSpPr>
            <a:spLocks noGrp="1"/>
          </p:cNvSpPr>
          <p:nvPr>
            <p:ph type="body" sz="quarter" idx="13" hasCustomPrompt="1"/>
          </p:nvPr>
        </p:nvSpPr>
        <p:spPr>
          <a:xfrm>
            <a:off x="493714" y="1058901"/>
            <a:ext cx="11188532" cy="331601"/>
          </a:xfrm>
          <a:prstGeom prst="rect">
            <a:avLst/>
          </a:prstGeom>
        </p:spPr>
        <p:txBody>
          <a:bodyPr lIns="0" anchor="t"/>
          <a:lstStyle>
            <a:lvl1pPr marL="0" indent="0">
              <a:buNone/>
              <a:defRPr sz="2399" i="0">
                <a:solidFill>
                  <a:schemeClr val="bg1"/>
                </a:solidFill>
                <a:latin typeface="Roboto" panose="02000000000000000000" pitchFamily="2" charset="0"/>
                <a:ea typeface="Roboto" panose="02000000000000000000" pitchFamily="2" charset="0"/>
              </a:defRPr>
            </a:lvl1pPr>
            <a:lvl2pPr marL="169812" indent="0">
              <a:buNone/>
              <a:defRPr/>
            </a:lvl2pPr>
            <a:lvl3pPr marL="344384" indent="0">
              <a:buNone/>
              <a:defRPr/>
            </a:lvl3pPr>
            <a:lvl4pPr marL="458650" indent="0">
              <a:buNone/>
              <a:defRPr/>
            </a:lvl4pPr>
            <a:lvl5pPr marL="630048" indent="0">
              <a:buNone/>
              <a:defRPr/>
            </a:lvl5pPr>
          </a:lstStyle>
          <a:p>
            <a:pPr lvl="0"/>
            <a:r>
              <a:rPr lang="en-US"/>
              <a:t>Subtitle goes here, </a:t>
            </a:r>
            <a:r>
              <a:rPr lang="en-US" err="1"/>
              <a:t>Roboto</a:t>
            </a:r>
            <a:r>
              <a:rPr lang="en-US"/>
              <a:t> Regular 24 point, no longer than one line</a:t>
            </a:r>
          </a:p>
        </p:txBody>
      </p:sp>
    </p:spTree>
    <p:extLst>
      <p:ext uri="{BB962C8B-B14F-4D97-AF65-F5344CB8AC3E}">
        <p14:creationId xmlns:p14="http://schemas.microsoft.com/office/powerpoint/2010/main" val="1507077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Statement 1">
    <p:bg>
      <p:bgPr>
        <a:solidFill>
          <a:schemeClr val="accent2"/>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E2818C71-32BA-E848-A621-6FB7AFD14E6F}"/>
              </a:ext>
            </a:extLst>
          </p:cNvPr>
          <p:cNvSpPr>
            <a:spLocks noGrp="1"/>
          </p:cNvSpPr>
          <p:nvPr>
            <p:ph type="title" hasCustomPrompt="1"/>
          </p:nvPr>
        </p:nvSpPr>
        <p:spPr>
          <a:xfrm>
            <a:off x="1155589" y="978956"/>
            <a:ext cx="9326943" cy="1711083"/>
          </a:xfrm>
          <a:prstGeom prst="rect">
            <a:avLst/>
          </a:prstGeom>
        </p:spPr>
        <p:txBody>
          <a:bodyPr lIns="0"/>
          <a:lstStyle>
            <a:lvl1pPr>
              <a:defRPr sz="5398" baseline="0">
                <a:solidFill>
                  <a:schemeClr val="bg1"/>
                </a:solidFill>
              </a:defRPr>
            </a:lvl1pPr>
          </a:lstStyle>
          <a:p>
            <a:r>
              <a:rPr lang="en-US"/>
              <a:t>Headline goes here, Roboto Light, 54 points</a:t>
            </a:r>
          </a:p>
        </p:txBody>
      </p:sp>
      <p:sp>
        <p:nvSpPr>
          <p:cNvPr id="9" name="Text Placeholder 37">
            <a:extLst>
              <a:ext uri="{FF2B5EF4-FFF2-40B4-BE49-F238E27FC236}">
                <a16:creationId xmlns:a16="http://schemas.microsoft.com/office/drawing/2014/main" id="{4AD6E01F-34E8-344A-AD31-A95D43256ED8}"/>
              </a:ext>
            </a:extLst>
          </p:cNvPr>
          <p:cNvSpPr>
            <a:spLocks noGrp="1"/>
          </p:cNvSpPr>
          <p:nvPr>
            <p:ph type="body" sz="quarter" idx="10" hasCustomPrompt="1"/>
          </p:nvPr>
        </p:nvSpPr>
        <p:spPr>
          <a:xfrm>
            <a:off x="1155588" y="2869909"/>
            <a:ext cx="6491549" cy="1528756"/>
          </a:xfrm>
          <a:prstGeom prst="rect">
            <a:avLst/>
          </a:prstGeom>
        </p:spPr>
        <p:txBody>
          <a:bodyPr lIns="0"/>
          <a:lstStyle>
            <a:lvl1pPr marL="0" indent="0">
              <a:buNone/>
              <a:defRPr lang="en-US" sz="2399" baseline="0" smtClean="0">
                <a:solidFill>
                  <a:schemeClr val="bg1"/>
                </a:solidFill>
                <a:latin typeface="Roboto Light" panose="02000000000000000000" pitchFamily="2" charset="0"/>
                <a:ea typeface="Roboto Light" panose="02000000000000000000" pitchFamily="2" charset="0"/>
                <a:cs typeface="Roboto Light" panose="02000000000000000000" pitchFamily="2" charset="0"/>
              </a:defRPr>
            </a:lvl1pPr>
            <a:lvl2pPr>
              <a:defRPr lang="en-US" smtClean="0"/>
            </a:lvl2pPr>
            <a:lvl3pPr>
              <a:defRPr lang="en-US" smtClean="0"/>
            </a:lvl3pPr>
            <a:lvl4pPr>
              <a:defRPr lang="en-US" smtClean="0"/>
            </a:lvl4pPr>
            <a:lvl5pPr>
              <a:defRPr lang="en-US"/>
            </a:lvl5pPr>
          </a:lstStyle>
          <a:p>
            <a:pPr marL="457063" lvl="0" indent="-457063">
              <a:lnSpc>
                <a:spcPct val="90000"/>
              </a:lnSpc>
              <a:spcBef>
                <a:spcPct val="0"/>
              </a:spcBef>
            </a:pPr>
            <a:r>
              <a:rPr lang="en-US"/>
              <a:t>Secondary statement</a:t>
            </a:r>
          </a:p>
        </p:txBody>
      </p:sp>
      <p:sp>
        <p:nvSpPr>
          <p:cNvPr id="13" name="Freeform 12">
            <a:extLst>
              <a:ext uri="{FF2B5EF4-FFF2-40B4-BE49-F238E27FC236}">
                <a16:creationId xmlns:a16="http://schemas.microsoft.com/office/drawing/2014/main" id="{A43220F5-9CFC-624E-9E5D-81A03D9B943D}"/>
              </a:ext>
            </a:extLst>
          </p:cNvPr>
          <p:cNvSpPr/>
          <p:nvPr userDrawn="1"/>
        </p:nvSpPr>
        <p:spPr>
          <a:xfrm>
            <a:off x="7407017" y="4547198"/>
            <a:ext cx="4785372" cy="2310802"/>
          </a:xfrm>
          <a:custGeom>
            <a:avLst/>
            <a:gdLst>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16268 w 4717029"/>
              <a:gd name="connsiteY12" fmla="*/ 1924881 h 2310802"/>
              <a:gd name="connsiteX13" fmla="*/ 537304 w 4717029"/>
              <a:gd name="connsiteY13" fmla="*/ 1927002 h 2310802"/>
              <a:gd name="connsiteX14" fmla="*/ 555320 w 4717029"/>
              <a:gd name="connsiteY14" fmla="*/ 1748290 h 2310802"/>
              <a:gd name="connsiteX15" fmla="*/ 1458267 w 4717029"/>
              <a:gd name="connsiteY15" fmla="*/ 1012367 h 2310802"/>
              <a:gd name="connsiteX16" fmla="*/ 2307510 w 4717029"/>
              <a:gd name="connsiteY16" fmla="*/ 1575283 h 2310802"/>
              <a:gd name="connsiteX17" fmla="*/ 2359658 w 4717029"/>
              <a:gd name="connsiteY17" fmla="*/ 1743278 h 2310802"/>
              <a:gd name="connsiteX18" fmla="*/ 2697671 w 4717029"/>
              <a:gd name="connsiteY18" fmla="*/ 1743278 h 2310802"/>
              <a:gd name="connsiteX19" fmla="*/ 2691684 w 4717029"/>
              <a:gd name="connsiteY19" fmla="*/ 1683894 h 2310802"/>
              <a:gd name="connsiteX20" fmla="*/ 3479644 w 4717029"/>
              <a:gd name="connsiteY20" fmla="*/ 895934 h 2310802"/>
              <a:gd name="connsiteX21" fmla="*/ 3555657 w 4717029"/>
              <a:gd name="connsiteY21" fmla="*/ 899772 h 2310802"/>
              <a:gd name="connsiteX22" fmla="*/ 3556684 w 4717029"/>
              <a:gd name="connsiteY22" fmla="*/ 889585 h 2310802"/>
              <a:gd name="connsiteX23" fmla="*/ 4648168 w 4717029"/>
              <a:gd name="connsiteY23"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16268 w 4717029"/>
              <a:gd name="connsiteY12" fmla="*/ 1924881 h 2310802"/>
              <a:gd name="connsiteX13" fmla="*/ 555320 w 4717029"/>
              <a:gd name="connsiteY13" fmla="*/ 1748290 h 2310802"/>
              <a:gd name="connsiteX14" fmla="*/ 1458267 w 4717029"/>
              <a:gd name="connsiteY14" fmla="*/ 1012367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55320 w 4717029"/>
              <a:gd name="connsiteY13" fmla="*/ 1748290 h 2310802"/>
              <a:gd name="connsiteX14" fmla="*/ 1458267 w 4717029"/>
              <a:gd name="connsiteY14" fmla="*/ 1012367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55320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55320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55320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73608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73608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73608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479620 w 4717029"/>
              <a:gd name="connsiteY14" fmla="*/ 1020114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6903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76504 w 4745365"/>
              <a:gd name="connsiteY0" fmla="*/ 0 h 2310802"/>
              <a:gd name="connsiteX1" fmla="*/ 4745365 w 4745365"/>
              <a:gd name="connsiteY1" fmla="*/ 3477 h 2310802"/>
              <a:gd name="connsiteX2" fmla="*/ 4745365 w 4745365"/>
              <a:gd name="connsiteY2" fmla="*/ 2224761 h 2310802"/>
              <a:gd name="connsiteX3" fmla="*/ 4676504 w 4745365"/>
              <a:gd name="connsiteY3" fmla="*/ 2228238 h 2310802"/>
              <a:gd name="connsiteX4" fmla="*/ 4193487 w 4745365"/>
              <a:gd name="connsiteY4" fmla="*/ 2118374 h 2310802"/>
              <a:gd name="connsiteX5" fmla="*/ 4171520 w 4745365"/>
              <a:gd name="connsiteY5" fmla="*/ 2105748 h 2310802"/>
              <a:gd name="connsiteX6" fmla="*/ 4161369 w 4745365"/>
              <a:gd name="connsiteY6" fmla="*/ 2124450 h 2310802"/>
              <a:gd name="connsiteX7" fmla="*/ 4065152 w 4745365"/>
              <a:gd name="connsiteY7" fmla="*/ 2241066 h 2310802"/>
              <a:gd name="connsiteX8" fmla="*/ 3986221 w 4745365"/>
              <a:gd name="connsiteY8" fmla="*/ 2306190 h 2310802"/>
              <a:gd name="connsiteX9" fmla="*/ 3986221 w 4745365"/>
              <a:gd name="connsiteY9" fmla="*/ 2310802 h 2310802"/>
              <a:gd name="connsiteX10" fmla="*/ 0 w 4745365"/>
              <a:gd name="connsiteY10" fmla="*/ 2310802 h 2310802"/>
              <a:gd name="connsiteX11" fmla="*/ 45422 w 4745365"/>
              <a:gd name="connsiteY11" fmla="*/ 2255761 h 2310802"/>
              <a:gd name="connsiteX12" fmla="*/ 551119 w 4745365"/>
              <a:gd name="connsiteY12" fmla="*/ 1890083 h 2310802"/>
              <a:gd name="connsiteX13" fmla="*/ 575332 w 4745365"/>
              <a:gd name="connsiteY13" fmla="*/ 1748290 h 2310802"/>
              <a:gd name="connsiteX14" fmla="*/ 1504807 w 4745365"/>
              <a:gd name="connsiteY14" fmla="*/ 1035989 h 2310802"/>
              <a:gd name="connsiteX15" fmla="*/ 2335846 w 4745365"/>
              <a:gd name="connsiteY15" fmla="*/ 1575283 h 2310802"/>
              <a:gd name="connsiteX16" fmla="*/ 2387994 w 4745365"/>
              <a:gd name="connsiteY16" fmla="*/ 1743278 h 2310802"/>
              <a:gd name="connsiteX17" fmla="*/ 2726007 w 4745365"/>
              <a:gd name="connsiteY17" fmla="*/ 1743278 h 2310802"/>
              <a:gd name="connsiteX18" fmla="*/ 2720020 w 4745365"/>
              <a:gd name="connsiteY18" fmla="*/ 1683894 h 2310802"/>
              <a:gd name="connsiteX19" fmla="*/ 3507980 w 4745365"/>
              <a:gd name="connsiteY19" fmla="*/ 895934 h 2310802"/>
              <a:gd name="connsiteX20" fmla="*/ 3583993 w 4745365"/>
              <a:gd name="connsiteY20" fmla="*/ 899772 h 2310802"/>
              <a:gd name="connsiteX21" fmla="*/ 3585020 w 4745365"/>
              <a:gd name="connsiteY21" fmla="*/ 889585 h 2310802"/>
              <a:gd name="connsiteX22" fmla="*/ 4676504 w 4745365"/>
              <a:gd name="connsiteY22" fmla="*/ 0 h 2310802"/>
              <a:gd name="connsiteX0" fmla="*/ 4676504 w 4745365"/>
              <a:gd name="connsiteY0" fmla="*/ 0 h 2310802"/>
              <a:gd name="connsiteX1" fmla="*/ 4745365 w 4745365"/>
              <a:gd name="connsiteY1" fmla="*/ 3477 h 2310802"/>
              <a:gd name="connsiteX2" fmla="*/ 4745365 w 4745365"/>
              <a:gd name="connsiteY2" fmla="*/ 2224761 h 2310802"/>
              <a:gd name="connsiteX3" fmla="*/ 4676504 w 4745365"/>
              <a:gd name="connsiteY3" fmla="*/ 2228238 h 2310802"/>
              <a:gd name="connsiteX4" fmla="*/ 4193487 w 4745365"/>
              <a:gd name="connsiteY4" fmla="*/ 2118374 h 2310802"/>
              <a:gd name="connsiteX5" fmla="*/ 4171520 w 4745365"/>
              <a:gd name="connsiteY5" fmla="*/ 2105748 h 2310802"/>
              <a:gd name="connsiteX6" fmla="*/ 4161369 w 4745365"/>
              <a:gd name="connsiteY6" fmla="*/ 2124450 h 2310802"/>
              <a:gd name="connsiteX7" fmla="*/ 4065152 w 4745365"/>
              <a:gd name="connsiteY7" fmla="*/ 2241066 h 2310802"/>
              <a:gd name="connsiteX8" fmla="*/ 3986221 w 4745365"/>
              <a:gd name="connsiteY8" fmla="*/ 2306190 h 2310802"/>
              <a:gd name="connsiteX9" fmla="*/ 3986221 w 4745365"/>
              <a:gd name="connsiteY9" fmla="*/ 2310802 h 2310802"/>
              <a:gd name="connsiteX10" fmla="*/ 0 w 4745365"/>
              <a:gd name="connsiteY10" fmla="*/ 2310802 h 2310802"/>
              <a:gd name="connsiteX11" fmla="*/ 35977 w 4745365"/>
              <a:gd name="connsiteY11" fmla="*/ 2249411 h 2310802"/>
              <a:gd name="connsiteX12" fmla="*/ 551119 w 4745365"/>
              <a:gd name="connsiteY12" fmla="*/ 1890083 h 2310802"/>
              <a:gd name="connsiteX13" fmla="*/ 575332 w 4745365"/>
              <a:gd name="connsiteY13" fmla="*/ 1748290 h 2310802"/>
              <a:gd name="connsiteX14" fmla="*/ 1504807 w 4745365"/>
              <a:gd name="connsiteY14" fmla="*/ 1035989 h 2310802"/>
              <a:gd name="connsiteX15" fmla="*/ 2335846 w 4745365"/>
              <a:gd name="connsiteY15" fmla="*/ 1575283 h 2310802"/>
              <a:gd name="connsiteX16" fmla="*/ 2387994 w 4745365"/>
              <a:gd name="connsiteY16" fmla="*/ 1743278 h 2310802"/>
              <a:gd name="connsiteX17" fmla="*/ 2726007 w 4745365"/>
              <a:gd name="connsiteY17" fmla="*/ 1743278 h 2310802"/>
              <a:gd name="connsiteX18" fmla="*/ 2720020 w 4745365"/>
              <a:gd name="connsiteY18" fmla="*/ 1683894 h 2310802"/>
              <a:gd name="connsiteX19" fmla="*/ 3507980 w 4745365"/>
              <a:gd name="connsiteY19" fmla="*/ 895934 h 2310802"/>
              <a:gd name="connsiteX20" fmla="*/ 3583993 w 4745365"/>
              <a:gd name="connsiteY20" fmla="*/ 899772 h 2310802"/>
              <a:gd name="connsiteX21" fmla="*/ 3585020 w 4745365"/>
              <a:gd name="connsiteY21" fmla="*/ 889585 h 2310802"/>
              <a:gd name="connsiteX22" fmla="*/ 4676504 w 4745365"/>
              <a:gd name="connsiteY22" fmla="*/ 0 h 2310802"/>
              <a:gd name="connsiteX0" fmla="*/ 4676504 w 4745365"/>
              <a:gd name="connsiteY0" fmla="*/ 0 h 2310802"/>
              <a:gd name="connsiteX1" fmla="*/ 4745365 w 4745365"/>
              <a:gd name="connsiteY1" fmla="*/ 3477 h 2310802"/>
              <a:gd name="connsiteX2" fmla="*/ 4745365 w 4745365"/>
              <a:gd name="connsiteY2" fmla="*/ 2224761 h 2310802"/>
              <a:gd name="connsiteX3" fmla="*/ 4676504 w 4745365"/>
              <a:gd name="connsiteY3" fmla="*/ 2228238 h 2310802"/>
              <a:gd name="connsiteX4" fmla="*/ 4193487 w 4745365"/>
              <a:gd name="connsiteY4" fmla="*/ 2118374 h 2310802"/>
              <a:gd name="connsiteX5" fmla="*/ 4171520 w 4745365"/>
              <a:gd name="connsiteY5" fmla="*/ 2105748 h 2310802"/>
              <a:gd name="connsiteX6" fmla="*/ 4161369 w 4745365"/>
              <a:gd name="connsiteY6" fmla="*/ 2124450 h 2310802"/>
              <a:gd name="connsiteX7" fmla="*/ 4065152 w 4745365"/>
              <a:gd name="connsiteY7" fmla="*/ 2241066 h 2310802"/>
              <a:gd name="connsiteX8" fmla="*/ 3986221 w 4745365"/>
              <a:gd name="connsiteY8" fmla="*/ 2306190 h 2310802"/>
              <a:gd name="connsiteX9" fmla="*/ 3986221 w 4745365"/>
              <a:gd name="connsiteY9" fmla="*/ 2310802 h 2310802"/>
              <a:gd name="connsiteX10" fmla="*/ 0 w 4745365"/>
              <a:gd name="connsiteY10" fmla="*/ 2310802 h 2310802"/>
              <a:gd name="connsiteX11" fmla="*/ 35977 w 4745365"/>
              <a:gd name="connsiteY11" fmla="*/ 2249411 h 2310802"/>
              <a:gd name="connsiteX12" fmla="*/ 551119 w 4745365"/>
              <a:gd name="connsiteY12" fmla="*/ 1890083 h 2310802"/>
              <a:gd name="connsiteX13" fmla="*/ 575332 w 4745365"/>
              <a:gd name="connsiteY13" fmla="*/ 1748290 h 2310802"/>
              <a:gd name="connsiteX14" fmla="*/ 1504807 w 4745365"/>
              <a:gd name="connsiteY14" fmla="*/ 1035989 h 2310802"/>
              <a:gd name="connsiteX15" fmla="*/ 2335846 w 4745365"/>
              <a:gd name="connsiteY15" fmla="*/ 1575283 h 2310802"/>
              <a:gd name="connsiteX16" fmla="*/ 2387994 w 4745365"/>
              <a:gd name="connsiteY16" fmla="*/ 1743278 h 2310802"/>
              <a:gd name="connsiteX17" fmla="*/ 2726007 w 4745365"/>
              <a:gd name="connsiteY17" fmla="*/ 1743278 h 2310802"/>
              <a:gd name="connsiteX18" fmla="*/ 2720020 w 4745365"/>
              <a:gd name="connsiteY18" fmla="*/ 1683894 h 2310802"/>
              <a:gd name="connsiteX19" fmla="*/ 3507980 w 4745365"/>
              <a:gd name="connsiteY19" fmla="*/ 895934 h 2310802"/>
              <a:gd name="connsiteX20" fmla="*/ 3583993 w 4745365"/>
              <a:gd name="connsiteY20" fmla="*/ 899772 h 2310802"/>
              <a:gd name="connsiteX21" fmla="*/ 3585020 w 4745365"/>
              <a:gd name="connsiteY21" fmla="*/ 889585 h 2310802"/>
              <a:gd name="connsiteX22" fmla="*/ 4676504 w 4745365"/>
              <a:gd name="connsiteY22" fmla="*/ 0 h 2310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45365" h="2310802">
                <a:moveTo>
                  <a:pt x="4676504" y="0"/>
                </a:moveTo>
                <a:lnTo>
                  <a:pt x="4745365" y="3477"/>
                </a:lnTo>
                <a:lnTo>
                  <a:pt x="4745365" y="2224761"/>
                </a:lnTo>
                <a:lnTo>
                  <a:pt x="4676504" y="2228238"/>
                </a:lnTo>
                <a:cubicBezTo>
                  <a:pt x="4503447" y="2228238"/>
                  <a:pt x="4339607" y="2188782"/>
                  <a:pt x="4193487" y="2118374"/>
                </a:cubicBezTo>
                <a:lnTo>
                  <a:pt x="4171520" y="2105748"/>
                </a:lnTo>
                <a:lnTo>
                  <a:pt x="4161369" y="2124450"/>
                </a:lnTo>
                <a:cubicBezTo>
                  <a:pt x="4133048" y="2166370"/>
                  <a:pt x="4100800" y="2205418"/>
                  <a:pt x="4065152" y="2241066"/>
                </a:cubicBezTo>
                <a:lnTo>
                  <a:pt x="3986221" y="2306190"/>
                </a:lnTo>
                <a:lnTo>
                  <a:pt x="3986221" y="2310802"/>
                </a:lnTo>
                <a:lnTo>
                  <a:pt x="0" y="2310802"/>
                </a:lnTo>
                <a:lnTo>
                  <a:pt x="35977" y="2249411"/>
                </a:lnTo>
                <a:cubicBezTo>
                  <a:pt x="146556" y="2054967"/>
                  <a:pt x="326716" y="1890083"/>
                  <a:pt x="551119" y="1890083"/>
                </a:cubicBezTo>
                <a:cubicBezTo>
                  <a:pt x="553569" y="1819535"/>
                  <a:pt x="576031" y="1793438"/>
                  <a:pt x="575332" y="1748290"/>
                </a:cubicBezTo>
                <a:cubicBezTo>
                  <a:pt x="699055" y="1334650"/>
                  <a:pt x="1082288" y="1035078"/>
                  <a:pt x="1504807" y="1035989"/>
                </a:cubicBezTo>
                <a:cubicBezTo>
                  <a:pt x="1865747" y="1036767"/>
                  <a:pt x="2195928" y="1244481"/>
                  <a:pt x="2335846" y="1575283"/>
                </a:cubicBezTo>
                <a:lnTo>
                  <a:pt x="2387994" y="1743278"/>
                </a:lnTo>
                <a:lnTo>
                  <a:pt x="2726007" y="1743278"/>
                </a:lnTo>
                <a:lnTo>
                  <a:pt x="2720020" y="1683894"/>
                </a:lnTo>
                <a:cubicBezTo>
                  <a:pt x="2720020" y="1248716"/>
                  <a:pt x="3072802" y="895934"/>
                  <a:pt x="3507980" y="895934"/>
                </a:cubicBezTo>
                <a:lnTo>
                  <a:pt x="3583993" y="899772"/>
                </a:lnTo>
                <a:cubicBezTo>
                  <a:pt x="3584335" y="896376"/>
                  <a:pt x="3584678" y="892981"/>
                  <a:pt x="3585020" y="889585"/>
                </a:cubicBezTo>
                <a:cubicBezTo>
                  <a:pt x="3688907" y="381900"/>
                  <a:pt x="4138107" y="0"/>
                  <a:pt x="467650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7124" tIns="91416" rIns="137124" bIns="91416" rtlCol="0" anchor="ctr">
            <a:noAutofit/>
          </a:bodyP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14" name="Freeform 13">
            <a:extLst>
              <a:ext uri="{FF2B5EF4-FFF2-40B4-BE49-F238E27FC236}">
                <a16:creationId xmlns:a16="http://schemas.microsoft.com/office/drawing/2014/main" id="{4E904644-2503-E94E-AB6F-8E2BC7E60886}"/>
              </a:ext>
            </a:extLst>
          </p:cNvPr>
          <p:cNvSpPr/>
          <p:nvPr userDrawn="1"/>
        </p:nvSpPr>
        <p:spPr>
          <a:xfrm>
            <a:off x="7727999" y="4675237"/>
            <a:ext cx="4461444" cy="2182765"/>
          </a:xfrm>
          <a:custGeom>
            <a:avLst/>
            <a:gdLst>
              <a:gd name="connsiteX0" fmla="*/ 4461444 w 4461444"/>
              <a:gd name="connsiteY0" fmla="*/ 0 h 2182765"/>
              <a:gd name="connsiteX1" fmla="*/ 4461444 w 4461444"/>
              <a:gd name="connsiteY1" fmla="*/ 2182765 h 2182765"/>
              <a:gd name="connsiteX2" fmla="*/ 0 w 4461444"/>
              <a:gd name="connsiteY2" fmla="*/ 2182765 h 2182765"/>
              <a:gd name="connsiteX3" fmla="*/ 24342 w 4461444"/>
              <a:gd name="connsiteY3" fmla="*/ 2153263 h 2182765"/>
              <a:gd name="connsiteX4" fmla="*/ 481037 w 4461444"/>
              <a:gd name="connsiteY4" fmla="*/ 1964093 h 2182765"/>
              <a:gd name="connsiteX5" fmla="*/ 732436 w 4461444"/>
              <a:gd name="connsiteY5" fmla="*/ 2014848 h 2182765"/>
              <a:gd name="connsiteX6" fmla="*/ 787285 w 4461444"/>
              <a:gd name="connsiteY6" fmla="*/ 2044619 h 2182765"/>
              <a:gd name="connsiteX7" fmla="*/ 809805 w 4461444"/>
              <a:gd name="connsiteY7" fmla="*/ 1961250 h 2182765"/>
              <a:gd name="connsiteX8" fmla="*/ 1286315 w 4461444"/>
              <a:gd name="connsiteY8" fmla="*/ 1550577 h 2182765"/>
              <a:gd name="connsiteX9" fmla="*/ 1321466 w 4461444"/>
              <a:gd name="connsiteY9" fmla="*/ 1547033 h 2182765"/>
              <a:gd name="connsiteX10" fmla="*/ 1323271 w 4461444"/>
              <a:gd name="connsiteY10" fmla="*/ 1529127 h 2182765"/>
              <a:gd name="connsiteX11" fmla="*/ 2205095 w 4461444"/>
              <a:gd name="connsiteY11" fmla="*/ 810420 h 2182765"/>
              <a:gd name="connsiteX12" fmla="*/ 2708356 w 4461444"/>
              <a:gd name="connsiteY12" fmla="*/ 964145 h 2182765"/>
              <a:gd name="connsiteX13" fmla="*/ 2798296 w 4461444"/>
              <a:gd name="connsiteY13" fmla="*/ 1038353 h 2182765"/>
              <a:gd name="connsiteX14" fmla="*/ 2868637 w 4461444"/>
              <a:gd name="connsiteY14" fmla="*/ 1020266 h 2182765"/>
              <a:gd name="connsiteX15" fmla="*/ 3050041 w 4461444"/>
              <a:gd name="connsiteY15" fmla="*/ 1001979 h 2182765"/>
              <a:gd name="connsiteX16" fmla="*/ 3231445 w 4461444"/>
              <a:gd name="connsiteY16" fmla="*/ 1020266 h 2182765"/>
              <a:gd name="connsiteX17" fmla="*/ 3245588 w 4461444"/>
              <a:gd name="connsiteY17" fmla="*/ 1023903 h 2182765"/>
              <a:gd name="connsiteX18" fmla="*/ 3297823 w 4461444"/>
              <a:gd name="connsiteY18" fmla="*/ 960592 h 2182765"/>
              <a:gd name="connsiteX19" fmla="*/ 3934298 w 4461444"/>
              <a:gd name="connsiteY19" fmla="*/ 696956 h 2182765"/>
              <a:gd name="connsiteX20" fmla="*/ 4115702 w 4461444"/>
              <a:gd name="connsiteY20" fmla="*/ 715243 h 2182765"/>
              <a:gd name="connsiteX21" fmla="*/ 4127211 w 4461444"/>
              <a:gd name="connsiteY21" fmla="*/ 718203 h 2182765"/>
              <a:gd name="connsiteX22" fmla="*/ 4126073 w 4461444"/>
              <a:gd name="connsiteY22" fmla="*/ 695661 h 2182765"/>
              <a:gd name="connsiteX23" fmla="*/ 4389709 w 4461444"/>
              <a:gd name="connsiteY23" fmla="*/ 59186 h 2182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461444" h="2182765">
                <a:moveTo>
                  <a:pt x="4461444" y="0"/>
                </a:moveTo>
                <a:lnTo>
                  <a:pt x="4461444" y="2182765"/>
                </a:lnTo>
                <a:lnTo>
                  <a:pt x="0" y="2182765"/>
                </a:lnTo>
                <a:lnTo>
                  <a:pt x="24342" y="2153263"/>
                </a:lnTo>
                <a:cubicBezTo>
                  <a:pt x="141221" y="2036384"/>
                  <a:pt x="302687" y="1964093"/>
                  <a:pt x="481037" y="1964093"/>
                </a:cubicBezTo>
                <a:cubicBezTo>
                  <a:pt x="570212" y="1964093"/>
                  <a:pt x="655166" y="1982166"/>
                  <a:pt x="732436" y="2014848"/>
                </a:cubicBezTo>
                <a:lnTo>
                  <a:pt x="787285" y="2044619"/>
                </a:lnTo>
                <a:lnTo>
                  <a:pt x="809805" y="1961250"/>
                </a:lnTo>
                <a:cubicBezTo>
                  <a:pt x="885867" y="1753515"/>
                  <a:pt x="1065582" y="1595745"/>
                  <a:pt x="1286315" y="1550577"/>
                </a:cubicBezTo>
                <a:lnTo>
                  <a:pt x="1321466" y="1547033"/>
                </a:lnTo>
                <a:lnTo>
                  <a:pt x="1323271" y="1529127"/>
                </a:lnTo>
                <a:cubicBezTo>
                  <a:pt x="1407203" y="1118962"/>
                  <a:pt x="1770117" y="810420"/>
                  <a:pt x="2205095" y="810420"/>
                </a:cubicBezTo>
                <a:cubicBezTo>
                  <a:pt x="2391514" y="810420"/>
                  <a:pt x="2564697" y="867091"/>
                  <a:pt x="2708356" y="964145"/>
                </a:cubicBezTo>
                <a:lnTo>
                  <a:pt x="2798296" y="1038353"/>
                </a:lnTo>
                <a:lnTo>
                  <a:pt x="2868637" y="1020266"/>
                </a:lnTo>
                <a:cubicBezTo>
                  <a:pt x="2927232" y="1008276"/>
                  <a:pt x="2987901" y="1001979"/>
                  <a:pt x="3050041" y="1001979"/>
                </a:cubicBezTo>
                <a:cubicBezTo>
                  <a:pt x="3112181" y="1001979"/>
                  <a:pt x="3172850" y="1008276"/>
                  <a:pt x="3231445" y="1020266"/>
                </a:cubicBezTo>
                <a:lnTo>
                  <a:pt x="3245588" y="1023903"/>
                </a:lnTo>
                <a:lnTo>
                  <a:pt x="3297823" y="960592"/>
                </a:lnTo>
                <a:cubicBezTo>
                  <a:pt x="3460711" y="797704"/>
                  <a:pt x="3685739" y="696956"/>
                  <a:pt x="3934298" y="696956"/>
                </a:cubicBezTo>
                <a:cubicBezTo>
                  <a:pt x="3996438" y="696956"/>
                  <a:pt x="4057107" y="703253"/>
                  <a:pt x="4115702" y="715243"/>
                </a:cubicBezTo>
                <a:lnTo>
                  <a:pt x="4127211" y="718203"/>
                </a:lnTo>
                <a:lnTo>
                  <a:pt x="4126073" y="695661"/>
                </a:lnTo>
                <a:cubicBezTo>
                  <a:pt x="4126073" y="447102"/>
                  <a:pt x="4226821" y="222074"/>
                  <a:pt x="4389709" y="59186"/>
                </a:cubicBezTo>
                <a:close/>
              </a:path>
            </a:pathLst>
          </a:custGeom>
          <a:solidFill>
            <a:schemeClr val="bg1"/>
          </a:solidFill>
          <a:ln>
            <a:noFill/>
          </a:ln>
          <a:effectLst>
            <a:outerShdw blurRad="279400" dist="76200" dir="13800000"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37124" tIns="91416" rIns="137124" bIns="91416" rtlCol="0" anchor="ctr">
            <a:noAutofit/>
          </a:bodyPr>
          <a:lstStyle/>
          <a:p>
            <a:pPr lvl="0" algn="ctr"/>
            <a:endParaRPr lang="en-US" sz="1600">
              <a:solidFill>
                <a:schemeClr val="bg1"/>
              </a:solidFill>
              <a:latin typeface="Roboto" panose="02000000000000000000" pitchFamily="2" charset="0"/>
              <a:ea typeface="Roboto" panose="02000000000000000000" pitchFamily="2" charset="0"/>
              <a:cs typeface="Roboto" charset="0"/>
            </a:endParaRPr>
          </a:p>
        </p:txBody>
      </p:sp>
      <p:pic>
        <p:nvPicPr>
          <p:cNvPr id="16" name="Picture 15">
            <a:extLst>
              <a:ext uri="{FF2B5EF4-FFF2-40B4-BE49-F238E27FC236}">
                <a16:creationId xmlns:a16="http://schemas.microsoft.com/office/drawing/2014/main" id="{BC04B84B-F25A-6B4F-8C60-4684C132539E}"/>
              </a:ext>
            </a:extLst>
          </p:cNvPr>
          <p:cNvPicPr>
            <a:picLocks noChangeAspect="1"/>
          </p:cNvPicPr>
          <p:nvPr userDrawn="1"/>
        </p:nvPicPr>
        <p:blipFill>
          <a:blip r:embed="rId2"/>
          <a:stretch>
            <a:fillRect/>
          </a:stretch>
        </p:blipFill>
        <p:spPr>
          <a:xfrm>
            <a:off x="9743687" y="6098796"/>
            <a:ext cx="2040934" cy="699990"/>
          </a:xfrm>
          <a:prstGeom prst="rect">
            <a:avLst/>
          </a:prstGeom>
        </p:spPr>
      </p:pic>
    </p:spTree>
    <p:extLst>
      <p:ext uri="{BB962C8B-B14F-4D97-AF65-F5344CB8AC3E}">
        <p14:creationId xmlns:p14="http://schemas.microsoft.com/office/powerpoint/2010/main" val="3556864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Demo slide">
    <p:bg>
      <p:bgPr>
        <a:solidFill>
          <a:schemeClr val="accent2"/>
        </a:solidFill>
        <a:effectLst/>
      </p:bgPr>
    </p:bg>
    <p:spTree>
      <p:nvGrpSpPr>
        <p:cNvPr id="1" name=""/>
        <p:cNvGrpSpPr/>
        <p:nvPr/>
      </p:nvGrpSpPr>
      <p:grpSpPr>
        <a:xfrm>
          <a:off x="0" y="0"/>
          <a:ext cx="0" cy="0"/>
          <a:chOff x="0" y="0"/>
          <a:chExt cx="0" cy="0"/>
        </a:xfrm>
      </p:grpSpPr>
      <p:sp>
        <p:nvSpPr>
          <p:cNvPr id="32" name="Text Placeholder 2">
            <a:extLst>
              <a:ext uri="{FF2B5EF4-FFF2-40B4-BE49-F238E27FC236}">
                <a16:creationId xmlns:a16="http://schemas.microsoft.com/office/drawing/2014/main" id="{03D036BC-CEE4-495F-AE6C-C29B6F739424}"/>
              </a:ext>
            </a:extLst>
          </p:cNvPr>
          <p:cNvSpPr>
            <a:spLocks noGrp="1"/>
          </p:cNvSpPr>
          <p:nvPr>
            <p:ph type="body" idx="27" hasCustomPrompt="1"/>
          </p:nvPr>
        </p:nvSpPr>
        <p:spPr>
          <a:xfrm>
            <a:off x="1008872" y="4129458"/>
            <a:ext cx="5046038" cy="741664"/>
          </a:xfrm>
          <a:prstGeom prst="rect">
            <a:avLst/>
          </a:prstGeom>
        </p:spPr>
        <p:txBody>
          <a:bodyPr lIns="0" anchor="t"/>
          <a:lstStyle>
            <a:lvl1pPr marL="0" indent="0" algn="l">
              <a:buNone/>
              <a:defRPr sz="2399" b="0" baseline="0">
                <a:solidFill>
                  <a:schemeClr val="bg1"/>
                </a:solidFill>
                <a:latin typeface="Roboto" panose="02000000000000000000" pitchFamily="2" charset="0"/>
                <a:ea typeface="Roboto" panose="02000000000000000000" pitchFamily="2" charset="0"/>
              </a:defRPr>
            </a:lvl1pPr>
            <a:lvl2pPr marL="456972" indent="0">
              <a:buNone/>
              <a:defRPr sz="1999" b="1"/>
            </a:lvl2pPr>
            <a:lvl3pPr marL="913943" indent="0">
              <a:buNone/>
              <a:defRPr sz="1799" b="1"/>
            </a:lvl3pPr>
            <a:lvl4pPr marL="1370915" indent="0">
              <a:buNone/>
              <a:defRPr sz="1600" b="1"/>
            </a:lvl4pPr>
            <a:lvl5pPr marL="1827885" indent="0">
              <a:buNone/>
              <a:defRPr sz="1600" b="1"/>
            </a:lvl5pPr>
            <a:lvl6pPr marL="2284856" indent="0">
              <a:buNone/>
              <a:defRPr sz="1600" b="1"/>
            </a:lvl6pPr>
            <a:lvl7pPr marL="2741828" indent="0">
              <a:buNone/>
              <a:defRPr sz="1600" b="1"/>
            </a:lvl7pPr>
            <a:lvl8pPr marL="3198800" indent="0">
              <a:buNone/>
              <a:defRPr sz="1600" b="1"/>
            </a:lvl8pPr>
            <a:lvl9pPr marL="3655772" indent="0">
              <a:buNone/>
              <a:defRPr sz="1600" b="1"/>
            </a:lvl9pPr>
          </a:lstStyle>
          <a:p>
            <a:pPr lvl="0"/>
            <a:r>
              <a:rPr lang="en-US"/>
              <a:t>Subtitle goes here</a:t>
            </a:r>
          </a:p>
        </p:txBody>
      </p:sp>
      <p:pic>
        <p:nvPicPr>
          <p:cNvPr id="21" name="Shape 837">
            <a:extLst>
              <a:ext uri="{FF2B5EF4-FFF2-40B4-BE49-F238E27FC236}">
                <a16:creationId xmlns:a16="http://schemas.microsoft.com/office/drawing/2014/main" id="{FCE5B30E-BD98-4A8E-AC96-A66F728F6770}"/>
              </a:ext>
            </a:extLst>
          </p:cNvPr>
          <p:cNvPicPr preferRelativeResize="0"/>
          <p:nvPr userDrawn="1"/>
        </p:nvPicPr>
        <p:blipFill rotWithShape="1">
          <a:blip r:embed="rId2" cstate="screen">
            <a:alphaModFix/>
            <a:extLst>
              <a:ext uri="{28A0092B-C50C-407E-A947-70E740481C1C}">
                <a14:useLocalDpi xmlns:a14="http://schemas.microsoft.com/office/drawing/2010/main"/>
              </a:ext>
            </a:extLst>
          </a:blip>
          <a:srcRect/>
          <a:stretch/>
        </p:blipFill>
        <p:spPr>
          <a:xfrm>
            <a:off x="5941606" y="919359"/>
            <a:ext cx="5433383" cy="4455053"/>
          </a:xfrm>
          <a:prstGeom prst="rect">
            <a:avLst/>
          </a:prstGeom>
          <a:noFill/>
          <a:ln>
            <a:noFill/>
          </a:ln>
        </p:spPr>
      </p:pic>
      <p:sp>
        <p:nvSpPr>
          <p:cNvPr id="24" name="Picture Placeholder 6">
            <a:extLst>
              <a:ext uri="{FF2B5EF4-FFF2-40B4-BE49-F238E27FC236}">
                <a16:creationId xmlns:a16="http://schemas.microsoft.com/office/drawing/2014/main" id="{278EB4C9-6423-4889-877F-CF2AB219040E}"/>
              </a:ext>
            </a:extLst>
          </p:cNvPr>
          <p:cNvSpPr>
            <a:spLocks noGrp="1"/>
          </p:cNvSpPr>
          <p:nvPr>
            <p:ph type="pic" sz="quarter" idx="15" hasCustomPrompt="1"/>
          </p:nvPr>
        </p:nvSpPr>
        <p:spPr>
          <a:xfrm>
            <a:off x="6367357" y="1169109"/>
            <a:ext cx="4617739" cy="2542488"/>
          </a:xfrm>
          <a:prstGeom prst="rect">
            <a:avLst/>
          </a:prstGeom>
          <a:solidFill>
            <a:schemeClr val="bg1">
              <a:lumMod val="95000"/>
            </a:schemeClr>
          </a:solidFill>
        </p:spPr>
        <p:txBody>
          <a:bodyPr anchor="ctr"/>
          <a:lstStyle>
            <a:lvl1pPr marL="0" indent="0" algn="ctr">
              <a:buNone/>
              <a:defRPr>
                <a:latin typeface="Roboto" panose="02000000000000000000" pitchFamily="2" charset="0"/>
                <a:ea typeface="Roboto" panose="02000000000000000000" pitchFamily="2" charset="0"/>
              </a:defRPr>
            </a:lvl1pPr>
          </a:lstStyle>
          <a:p>
            <a:r>
              <a:rPr lang="en-US"/>
              <a:t>CLICK TO INSERT SCREENSHOT</a:t>
            </a:r>
          </a:p>
        </p:txBody>
      </p:sp>
      <p:sp>
        <p:nvSpPr>
          <p:cNvPr id="11" name="Right Triangle 10">
            <a:extLst>
              <a:ext uri="{FF2B5EF4-FFF2-40B4-BE49-F238E27FC236}">
                <a16:creationId xmlns:a16="http://schemas.microsoft.com/office/drawing/2014/main" id="{4A777C70-5652-864C-86C3-2876743FF62D}"/>
              </a:ext>
            </a:extLst>
          </p:cNvPr>
          <p:cNvSpPr/>
          <p:nvPr userDrawn="1"/>
        </p:nvSpPr>
        <p:spPr>
          <a:xfrm rot="5400000" flipH="1" flipV="1">
            <a:off x="8079706" y="2758967"/>
            <a:ext cx="2123830" cy="6094413"/>
          </a:xfrm>
          <a:prstGeom prst="r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37124" tIns="91416" rIns="137124" bIns="91416" rtlCol="0" anchor="ct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12" name="Right Triangle 11">
            <a:extLst>
              <a:ext uri="{FF2B5EF4-FFF2-40B4-BE49-F238E27FC236}">
                <a16:creationId xmlns:a16="http://schemas.microsoft.com/office/drawing/2014/main" id="{553953B1-E5D9-F744-ADD9-C6DDFA76AAF4}"/>
              </a:ext>
            </a:extLst>
          </p:cNvPr>
          <p:cNvSpPr/>
          <p:nvPr userDrawn="1"/>
        </p:nvSpPr>
        <p:spPr>
          <a:xfrm rot="5400000" flipH="1" flipV="1">
            <a:off x="8199801" y="2879063"/>
            <a:ext cx="1883641" cy="6094413"/>
          </a:xfrm>
          <a:prstGeom prst="rtTriangle">
            <a:avLst/>
          </a:prstGeom>
          <a:solidFill>
            <a:srgbClr val="070606"/>
          </a:solidFill>
          <a:ln>
            <a:noFill/>
          </a:ln>
        </p:spPr>
        <p:style>
          <a:lnRef idx="2">
            <a:schemeClr val="accent1">
              <a:shade val="50000"/>
            </a:schemeClr>
          </a:lnRef>
          <a:fillRef idx="1">
            <a:schemeClr val="accent1"/>
          </a:fillRef>
          <a:effectRef idx="0">
            <a:schemeClr val="accent1"/>
          </a:effectRef>
          <a:fontRef idx="minor">
            <a:schemeClr val="lt1"/>
          </a:fontRef>
        </p:style>
        <p:txBody>
          <a:bodyPr lIns="137124" tIns="91416" rIns="137124" bIns="91416" rtlCol="0" anchor="ct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pic>
        <p:nvPicPr>
          <p:cNvPr id="10" name="Picture 9">
            <a:extLst>
              <a:ext uri="{FF2B5EF4-FFF2-40B4-BE49-F238E27FC236}">
                <a16:creationId xmlns:a16="http://schemas.microsoft.com/office/drawing/2014/main" id="{2CC7850E-D44D-3848-ADF8-1085193142A7}"/>
              </a:ext>
            </a:extLst>
          </p:cNvPr>
          <p:cNvPicPr>
            <a:picLocks noChangeAspect="1"/>
          </p:cNvPicPr>
          <p:nvPr userDrawn="1"/>
        </p:nvPicPr>
        <p:blipFill>
          <a:blip r:embed="rId3"/>
          <a:stretch>
            <a:fillRect/>
          </a:stretch>
        </p:blipFill>
        <p:spPr>
          <a:xfrm>
            <a:off x="9742965" y="6094698"/>
            <a:ext cx="2041656" cy="704088"/>
          </a:xfrm>
          <a:prstGeom prst="rect">
            <a:avLst/>
          </a:prstGeom>
        </p:spPr>
      </p:pic>
      <p:sp>
        <p:nvSpPr>
          <p:cNvPr id="5" name="Text Placeholder 4">
            <a:extLst>
              <a:ext uri="{FF2B5EF4-FFF2-40B4-BE49-F238E27FC236}">
                <a16:creationId xmlns:a16="http://schemas.microsoft.com/office/drawing/2014/main" id="{16D13F5F-F62A-ED4E-A4B4-4A5D0CC0DF06}"/>
              </a:ext>
            </a:extLst>
          </p:cNvPr>
          <p:cNvSpPr>
            <a:spLocks noGrp="1"/>
          </p:cNvSpPr>
          <p:nvPr>
            <p:ph type="body" sz="quarter" idx="28" hasCustomPrompt="1"/>
          </p:nvPr>
        </p:nvSpPr>
        <p:spPr>
          <a:xfrm>
            <a:off x="974325" y="2290539"/>
            <a:ext cx="5027454" cy="914400"/>
          </a:xfrm>
          <a:prstGeom prst="rect">
            <a:avLst/>
          </a:prstGeom>
        </p:spPr>
        <p:txBody>
          <a:bodyPr lIns="0"/>
          <a:lstStyle>
            <a:lvl1pPr marL="0" indent="0">
              <a:buNone/>
              <a:defRPr sz="6598" b="0">
                <a:latin typeface="+mj-lt"/>
                <a:ea typeface="Roboto" panose="02000000000000000000" pitchFamily="2" charset="0"/>
              </a:defRPr>
            </a:lvl1pPr>
          </a:lstStyle>
          <a:p>
            <a:pPr lvl="0"/>
            <a:r>
              <a:rPr lang="en-US"/>
              <a:t>DEMO</a:t>
            </a:r>
          </a:p>
        </p:txBody>
      </p:sp>
    </p:spTree>
    <p:extLst>
      <p:ext uri="{BB962C8B-B14F-4D97-AF65-F5344CB8AC3E}">
        <p14:creationId xmlns:p14="http://schemas.microsoft.com/office/powerpoint/2010/main" val="3363079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Only_Blank">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488950" y="482602"/>
            <a:ext cx="11188699" cy="1066798"/>
          </a:xfrm>
          <a:prstGeom prst="rect">
            <a:avLst/>
          </a:prstGeom>
        </p:spPr>
        <p:txBody>
          <a:bodyPr lIns="0"/>
          <a:lstStyle>
            <a:lvl1pPr>
              <a:defRPr baseline="0">
                <a:solidFill>
                  <a:schemeClr val="tx1"/>
                </a:solidFill>
              </a:defRPr>
            </a:lvl1pPr>
          </a:lstStyle>
          <a:p>
            <a:r>
              <a:rPr lang="en-US" dirty="0"/>
              <a:t>Headline Goes Here, Roboto Light, 36 Points, Can Span 2 Lines</a:t>
            </a:r>
          </a:p>
        </p:txBody>
      </p:sp>
    </p:spTree>
    <p:extLst>
      <p:ext uri="{BB962C8B-B14F-4D97-AF65-F5344CB8AC3E}">
        <p14:creationId xmlns:p14="http://schemas.microsoft.com/office/powerpoint/2010/main" val="3298652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Title/Content/Half-Blank 3">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7EA730E-202D-4D0A-9895-8A3DA0473740}"/>
              </a:ext>
            </a:extLst>
          </p:cNvPr>
          <p:cNvSpPr/>
          <p:nvPr userDrawn="1"/>
        </p:nvSpPr>
        <p:spPr>
          <a:xfrm>
            <a:off x="1"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799">
              <a:latin typeface="Roboto" panose="02000000000000000000" pitchFamily="2" charset="0"/>
            </a:endParaRPr>
          </a:p>
        </p:txBody>
      </p:sp>
      <p:sp>
        <p:nvSpPr>
          <p:cNvPr id="9" name="Content Placeholder 5">
            <a:extLst>
              <a:ext uri="{FF2B5EF4-FFF2-40B4-BE49-F238E27FC236}">
                <a16:creationId xmlns:a16="http://schemas.microsoft.com/office/drawing/2014/main" id="{72E72F80-91EB-43D3-9057-E2DC59B75471}"/>
              </a:ext>
            </a:extLst>
          </p:cNvPr>
          <p:cNvSpPr>
            <a:spLocks noGrp="1"/>
          </p:cNvSpPr>
          <p:nvPr>
            <p:ph sz="quarter" idx="14" hasCustomPrompt="1"/>
          </p:nvPr>
        </p:nvSpPr>
        <p:spPr>
          <a:xfrm>
            <a:off x="493713" y="1854200"/>
            <a:ext cx="5424487" cy="4165600"/>
          </a:xfrm>
          <a:prstGeom prst="rect">
            <a:avLst/>
          </a:prstGeom>
          <a:noFill/>
        </p:spPr>
        <p:txBody>
          <a:bodyPr lIns="0"/>
          <a:lstStyle>
            <a:lvl1pPr>
              <a:buClr>
                <a:schemeClr val="bg1"/>
              </a:buClr>
              <a:defRPr baseline="0">
                <a:solidFill>
                  <a:schemeClr val="bg1"/>
                </a:solidFill>
                <a:latin typeface="Roboto" panose="02000000000000000000" pitchFamily="2" charset="0"/>
                <a:ea typeface="Roboto" panose="02000000000000000000" pitchFamily="2" charset="0"/>
              </a:defRPr>
            </a:lvl1pPr>
            <a:lvl2pPr marL="514196" indent="-169812">
              <a:defRPr baseline="0">
                <a:solidFill>
                  <a:schemeClr val="bg1"/>
                </a:solidFill>
              </a:defRPr>
            </a:lvl2pPr>
            <a:lvl3pPr>
              <a:defRPr lang="en-US" sz="1600" b="0" i="0" kern="1200" dirty="0">
                <a:solidFill>
                  <a:schemeClr val="bg1"/>
                </a:solidFill>
                <a:latin typeface="Roboto" charset="0"/>
                <a:ea typeface="Roboto" charset="0"/>
                <a:cs typeface="Roboto" charset="0"/>
              </a:defRPr>
            </a:lvl3pPr>
          </a:lstStyle>
          <a:p>
            <a:pPr lvl="0"/>
            <a:r>
              <a:rPr lang="en-US"/>
              <a:t>First bullet, Roboto Regular 20 point</a:t>
            </a:r>
          </a:p>
        </p:txBody>
      </p:sp>
      <p:sp>
        <p:nvSpPr>
          <p:cNvPr id="10" name="Title 1">
            <a:extLst>
              <a:ext uri="{FF2B5EF4-FFF2-40B4-BE49-F238E27FC236}">
                <a16:creationId xmlns:a16="http://schemas.microsoft.com/office/drawing/2014/main" id="{B96418C4-B832-4880-8986-EEAA2D4D84BA}"/>
              </a:ext>
            </a:extLst>
          </p:cNvPr>
          <p:cNvSpPr>
            <a:spLocks noGrp="1"/>
          </p:cNvSpPr>
          <p:nvPr>
            <p:ph type="title" hasCustomPrompt="1"/>
          </p:nvPr>
        </p:nvSpPr>
        <p:spPr>
          <a:xfrm>
            <a:off x="482475" y="482602"/>
            <a:ext cx="5429939" cy="1066798"/>
          </a:xfrm>
          <a:prstGeom prst="rect">
            <a:avLst/>
          </a:prstGeom>
          <a:noFill/>
        </p:spPr>
        <p:txBody>
          <a:bodyPr/>
          <a:lstStyle>
            <a:lvl1pPr>
              <a:defRPr baseline="0">
                <a:solidFill>
                  <a:schemeClr val="bg1"/>
                </a:solidFill>
              </a:defRPr>
            </a:lvl1pPr>
          </a:lstStyle>
          <a:p>
            <a:r>
              <a:rPr lang="en-US"/>
              <a:t>Headline Goes Here, Roboto Light, 36 Points</a:t>
            </a:r>
          </a:p>
        </p:txBody>
      </p:sp>
      <p:sp>
        <p:nvSpPr>
          <p:cNvPr id="2" name="TextBox 1">
            <a:extLst>
              <a:ext uri="{FF2B5EF4-FFF2-40B4-BE49-F238E27FC236}">
                <a16:creationId xmlns:a16="http://schemas.microsoft.com/office/drawing/2014/main" id="{6C099F2A-1805-4D4C-A962-65D06960807B}"/>
              </a:ext>
            </a:extLst>
          </p:cNvPr>
          <p:cNvSpPr txBox="1"/>
          <p:nvPr userDrawn="1"/>
        </p:nvSpPr>
        <p:spPr>
          <a:xfrm>
            <a:off x="176868" y="6365108"/>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063" rtl="0" eaLnBrk="1" latinLnBrk="0" hangingPunct="1"/>
            <a:fld id="{64202F7F-356F-46E2-8791-88745C87F5D9}" type="slidenum">
              <a:rPr lang="en-US" sz="900" b="0" i="0" kern="1200" smtClean="0">
                <a:solidFill>
                  <a:schemeClr val="bg1"/>
                </a:solidFill>
                <a:latin typeface="Roboto" panose="02000000000000000000" pitchFamily="2" charset="0"/>
                <a:ea typeface="Roboto" panose="02000000000000000000" pitchFamily="2" charset="0"/>
                <a:cs typeface="Roboto" charset="0"/>
              </a:rPr>
              <a:pPr marL="0" lvl="0" algn="ctr" defTabSz="457063" rtl="0" eaLnBrk="1" latinLnBrk="0" hangingPunct="1"/>
              <a:t>‹#›</a:t>
            </a:fld>
            <a:endParaRPr lang="en-US" sz="900" b="0" i="0" kern="1200">
              <a:solidFill>
                <a:schemeClr val="bg1"/>
              </a:solidFill>
              <a:latin typeface="Roboto" panose="02000000000000000000" pitchFamily="2" charset="0"/>
              <a:ea typeface="Roboto" panose="02000000000000000000" pitchFamily="2" charset="0"/>
              <a:cs typeface="Roboto" charset="0"/>
            </a:endParaRPr>
          </a:p>
        </p:txBody>
      </p:sp>
      <p:sp>
        <p:nvSpPr>
          <p:cNvPr id="5" name="TextBox 4">
            <a:extLst>
              <a:ext uri="{FF2B5EF4-FFF2-40B4-BE49-F238E27FC236}">
                <a16:creationId xmlns:a16="http://schemas.microsoft.com/office/drawing/2014/main" id="{03AA5F3A-99AF-469C-A940-3C0655CBA6CC}"/>
              </a:ext>
            </a:extLst>
          </p:cNvPr>
          <p:cNvSpPr txBox="1"/>
          <p:nvPr userDrawn="1"/>
        </p:nvSpPr>
        <p:spPr>
          <a:xfrm>
            <a:off x="1023709"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a:solidFill>
                  <a:schemeClr val="bg1"/>
                </a:solidFill>
                <a:latin typeface="Roboto" panose="02000000000000000000" pitchFamily="2" charset="0"/>
                <a:ea typeface="Roboto" panose="02000000000000000000" pitchFamily="2" charset="0"/>
                <a:cs typeface="Roboto" charset="0"/>
              </a:rPr>
              <a:t>© Informatica. Proprietary and Confidential.</a:t>
            </a:r>
          </a:p>
        </p:txBody>
      </p:sp>
    </p:spTree>
    <p:extLst>
      <p:ext uri="{BB962C8B-B14F-4D97-AF65-F5344CB8AC3E}">
        <p14:creationId xmlns:p14="http://schemas.microsoft.com/office/powerpoint/2010/main" val="174552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Content/Half-Blank 4">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7EA730E-202D-4D0A-9895-8A3DA0473740}"/>
              </a:ext>
            </a:extLst>
          </p:cNvPr>
          <p:cNvSpPr/>
          <p:nvPr userDrawn="1"/>
        </p:nvSpPr>
        <p:spPr>
          <a:xfrm>
            <a:off x="6461185" y="0"/>
            <a:ext cx="574424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799">
              <a:latin typeface="Roboto" panose="02000000000000000000" pitchFamily="2" charset="0"/>
            </a:endParaRPr>
          </a:p>
        </p:txBody>
      </p:sp>
      <p:sp>
        <p:nvSpPr>
          <p:cNvPr id="9" name="Content Placeholder 5">
            <a:extLst>
              <a:ext uri="{FF2B5EF4-FFF2-40B4-BE49-F238E27FC236}">
                <a16:creationId xmlns:a16="http://schemas.microsoft.com/office/drawing/2014/main" id="{72E72F80-91EB-43D3-9057-E2DC59B75471}"/>
              </a:ext>
            </a:extLst>
          </p:cNvPr>
          <p:cNvSpPr>
            <a:spLocks noGrp="1"/>
          </p:cNvSpPr>
          <p:nvPr>
            <p:ph sz="quarter" idx="14" hasCustomPrompt="1"/>
          </p:nvPr>
        </p:nvSpPr>
        <p:spPr>
          <a:xfrm>
            <a:off x="6694098" y="1854200"/>
            <a:ext cx="4983552" cy="4165600"/>
          </a:xfrm>
          <a:prstGeom prst="rect">
            <a:avLst/>
          </a:prstGeom>
        </p:spPr>
        <p:txBody>
          <a:bodyPr lIns="0"/>
          <a:lstStyle>
            <a:lvl1pPr>
              <a:buClr>
                <a:schemeClr val="bg1"/>
              </a:buClr>
              <a:defRPr baseline="0">
                <a:solidFill>
                  <a:schemeClr val="bg1"/>
                </a:solidFill>
                <a:latin typeface="Roboto" panose="02000000000000000000" pitchFamily="2" charset="0"/>
                <a:ea typeface="Roboto" panose="02000000000000000000" pitchFamily="2" charset="0"/>
              </a:defRPr>
            </a:lvl1pPr>
            <a:lvl2pPr marL="514196" indent="-169812">
              <a:defRPr baseline="0">
                <a:solidFill>
                  <a:schemeClr val="bg1"/>
                </a:solidFill>
              </a:defRPr>
            </a:lvl2pPr>
            <a:lvl3pPr>
              <a:defRPr lang="en-US" sz="1600" b="0" i="0" kern="1200" dirty="0">
                <a:solidFill>
                  <a:schemeClr val="bg1"/>
                </a:solidFill>
                <a:latin typeface="Roboto" charset="0"/>
                <a:ea typeface="Roboto" charset="0"/>
                <a:cs typeface="Roboto" charset="0"/>
              </a:defRPr>
            </a:lvl3pPr>
          </a:lstStyle>
          <a:p>
            <a:pPr lvl="0"/>
            <a:r>
              <a:rPr lang="en-US"/>
              <a:t>First bullet, Roboto Regular 20 point</a:t>
            </a:r>
          </a:p>
        </p:txBody>
      </p:sp>
      <p:sp>
        <p:nvSpPr>
          <p:cNvPr id="10" name="Title 1">
            <a:extLst>
              <a:ext uri="{FF2B5EF4-FFF2-40B4-BE49-F238E27FC236}">
                <a16:creationId xmlns:a16="http://schemas.microsoft.com/office/drawing/2014/main" id="{B96418C4-B832-4880-8986-EEAA2D4D84BA}"/>
              </a:ext>
            </a:extLst>
          </p:cNvPr>
          <p:cNvSpPr>
            <a:spLocks noGrp="1"/>
          </p:cNvSpPr>
          <p:nvPr>
            <p:ph type="title" hasCustomPrompt="1"/>
          </p:nvPr>
        </p:nvSpPr>
        <p:spPr>
          <a:xfrm>
            <a:off x="6683302" y="482602"/>
            <a:ext cx="4988561" cy="1066798"/>
          </a:xfrm>
          <a:prstGeom prst="rect">
            <a:avLst/>
          </a:prstGeom>
        </p:spPr>
        <p:txBody>
          <a:bodyPr/>
          <a:lstStyle>
            <a:lvl1pPr>
              <a:defRPr baseline="0">
                <a:solidFill>
                  <a:schemeClr val="bg1"/>
                </a:solidFill>
              </a:defRPr>
            </a:lvl1pPr>
          </a:lstStyle>
          <a:p>
            <a:r>
              <a:rPr lang="en-US"/>
              <a:t>Headline Goes Here, Roboto Light, 36 Points</a:t>
            </a:r>
          </a:p>
        </p:txBody>
      </p:sp>
      <p:sp>
        <p:nvSpPr>
          <p:cNvPr id="3" name="TextBox 2">
            <a:extLst>
              <a:ext uri="{FF2B5EF4-FFF2-40B4-BE49-F238E27FC236}">
                <a16:creationId xmlns:a16="http://schemas.microsoft.com/office/drawing/2014/main" id="{9A450B05-90D8-4F04-932F-83CD8495F832}"/>
              </a:ext>
            </a:extLst>
          </p:cNvPr>
          <p:cNvSpPr txBox="1"/>
          <p:nvPr userDrawn="1"/>
        </p:nvSpPr>
        <p:spPr>
          <a:xfrm>
            <a:off x="176868" y="6365108"/>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063" rtl="0" eaLnBrk="1" latinLnBrk="0" hangingPunct="1"/>
            <a:fld id="{64202F7F-356F-46E2-8791-88745C87F5D9}" type="slidenum">
              <a:rPr lang="en-US" sz="900" b="0" i="0" kern="1200" smtClean="0">
                <a:solidFill>
                  <a:schemeClr val="tx1"/>
                </a:solidFill>
                <a:latin typeface="Roboto" panose="02000000000000000000" pitchFamily="2" charset="0"/>
                <a:ea typeface="Roboto" panose="02000000000000000000" pitchFamily="2" charset="0"/>
                <a:cs typeface="Roboto" charset="0"/>
              </a:rPr>
              <a:pPr marL="0" lvl="0" algn="ctr" defTabSz="457063" rtl="0" eaLnBrk="1" latinLnBrk="0" hangingPunct="1"/>
              <a:t>‹#›</a:t>
            </a:fld>
            <a:endParaRPr lang="en-US" sz="900" b="0" i="0" kern="1200">
              <a:solidFill>
                <a:schemeClr val="tx1"/>
              </a:solidFill>
              <a:latin typeface="Roboto" panose="02000000000000000000" pitchFamily="2" charset="0"/>
              <a:ea typeface="Roboto" panose="02000000000000000000" pitchFamily="2" charset="0"/>
              <a:cs typeface="Roboto" charset="0"/>
            </a:endParaRPr>
          </a:p>
        </p:txBody>
      </p:sp>
      <p:sp>
        <p:nvSpPr>
          <p:cNvPr id="6" name="TextBox 5">
            <a:extLst>
              <a:ext uri="{FF2B5EF4-FFF2-40B4-BE49-F238E27FC236}">
                <a16:creationId xmlns:a16="http://schemas.microsoft.com/office/drawing/2014/main" id="{D04B70F9-FF2A-487C-8807-EEB5ACDB4AD2}"/>
              </a:ext>
            </a:extLst>
          </p:cNvPr>
          <p:cNvSpPr txBox="1"/>
          <p:nvPr userDrawn="1"/>
        </p:nvSpPr>
        <p:spPr>
          <a:xfrm>
            <a:off x="1023709"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a:solidFill>
                  <a:schemeClr val="tx1"/>
                </a:solidFill>
                <a:latin typeface="Roboto" panose="02000000000000000000" pitchFamily="2" charset="0"/>
                <a:ea typeface="Roboto" panose="02000000000000000000" pitchFamily="2" charset="0"/>
                <a:cs typeface="Roboto" charset="0"/>
              </a:rPr>
              <a:t>© Informatica. Proprietary and Confidential.</a:t>
            </a:r>
          </a:p>
        </p:txBody>
      </p:sp>
    </p:spTree>
    <p:extLst>
      <p:ext uri="{BB962C8B-B14F-4D97-AF65-F5344CB8AC3E}">
        <p14:creationId xmlns:p14="http://schemas.microsoft.com/office/powerpoint/2010/main" val="3612371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hank you slide w/ clouds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1CE8D14C-0995-9546-930B-796CBEC37543}"/>
              </a:ext>
            </a:extLst>
          </p:cNvPr>
          <p:cNvSpPr/>
          <p:nvPr userDrawn="1"/>
        </p:nvSpPr>
        <p:spPr>
          <a:xfrm rot="16200000">
            <a:off x="4973323" y="1598219"/>
            <a:ext cx="6865702" cy="3660367"/>
          </a:xfrm>
          <a:custGeom>
            <a:avLst/>
            <a:gdLst>
              <a:gd name="connsiteX0" fmla="*/ 6837041 w 6837041"/>
              <a:gd name="connsiteY0" fmla="*/ 3595080 h 3595080"/>
              <a:gd name="connsiteX1" fmla="*/ 0 w 6837041"/>
              <a:gd name="connsiteY1" fmla="*/ 443330 h 3595080"/>
              <a:gd name="connsiteX2" fmla="*/ 0 w 6837041"/>
              <a:gd name="connsiteY2" fmla="*/ 0 h 3595080"/>
              <a:gd name="connsiteX0" fmla="*/ 6859268 w 6859268"/>
              <a:gd name="connsiteY0" fmla="*/ 3601433 h 3601433"/>
              <a:gd name="connsiteX1" fmla="*/ 0 w 6859268"/>
              <a:gd name="connsiteY1" fmla="*/ 443330 h 3601433"/>
              <a:gd name="connsiteX2" fmla="*/ 0 w 6859268"/>
              <a:gd name="connsiteY2" fmla="*/ 0 h 3601433"/>
              <a:gd name="connsiteX3" fmla="*/ 6859268 w 6859268"/>
              <a:gd name="connsiteY3" fmla="*/ 3601433 h 3601433"/>
              <a:gd name="connsiteX0" fmla="*/ 6881570 w 6881570"/>
              <a:gd name="connsiteY0" fmla="*/ 3657189 h 3657189"/>
              <a:gd name="connsiteX1" fmla="*/ 22302 w 6881570"/>
              <a:gd name="connsiteY1" fmla="*/ 499086 h 3657189"/>
              <a:gd name="connsiteX2" fmla="*/ 0 w 6881570"/>
              <a:gd name="connsiteY2" fmla="*/ 0 h 3657189"/>
              <a:gd name="connsiteX3" fmla="*/ 6881570 w 6881570"/>
              <a:gd name="connsiteY3" fmla="*/ 3657189 h 3657189"/>
              <a:gd name="connsiteX0" fmla="*/ 6862521 w 6862521"/>
              <a:gd name="connsiteY0" fmla="*/ 3657189 h 3657189"/>
              <a:gd name="connsiteX1" fmla="*/ 3253 w 6862521"/>
              <a:gd name="connsiteY1" fmla="*/ 499086 h 3657189"/>
              <a:gd name="connsiteX2" fmla="*/ 0 w 6862521"/>
              <a:gd name="connsiteY2" fmla="*/ 0 h 3657189"/>
              <a:gd name="connsiteX3" fmla="*/ 6862521 w 6862521"/>
              <a:gd name="connsiteY3" fmla="*/ 3657189 h 3657189"/>
              <a:gd name="connsiteX0" fmla="*/ 6862521 w 6862521"/>
              <a:gd name="connsiteY0" fmla="*/ 3654014 h 3654014"/>
              <a:gd name="connsiteX1" fmla="*/ 3253 w 6862521"/>
              <a:gd name="connsiteY1" fmla="*/ 499086 h 3654014"/>
              <a:gd name="connsiteX2" fmla="*/ 0 w 6862521"/>
              <a:gd name="connsiteY2" fmla="*/ 0 h 3654014"/>
              <a:gd name="connsiteX3" fmla="*/ 6862521 w 6862521"/>
              <a:gd name="connsiteY3" fmla="*/ 3654014 h 3654014"/>
              <a:gd name="connsiteX0" fmla="*/ 6865698 w 6865698"/>
              <a:gd name="connsiteY0" fmla="*/ 3660367 h 3660367"/>
              <a:gd name="connsiteX1" fmla="*/ 3253 w 6865698"/>
              <a:gd name="connsiteY1" fmla="*/ 499086 h 3660367"/>
              <a:gd name="connsiteX2" fmla="*/ 0 w 6865698"/>
              <a:gd name="connsiteY2" fmla="*/ 0 h 3660367"/>
              <a:gd name="connsiteX3" fmla="*/ 6865698 w 6865698"/>
              <a:gd name="connsiteY3" fmla="*/ 3660367 h 3660367"/>
            </a:gdLst>
            <a:ahLst/>
            <a:cxnLst>
              <a:cxn ang="0">
                <a:pos x="connsiteX0" y="connsiteY0"/>
              </a:cxn>
              <a:cxn ang="0">
                <a:pos x="connsiteX1" y="connsiteY1"/>
              </a:cxn>
              <a:cxn ang="0">
                <a:pos x="connsiteX2" y="connsiteY2"/>
              </a:cxn>
              <a:cxn ang="0">
                <a:pos x="connsiteX3" y="connsiteY3"/>
              </a:cxn>
            </a:cxnLst>
            <a:rect l="l" t="t" r="r" b="b"/>
            <a:pathLst>
              <a:path w="6865698" h="3660367">
                <a:moveTo>
                  <a:pt x="6865698" y="3660367"/>
                </a:moveTo>
                <a:lnTo>
                  <a:pt x="3253" y="499086"/>
                </a:lnTo>
                <a:cubicBezTo>
                  <a:pt x="2169" y="332724"/>
                  <a:pt x="1084" y="166362"/>
                  <a:pt x="0" y="0"/>
                </a:cubicBezTo>
                <a:lnTo>
                  <a:pt x="6865698" y="3660367"/>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799">
              <a:solidFill>
                <a:schemeClr val="accent1"/>
              </a:solidFill>
              <a:latin typeface="Roboto" panose="02000000000000000000" pitchFamily="2" charset="0"/>
            </a:endParaRPr>
          </a:p>
        </p:txBody>
      </p:sp>
      <p:sp>
        <p:nvSpPr>
          <p:cNvPr id="13" name="Freeform 12">
            <a:extLst>
              <a:ext uri="{FF2B5EF4-FFF2-40B4-BE49-F238E27FC236}">
                <a16:creationId xmlns:a16="http://schemas.microsoft.com/office/drawing/2014/main" id="{FCD3FEBB-463A-0A4C-9DBE-6770EDCA2BE8}"/>
              </a:ext>
            </a:extLst>
          </p:cNvPr>
          <p:cNvSpPr/>
          <p:nvPr userDrawn="1"/>
        </p:nvSpPr>
        <p:spPr>
          <a:xfrm>
            <a:off x="7020383" y="252"/>
            <a:ext cx="5168442" cy="6857751"/>
          </a:xfrm>
          <a:custGeom>
            <a:avLst/>
            <a:gdLst>
              <a:gd name="connsiteX0" fmla="*/ 5168442 w 5168442"/>
              <a:gd name="connsiteY0" fmla="*/ 0 h 6857751"/>
              <a:gd name="connsiteX1" fmla="*/ 5168442 w 5168442"/>
              <a:gd name="connsiteY1" fmla="*/ 6857751 h 6857751"/>
              <a:gd name="connsiteX2" fmla="*/ 4990745 w 5168442"/>
              <a:gd name="connsiteY2" fmla="*/ 6857751 h 6857751"/>
              <a:gd name="connsiteX3" fmla="*/ 3561939 w 5168442"/>
              <a:gd name="connsiteY3" fmla="*/ 6857751 h 6857751"/>
              <a:gd name="connsiteX4" fmla="*/ 3561939 w 5168442"/>
              <a:gd name="connsiteY4" fmla="*/ 6857158 h 6857751"/>
              <a:gd name="connsiteX5" fmla="*/ 0 w 5168442"/>
              <a:gd name="connsiteY5" fmla="*/ 6855677 h 6857751"/>
              <a:gd name="connsiteX6" fmla="*/ 3213596 w 5168442"/>
              <a:gd name="connsiteY6" fmla="*/ 4195 h 6857751"/>
              <a:gd name="connsiteX7" fmla="*/ 3561939 w 5168442"/>
              <a:gd name="connsiteY7" fmla="*/ 4195 h 6857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68442" h="6857751">
                <a:moveTo>
                  <a:pt x="5168442" y="0"/>
                </a:moveTo>
                <a:lnTo>
                  <a:pt x="5168442" y="6857751"/>
                </a:lnTo>
                <a:lnTo>
                  <a:pt x="4990745" y="6857751"/>
                </a:lnTo>
                <a:lnTo>
                  <a:pt x="3561939" y="6857751"/>
                </a:lnTo>
                <a:lnTo>
                  <a:pt x="3561939" y="6857158"/>
                </a:lnTo>
                <a:lnTo>
                  <a:pt x="0" y="6855677"/>
                </a:lnTo>
                <a:lnTo>
                  <a:pt x="3213596" y="4195"/>
                </a:lnTo>
                <a:lnTo>
                  <a:pt x="3561939" y="4195"/>
                </a:lnTo>
                <a:close/>
              </a:path>
            </a:pathLst>
          </a:custGeom>
          <a:gradFill>
            <a:gsLst>
              <a:gs pos="0">
                <a:schemeClr val="accent2"/>
              </a:gs>
              <a:gs pos="76000">
                <a:srgbClr val="FF6500"/>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7124" tIns="91416" rIns="137124" bIns="91416" rtlCol="0" anchor="ctr">
            <a:noAutofit/>
          </a:bodyPr>
          <a:lstStyle/>
          <a:p>
            <a:pPr lvl="0"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15" name="Freeform 14">
            <a:extLst>
              <a:ext uri="{FF2B5EF4-FFF2-40B4-BE49-F238E27FC236}">
                <a16:creationId xmlns:a16="http://schemas.microsoft.com/office/drawing/2014/main" id="{7080FCD3-965E-D74F-AFD1-4B52F5799914}"/>
              </a:ext>
            </a:extLst>
          </p:cNvPr>
          <p:cNvSpPr/>
          <p:nvPr userDrawn="1"/>
        </p:nvSpPr>
        <p:spPr>
          <a:xfrm>
            <a:off x="7407017" y="4547198"/>
            <a:ext cx="4785372" cy="2310802"/>
          </a:xfrm>
          <a:custGeom>
            <a:avLst/>
            <a:gdLst>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16268 w 4717029"/>
              <a:gd name="connsiteY12" fmla="*/ 1924881 h 2310802"/>
              <a:gd name="connsiteX13" fmla="*/ 537304 w 4717029"/>
              <a:gd name="connsiteY13" fmla="*/ 1927002 h 2310802"/>
              <a:gd name="connsiteX14" fmla="*/ 555320 w 4717029"/>
              <a:gd name="connsiteY14" fmla="*/ 1748290 h 2310802"/>
              <a:gd name="connsiteX15" fmla="*/ 1458267 w 4717029"/>
              <a:gd name="connsiteY15" fmla="*/ 1012367 h 2310802"/>
              <a:gd name="connsiteX16" fmla="*/ 2307510 w 4717029"/>
              <a:gd name="connsiteY16" fmla="*/ 1575283 h 2310802"/>
              <a:gd name="connsiteX17" fmla="*/ 2359658 w 4717029"/>
              <a:gd name="connsiteY17" fmla="*/ 1743278 h 2310802"/>
              <a:gd name="connsiteX18" fmla="*/ 2697671 w 4717029"/>
              <a:gd name="connsiteY18" fmla="*/ 1743278 h 2310802"/>
              <a:gd name="connsiteX19" fmla="*/ 2691684 w 4717029"/>
              <a:gd name="connsiteY19" fmla="*/ 1683894 h 2310802"/>
              <a:gd name="connsiteX20" fmla="*/ 3479644 w 4717029"/>
              <a:gd name="connsiteY20" fmla="*/ 895934 h 2310802"/>
              <a:gd name="connsiteX21" fmla="*/ 3555657 w 4717029"/>
              <a:gd name="connsiteY21" fmla="*/ 899772 h 2310802"/>
              <a:gd name="connsiteX22" fmla="*/ 3556684 w 4717029"/>
              <a:gd name="connsiteY22" fmla="*/ 889585 h 2310802"/>
              <a:gd name="connsiteX23" fmla="*/ 4648168 w 4717029"/>
              <a:gd name="connsiteY23"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16268 w 4717029"/>
              <a:gd name="connsiteY12" fmla="*/ 1924881 h 2310802"/>
              <a:gd name="connsiteX13" fmla="*/ 555320 w 4717029"/>
              <a:gd name="connsiteY13" fmla="*/ 1748290 h 2310802"/>
              <a:gd name="connsiteX14" fmla="*/ 1458267 w 4717029"/>
              <a:gd name="connsiteY14" fmla="*/ 1012367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55320 w 4717029"/>
              <a:gd name="connsiteY13" fmla="*/ 1748290 h 2310802"/>
              <a:gd name="connsiteX14" fmla="*/ 1458267 w 4717029"/>
              <a:gd name="connsiteY14" fmla="*/ 1012367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55320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55320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55320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73608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73608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73608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479620 w 4717029"/>
              <a:gd name="connsiteY14" fmla="*/ 1020114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6903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76504 w 4745365"/>
              <a:gd name="connsiteY0" fmla="*/ 0 h 2310802"/>
              <a:gd name="connsiteX1" fmla="*/ 4745365 w 4745365"/>
              <a:gd name="connsiteY1" fmla="*/ 3477 h 2310802"/>
              <a:gd name="connsiteX2" fmla="*/ 4745365 w 4745365"/>
              <a:gd name="connsiteY2" fmla="*/ 2224761 h 2310802"/>
              <a:gd name="connsiteX3" fmla="*/ 4676504 w 4745365"/>
              <a:gd name="connsiteY3" fmla="*/ 2228238 h 2310802"/>
              <a:gd name="connsiteX4" fmla="*/ 4193487 w 4745365"/>
              <a:gd name="connsiteY4" fmla="*/ 2118374 h 2310802"/>
              <a:gd name="connsiteX5" fmla="*/ 4171520 w 4745365"/>
              <a:gd name="connsiteY5" fmla="*/ 2105748 h 2310802"/>
              <a:gd name="connsiteX6" fmla="*/ 4161369 w 4745365"/>
              <a:gd name="connsiteY6" fmla="*/ 2124450 h 2310802"/>
              <a:gd name="connsiteX7" fmla="*/ 4065152 w 4745365"/>
              <a:gd name="connsiteY7" fmla="*/ 2241066 h 2310802"/>
              <a:gd name="connsiteX8" fmla="*/ 3986221 w 4745365"/>
              <a:gd name="connsiteY8" fmla="*/ 2306190 h 2310802"/>
              <a:gd name="connsiteX9" fmla="*/ 3986221 w 4745365"/>
              <a:gd name="connsiteY9" fmla="*/ 2310802 h 2310802"/>
              <a:gd name="connsiteX10" fmla="*/ 0 w 4745365"/>
              <a:gd name="connsiteY10" fmla="*/ 2310802 h 2310802"/>
              <a:gd name="connsiteX11" fmla="*/ 45422 w 4745365"/>
              <a:gd name="connsiteY11" fmla="*/ 2255761 h 2310802"/>
              <a:gd name="connsiteX12" fmla="*/ 551119 w 4745365"/>
              <a:gd name="connsiteY12" fmla="*/ 1890083 h 2310802"/>
              <a:gd name="connsiteX13" fmla="*/ 575332 w 4745365"/>
              <a:gd name="connsiteY13" fmla="*/ 1748290 h 2310802"/>
              <a:gd name="connsiteX14" fmla="*/ 1504807 w 4745365"/>
              <a:gd name="connsiteY14" fmla="*/ 1035989 h 2310802"/>
              <a:gd name="connsiteX15" fmla="*/ 2335846 w 4745365"/>
              <a:gd name="connsiteY15" fmla="*/ 1575283 h 2310802"/>
              <a:gd name="connsiteX16" fmla="*/ 2387994 w 4745365"/>
              <a:gd name="connsiteY16" fmla="*/ 1743278 h 2310802"/>
              <a:gd name="connsiteX17" fmla="*/ 2726007 w 4745365"/>
              <a:gd name="connsiteY17" fmla="*/ 1743278 h 2310802"/>
              <a:gd name="connsiteX18" fmla="*/ 2720020 w 4745365"/>
              <a:gd name="connsiteY18" fmla="*/ 1683894 h 2310802"/>
              <a:gd name="connsiteX19" fmla="*/ 3507980 w 4745365"/>
              <a:gd name="connsiteY19" fmla="*/ 895934 h 2310802"/>
              <a:gd name="connsiteX20" fmla="*/ 3583993 w 4745365"/>
              <a:gd name="connsiteY20" fmla="*/ 899772 h 2310802"/>
              <a:gd name="connsiteX21" fmla="*/ 3585020 w 4745365"/>
              <a:gd name="connsiteY21" fmla="*/ 889585 h 2310802"/>
              <a:gd name="connsiteX22" fmla="*/ 4676504 w 4745365"/>
              <a:gd name="connsiteY22" fmla="*/ 0 h 2310802"/>
              <a:gd name="connsiteX0" fmla="*/ 4676504 w 4745365"/>
              <a:gd name="connsiteY0" fmla="*/ 0 h 2310802"/>
              <a:gd name="connsiteX1" fmla="*/ 4745365 w 4745365"/>
              <a:gd name="connsiteY1" fmla="*/ 3477 h 2310802"/>
              <a:gd name="connsiteX2" fmla="*/ 4745365 w 4745365"/>
              <a:gd name="connsiteY2" fmla="*/ 2224761 h 2310802"/>
              <a:gd name="connsiteX3" fmla="*/ 4676504 w 4745365"/>
              <a:gd name="connsiteY3" fmla="*/ 2228238 h 2310802"/>
              <a:gd name="connsiteX4" fmla="*/ 4193487 w 4745365"/>
              <a:gd name="connsiteY4" fmla="*/ 2118374 h 2310802"/>
              <a:gd name="connsiteX5" fmla="*/ 4171520 w 4745365"/>
              <a:gd name="connsiteY5" fmla="*/ 2105748 h 2310802"/>
              <a:gd name="connsiteX6" fmla="*/ 4161369 w 4745365"/>
              <a:gd name="connsiteY6" fmla="*/ 2124450 h 2310802"/>
              <a:gd name="connsiteX7" fmla="*/ 4065152 w 4745365"/>
              <a:gd name="connsiteY7" fmla="*/ 2241066 h 2310802"/>
              <a:gd name="connsiteX8" fmla="*/ 3986221 w 4745365"/>
              <a:gd name="connsiteY8" fmla="*/ 2306190 h 2310802"/>
              <a:gd name="connsiteX9" fmla="*/ 3986221 w 4745365"/>
              <a:gd name="connsiteY9" fmla="*/ 2310802 h 2310802"/>
              <a:gd name="connsiteX10" fmla="*/ 0 w 4745365"/>
              <a:gd name="connsiteY10" fmla="*/ 2310802 h 2310802"/>
              <a:gd name="connsiteX11" fmla="*/ 35977 w 4745365"/>
              <a:gd name="connsiteY11" fmla="*/ 2249411 h 2310802"/>
              <a:gd name="connsiteX12" fmla="*/ 551119 w 4745365"/>
              <a:gd name="connsiteY12" fmla="*/ 1890083 h 2310802"/>
              <a:gd name="connsiteX13" fmla="*/ 575332 w 4745365"/>
              <a:gd name="connsiteY13" fmla="*/ 1748290 h 2310802"/>
              <a:gd name="connsiteX14" fmla="*/ 1504807 w 4745365"/>
              <a:gd name="connsiteY14" fmla="*/ 1035989 h 2310802"/>
              <a:gd name="connsiteX15" fmla="*/ 2335846 w 4745365"/>
              <a:gd name="connsiteY15" fmla="*/ 1575283 h 2310802"/>
              <a:gd name="connsiteX16" fmla="*/ 2387994 w 4745365"/>
              <a:gd name="connsiteY16" fmla="*/ 1743278 h 2310802"/>
              <a:gd name="connsiteX17" fmla="*/ 2726007 w 4745365"/>
              <a:gd name="connsiteY17" fmla="*/ 1743278 h 2310802"/>
              <a:gd name="connsiteX18" fmla="*/ 2720020 w 4745365"/>
              <a:gd name="connsiteY18" fmla="*/ 1683894 h 2310802"/>
              <a:gd name="connsiteX19" fmla="*/ 3507980 w 4745365"/>
              <a:gd name="connsiteY19" fmla="*/ 895934 h 2310802"/>
              <a:gd name="connsiteX20" fmla="*/ 3583993 w 4745365"/>
              <a:gd name="connsiteY20" fmla="*/ 899772 h 2310802"/>
              <a:gd name="connsiteX21" fmla="*/ 3585020 w 4745365"/>
              <a:gd name="connsiteY21" fmla="*/ 889585 h 2310802"/>
              <a:gd name="connsiteX22" fmla="*/ 4676504 w 4745365"/>
              <a:gd name="connsiteY22" fmla="*/ 0 h 2310802"/>
              <a:gd name="connsiteX0" fmla="*/ 4676504 w 4745365"/>
              <a:gd name="connsiteY0" fmla="*/ 0 h 2310802"/>
              <a:gd name="connsiteX1" fmla="*/ 4745365 w 4745365"/>
              <a:gd name="connsiteY1" fmla="*/ 3477 h 2310802"/>
              <a:gd name="connsiteX2" fmla="*/ 4745365 w 4745365"/>
              <a:gd name="connsiteY2" fmla="*/ 2224761 h 2310802"/>
              <a:gd name="connsiteX3" fmla="*/ 4676504 w 4745365"/>
              <a:gd name="connsiteY3" fmla="*/ 2228238 h 2310802"/>
              <a:gd name="connsiteX4" fmla="*/ 4193487 w 4745365"/>
              <a:gd name="connsiteY4" fmla="*/ 2118374 h 2310802"/>
              <a:gd name="connsiteX5" fmla="*/ 4171520 w 4745365"/>
              <a:gd name="connsiteY5" fmla="*/ 2105748 h 2310802"/>
              <a:gd name="connsiteX6" fmla="*/ 4161369 w 4745365"/>
              <a:gd name="connsiteY6" fmla="*/ 2124450 h 2310802"/>
              <a:gd name="connsiteX7" fmla="*/ 4065152 w 4745365"/>
              <a:gd name="connsiteY7" fmla="*/ 2241066 h 2310802"/>
              <a:gd name="connsiteX8" fmla="*/ 3986221 w 4745365"/>
              <a:gd name="connsiteY8" fmla="*/ 2306190 h 2310802"/>
              <a:gd name="connsiteX9" fmla="*/ 3986221 w 4745365"/>
              <a:gd name="connsiteY9" fmla="*/ 2310802 h 2310802"/>
              <a:gd name="connsiteX10" fmla="*/ 0 w 4745365"/>
              <a:gd name="connsiteY10" fmla="*/ 2310802 h 2310802"/>
              <a:gd name="connsiteX11" fmla="*/ 35977 w 4745365"/>
              <a:gd name="connsiteY11" fmla="*/ 2249411 h 2310802"/>
              <a:gd name="connsiteX12" fmla="*/ 551119 w 4745365"/>
              <a:gd name="connsiteY12" fmla="*/ 1890083 h 2310802"/>
              <a:gd name="connsiteX13" fmla="*/ 575332 w 4745365"/>
              <a:gd name="connsiteY13" fmla="*/ 1748290 h 2310802"/>
              <a:gd name="connsiteX14" fmla="*/ 1504807 w 4745365"/>
              <a:gd name="connsiteY14" fmla="*/ 1035989 h 2310802"/>
              <a:gd name="connsiteX15" fmla="*/ 2335846 w 4745365"/>
              <a:gd name="connsiteY15" fmla="*/ 1575283 h 2310802"/>
              <a:gd name="connsiteX16" fmla="*/ 2387994 w 4745365"/>
              <a:gd name="connsiteY16" fmla="*/ 1743278 h 2310802"/>
              <a:gd name="connsiteX17" fmla="*/ 2726007 w 4745365"/>
              <a:gd name="connsiteY17" fmla="*/ 1743278 h 2310802"/>
              <a:gd name="connsiteX18" fmla="*/ 2720020 w 4745365"/>
              <a:gd name="connsiteY18" fmla="*/ 1683894 h 2310802"/>
              <a:gd name="connsiteX19" fmla="*/ 3507980 w 4745365"/>
              <a:gd name="connsiteY19" fmla="*/ 895934 h 2310802"/>
              <a:gd name="connsiteX20" fmla="*/ 3583993 w 4745365"/>
              <a:gd name="connsiteY20" fmla="*/ 899772 h 2310802"/>
              <a:gd name="connsiteX21" fmla="*/ 3585020 w 4745365"/>
              <a:gd name="connsiteY21" fmla="*/ 889585 h 2310802"/>
              <a:gd name="connsiteX22" fmla="*/ 4676504 w 4745365"/>
              <a:gd name="connsiteY22" fmla="*/ 0 h 2310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45365" h="2310802">
                <a:moveTo>
                  <a:pt x="4676504" y="0"/>
                </a:moveTo>
                <a:lnTo>
                  <a:pt x="4745365" y="3477"/>
                </a:lnTo>
                <a:lnTo>
                  <a:pt x="4745365" y="2224761"/>
                </a:lnTo>
                <a:lnTo>
                  <a:pt x="4676504" y="2228238"/>
                </a:lnTo>
                <a:cubicBezTo>
                  <a:pt x="4503447" y="2228238"/>
                  <a:pt x="4339607" y="2188782"/>
                  <a:pt x="4193487" y="2118374"/>
                </a:cubicBezTo>
                <a:lnTo>
                  <a:pt x="4171520" y="2105748"/>
                </a:lnTo>
                <a:lnTo>
                  <a:pt x="4161369" y="2124450"/>
                </a:lnTo>
                <a:cubicBezTo>
                  <a:pt x="4133048" y="2166370"/>
                  <a:pt x="4100800" y="2205418"/>
                  <a:pt x="4065152" y="2241066"/>
                </a:cubicBezTo>
                <a:lnTo>
                  <a:pt x="3986221" y="2306190"/>
                </a:lnTo>
                <a:lnTo>
                  <a:pt x="3986221" y="2310802"/>
                </a:lnTo>
                <a:lnTo>
                  <a:pt x="0" y="2310802"/>
                </a:lnTo>
                <a:lnTo>
                  <a:pt x="35977" y="2249411"/>
                </a:lnTo>
                <a:cubicBezTo>
                  <a:pt x="146556" y="2054967"/>
                  <a:pt x="326716" y="1890083"/>
                  <a:pt x="551119" y="1890083"/>
                </a:cubicBezTo>
                <a:cubicBezTo>
                  <a:pt x="553569" y="1819535"/>
                  <a:pt x="576031" y="1793438"/>
                  <a:pt x="575332" y="1748290"/>
                </a:cubicBezTo>
                <a:cubicBezTo>
                  <a:pt x="699055" y="1334650"/>
                  <a:pt x="1082288" y="1035078"/>
                  <a:pt x="1504807" y="1035989"/>
                </a:cubicBezTo>
                <a:cubicBezTo>
                  <a:pt x="1865747" y="1036767"/>
                  <a:pt x="2195928" y="1244481"/>
                  <a:pt x="2335846" y="1575283"/>
                </a:cubicBezTo>
                <a:lnTo>
                  <a:pt x="2387994" y="1743278"/>
                </a:lnTo>
                <a:lnTo>
                  <a:pt x="2726007" y="1743278"/>
                </a:lnTo>
                <a:lnTo>
                  <a:pt x="2720020" y="1683894"/>
                </a:lnTo>
                <a:cubicBezTo>
                  <a:pt x="2720020" y="1248716"/>
                  <a:pt x="3072802" y="895934"/>
                  <a:pt x="3507980" y="895934"/>
                </a:cubicBezTo>
                <a:lnTo>
                  <a:pt x="3583993" y="899772"/>
                </a:lnTo>
                <a:cubicBezTo>
                  <a:pt x="3584335" y="896376"/>
                  <a:pt x="3584678" y="892981"/>
                  <a:pt x="3585020" y="889585"/>
                </a:cubicBezTo>
                <a:cubicBezTo>
                  <a:pt x="3688907" y="381900"/>
                  <a:pt x="4138107" y="0"/>
                  <a:pt x="467650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7124" tIns="91416" rIns="137124" bIns="91416" rtlCol="0" anchor="ctr">
            <a:noAutofit/>
          </a:bodyP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16" name="Freeform 15">
            <a:extLst>
              <a:ext uri="{FF2B5EF4-FFF2-40B4-BE49-F238E27FC236}">
                <a16:creationId xmlns:a16="http://schemas.microsoft.com/office/drawing/2014/main" id="{527C1C46-17D1-984C-A164-40A06222037F}"/>
              </a:ext>
            </a:extLst>
          </p:cNvPr>
          <p:cNvSpPr/>
          <p:nvPr userDrawn="1"/>
        </p:nvSpPr>
        <p:spPr>
          <a:xfrm>
            <a:off x="7727999" y="4675237"/>
            <a:ext cx="4461444" cy="2182765"/>
          </a:xfrm>
          <a:custGeom>
            <a:avLst/>
            <a:gdLst>
              <a:gd name="connsiteX0" fmla="*/ 4461444 w 4461444"/>
              <a:gd name="connsiteY0" fmla="*/ 0 h 2182765"/>
              <a:gd name="connsiteX1" fmla="*/ 4461444 w 4461444"/>
              <a:gd name="connsiteY1" fmla="*/ 2182765 h 2182765"/>
              <a:gd name="connsiteX2" fmla="*/ 0 w 4461444"/>
              <a:gd name="connsiteY2" fmla="*/ 2182765 h 2182765"/>
              <a:gd name="connsiteX3" fmla="*/ 24342 w 4461444"/>
              <a:gd name="connsiteY3" fmla="*/ 2153263 h 2182765"/>
              <a:gd name="connsiteX4" fmla="*/ 481037 w 4461444"/>
              <a:gd name="connsiteY4" fmla="*/ 1964093 h 2182765"/>
              <a:gd name="connsiteX5" fmla="*/ 732436 w 4461444"/>
              <a:gd name="connsiteY5" fmla="*/ 2014848 h 2182765"/>
              <a:gd name="connsiteX6" fmla="*/ 787285 w 4461444"/>
              <a:gd name="connsiteY6" fmla="*/ 2044619 h 2182765"/>
              <a:gd name="connsiteX7" fmla="*/ 809805 w 4461444"/>
              <a:gd name="connsiteY7" fmla="*/ 1961250 h 2182765"/>
              <a:gd name="connsiteX8" fmla="*/ 1286315 w 4461444"/>
              <a:gd name="connsiteY8" fmla="*/ 1550577 h 2182765"/>
              <a:gd name="connsiteX9" fmla="*/ 1321466 w 4461444"/>
              <a:gd name="connsiteY9" fmla="*/ 1547033 h 2182765"/>
              <a:gd name="connsiteX10" fmla="*/ 1323271 w 4461444"/>
              <a:gd name="connsiteY10" fmla="*/ 1529127 h 2182765"/>
              <a:gd name="connsiteX11" fmla="*/ 2205095 w 4461444"/>
              <a:gd name="connsiteY11" fmla="*/ 810420 h 2182765"/>
              <a:gd name="connsiteX12" fmla="*/ 2708356 w 4461444"/>
              <a:gd name="connsiteY12" fmla="*/ 964145 h 2182765"/>
              <a:gd name="connsiteX13" fmla="*/ 2798296 w 4461444"/>
              <a:gd name="connsiteY13" fmla="*/ 1038353 h 2182765"/>
              <a:gd name="connsiteX14" fmla="*/ 2868637 w 4461444"/>
              <a:gd name="connsiteY14" fmla="*/ 1020266 h 2182765"/>
              <a:gd name="connsiteX15" fmla="*/ 3050041 w 4461444"/>
              <a:gd name="connsiteY15" fmla="*/ 1001979 h 2182765"/>
              <a:gd name="connsiteX16" fmla="*/ 3231445 w 4461444"/>
              <a:gd name="connsiteY16" fmla="*/ 1020266 h 2182765"/>
              <a:gd name="connsiteX17" fmla="*/ 3245588 w 4461444"/>
              <a:gd name="connsiteY17" fmla="*/ 1023903 h 2182765"/>
              <a:gd name="connsiteX18" fmla="*/ 3297823 w 4461444"/>
              <a:gd name="connsiteY18" fmla="*/ 960592 h 2182765"/>
              <a:gd name="connsiteX19" fmla="*/ 3934298 w 4461444"/>
              <a:gd name="connsiteY19" fmla="*/ 696956 h 2182765"/>
              <a:gd name="connsiteX20" fmla="*/ 4115702 w 4461444"/>
              <a:gd name="connsiteY20" fmla="*/ 715243 h 2182765"/>
              <a:gd name="connsiteX21" fmla="*/ 4127211 w 4461444"/>
              <a:gd name="connsiteY21" fmla="*/ 718203 h 2182765"/>
              <a:gd name="connsiteX22" fmla="*/ 4126073 w 4461444"/>
              <a:gd name="connsiteY22" fmla="*/ 695661 h 2182765"/>
              <a:gd name="connsiteX23" fmla="*/ 4389709 w 4461444"/>
              <a:gd name="connsiteY23" fmla="*/ 59186 h 2182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461444" h="2182765">
                <a:moveTo>
                  <a:pt x="4461444" y="0"/>
                </a:moveTo>
                <a:lnTo>
                  <a:pt x="4461444" y="2182765"/>
                </a:lnTo>
                <a:lnTo>
                  <a:pt x="0" y="2182765"/>
                </a:lnTo>
                <a:lnTo>
                  <a:pt x="24342" y="2153263"/>
                </a:lnTo>
                <a:cubicBezTo>
                  <a:pt x="141221" y="2036384"/>
                  <a:pt x="302687" y="1964093"/>
                  <a:pt x="481037" y="1964093"/>
                </a:cubicBezTo>
                <a:cubicBezTo>
                  <a:pt x="570212" y="1964093"/>
                  <a:pt x="655166" y="1982166"/>
                  <a:pt x="732436" y="2014848"/>
                </a:cubicBezTo>
                <a:lnTo>
                  <a:pt x="787285" y="2044619"/>
                </a:lnTo>
                <a:lnTo>
                  <a:pt x="809805" y="1961250"/>
                </a:lnTo>
                <a:cubicBezTo>
                  <a:pt x="885867" y="1753515"/>
                  <a:pt x="1065582" y="1595745"/>
                  <a:pt x="1286315" y="1550577"/>
                </a:cubicBezTo>
                <a:lnTo>
                  <a:pt x="1321466" y="1547033"/>
                </a:lnTo>
                <a:lnTo>
                  <a:pt x="1323271" y="1529127"/>
                </a:lnTo>
                <a:cubicBezTo>
                  <a:pt x="1407203" y="1118962"/>
                  <a:pt x="1770117" y="810420"/>
                  <a:pt x="2205095" y="810420"/>
                </a:cubicBezTo>
                <a:cubicBezTo>
                  <a:pt x="2391514" y="810420"/>
                  <a:pt x="2564697" y="867091"/>
                  <a:pt x="2708356" y="964145"/>
                </a:cubicBezTo>
                <a:lnTo>
                  <a:pt x="2798296" y="1038353"/>
                </a:lnTo>
                <a:lnTo>
                  <a:pt x="2868637" y="1020266"/>
                </a:lnTo>
                <a:cubicBezTo>
                  <a:pt x="2927232" y="1008276"/>
                  <a:pt x="2987901" y="1001979"/>
                  <a:pt x="3050041" y="1001979"/>
                </a:cubicBezTo>
                <a:cubicBezTo>
                  <a:pt x="3112181" y="1001979"/>
                  <a:pt x="3172850" y="1008276"/>
                  <a:pt x="3231445" y="1020266"/>
                </a:cubicBezTo>
                <a:lnTo>
                  <a:pt x="3245588" y="1023903"/>
                </a:lnTo>
                <a:lnTo>
                  <a:pt x="3297823" y="960592"/>
                </a:lnTo>
                <a:cubicBezTo>
                  <a:pt x="3460711" y="797704"/>
                  <a:pt x="3685739" y="696956"/>
                  <a:pt x="3934298" y="696956"/>
                </a:cubicBezTo>
                <a:cubicBezTo>
                  <a:pt x="3996438" y="696956"/>
                  <a:pt x="4057107" y="703253"/>
                  <a:pt x="4115702" y="715243"/>
                </a:cubicBezTo>
                <a:lnTo>
                  <a:pt x="4127211" y="718203"/>
                </a:lnTo>
                <a:lnTo>
                  <a:pt x="4126073" y="695661"/>
                </a:lnTo>
                <a:cubicBezTo>
                  <a:pt x="4126073" y="447102"/>
                  <a:pt x="4226821" y="222074"/>
                  <a:pt x="4389709" y="59186"/>
                </a:cubicBezTo>
                <a:close/>
              </a:path>
            </a:pathLst>
          </a:custGeom>
          <a:solidFill>
            <a:schemeClr val="bg1"/>
          </a:solidFill>
          <a:ln>
            <a:noFill/>
          </a:ln>
          <a:effectLst>
            <a:outerShdw blurRad="279400" dist="76200" dir="13800000"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37124" tIns="91416" rIns="137124" bIns="91416" rtlCol="0" anchor="ctr">
            <a:noAutofit/>
          </a:bodyPr>
          <a:lstStyle/>
          <a:p>
            <a:pPr lvl="0" algn="ctr"/>
            <a:endParaRPr lang="en-US" sz="1600">
              <a:solidFill>
                <a:schemeClr val="bg1"/>
              </a:solidFill>
              <a:latin typeface="Roboto" panose="02000000000000000000" pitchFamily="2" charset="0"/>
              <a:ea typeface="Roboto" panose="02000000000000000000" pitchFamily="2" charset="0"/>
              <a:cs typeface="Roboto" charset="0"/>
            </a:endParaRPr>
          </a:p>
        </p:txBody>
      </p:sp>
      <p:pic>
        <p:nvPicPr>
          <p:cNvPr id="17" name="Picture 16">
            <a:extLst>
              <a:ext uri="{FF2B5EF4-FFF2-40B4-BE49-F238E27FC236}">
                <a16:creationId xmlns:a16="http://schemas.microsoft.com/office/drawing/2014/main" id="{C736EE30-4833-504C-A380-58CD5B2CBEBC}"/>
              </a:ext>
            </a:extLst>
          </p:cNvPr>
          <p:cNvPicPr>
            <a:picLocks noChangeAspect="1"/>
          </p:cNvPicPr>
          <p:nvPr userDrawn="1"/>
        </p:nvPicPr>
        <p:blipFill>
          <a:blip r:embed="rId3"/>
          <a:stretch>
            <a:fillRect/>
          </a:stretch>
        </p:blipFill>
        <p:spPr>
          <a:xfrm>
            <a:off x="9458461" y="6007610"/>
            <a:ext cx="2478024" cy="849901"/>
          </a:xfrm>
          <a:prstGeom prst="rect">
            <a:avLst/>
          </a:prstGeom>
        </p:spPr>
      </p:pic>
      <p:sp>
        <p:nvSpPr>
          <p:cNvPr id="18" name="Text Placeholder 23">
            <a:extLst>
              <a:ext uri="{FF2B5EF4-FFF2-40B4-BE49-F238E27FC236}">
                <a16:creationId xmlns:a16="http://schemas.microsoft.com/office/drawing/2014/main" id="{E0EBAF00-B217-E543-9DED-165705472DB8}"/>
              </a:ext>
            </a:extLst>
          </p:cNvPr>
          <p:cNvSpPr>
            <a:spLocks noGrp="1"/>
          </p:cNvSpPr>
          <p:nvPr>
            <p:ph type="body" sz="quarter" idx="11" hasCustomPrompt="1"/>
          </p:nvPr>
        </p:nvSpPr>
        <p:spPr>
          <a:xfrm>
            <a:off x="488950" y="2171830"/>
            <a:ext cx="7065736" cy="1292860"/>
          </a:xfrm>
          <a:prstGeom prst="rect">
            <a:avLst/>
          </a:prstGeom>
        </p:spPr>
        <p:txBody>
          <a:bodyPr lIns="0"/>
          <a:lstStyle>
            <a:lvl1pPr marL="0" indent="0">
              <a:buNone/>
              <a:defRPr sz="5998" b="0" i="0">
                <a:solidFill>
                  <a:schemeClr val="bg1"/>
                </a:solidFill>
                <a:latin typeface="+mj-lt"/>
                <a:ea typeface="Roboto Light" panose="02000000000000000000" pitchFamily="2" charset="0"/>
                <a:cs typeface="Roboto Light" panose="02000000000000000000" pitchFamily="2" charset="0"/>
              </a:defRPr>
            </a:lvl1pPr>
            <a:lvl2pPr marL="456971" indent="0">
              <a:buNone/>
              <a:defRPr/>
            </a:lvl2pPr>
            <a:lvl3pPr marL="913943" indent="0">
              <a:buNone/>
              <a:defRPr/>
            </a:lvl3pPr>
            <a:lvl4pPr marL="1370915" indent="0">
              <a:buNone/>
              <a:defRPr/>
            </a:lvl4pPr>
            <a:lvl5pPr marL="1827886" indent="0">
              <a:buNone/>
              <a:defRPr/>
            </a:lvl5pPr>
          </a:lstStyle>
          <a:p>
            <a:pPr lvl="0"/>
            <a:r>
              <a:rPr lang="en-US"/>
              <a:t>Thank you</a:t>
            </a:r>
          </a:p>
        </p:txBody>
      </p:sp>
      <p:sp>
        <p:nvSpPr>
          <p:cNvPr id="19" name="Text Placeholder 27">
            <a:extLst>
              <a:ext uri="{FF2B5EF4-FFF2-40B4-BE49-F238E27FC236}">
                <a16:creationId xmlns:a16="http://schemas.microsoft.com/office/drawing/2014/main" id="{1824728F-3CBD-1546-86C4-E68EA0ABC51A}"/>
              </a:ext>
            </a:extLst>
          </p:cNvPr>
          <p:cNvSpPr>
            <a:spLocks noGrp="1"/>
          </p:cNvSpPr>
          <p:nvPr>
            <p:ph type="body" sz="quarter" idx="13" hasCustomPrompt="1"/>
          </p:nvPr>
        </p:nvSpPr>
        <p:spPr bwMode="gray">
          <a:xfrm>
            <a:off x="515746" y="3831339"/>
            <a:ext cx="5754688" cy="475487"/>
          </a:xfrm>
          <a:prstGeom prst="rect">
            <a:avLst/>
          </a:prstGeom>
        </p:spPr>
        <p:txBody>
          <a:bodyPr vert="horz" lIns="0" tIns="0" rIns="0" bIns="0" rtlCol="0">
            <a:noAutofit/>
          </a:bodyPr>
          <a:lstStyle>
            <a:lvl1pPr marL="0" indent="0">
              <a:buNone/>
              <a:defRPr lang="en-US" sz="2399" i="0" baseline="0" dirty="0">
                <a:solidFill>
                  <a:schemeClr val="bg1"/>
                </a:solidFill>
                <a:latin typeface="Roboto Light" panose="02000000000000000000" pitchFamily="2" charset="0"/>
                <a:ea typeface="Roboto Light" panose="02000000000000000000" pitchFamily="2" charset="0"/>
                <a:cs typeface="Roboto Light" panose="02000000000000000000" pitchFamily="2" charset="0"/>
              </a:defRPr>
            </a:lvl1pPr>
          </a:lstStyle>
          <a:p>
            <a:pPr marL="172986" lvl="0" indent="-172986"/>
            <a:r>
              <a:rPr lang="en-US"/>
              <a:t>Contact information</a:t>
            </a:r>
          </a:p>
        </p:txBody>
      </p:sp>
    </p:spTree>
    <p:extLst>
      <p:ext uri="{BB962C8B-B14F-4D97-AF65-F5344CB8AC3E}">
        <p14:creationId xmlns:p14="http://schemas.microsoft.com/office/powerpoint/2010/main" val="1222591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65">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hank you slide">
    <p:bg>
      <p:bgPr>
        <a:solidFill>
          <a:schemeClr val="accent2"/>
        </a:solidFill>
        <a:effectLst/>
      </p:bgPr>
    </p:bg>
    <p:spTree>
      <p:nvGrpSpPr>
        <p:cNvPr id="1" name=""/>
        <p:cNvGrpSpPr/>
        <p:nvPr/>
      </p:nvGrpSpPr>
      <p:grpSpPr>
        <a:xfrm>
          <a:off x="0" y="0"/>
          <a:ext cx="0" cy="0"/>
          <a:chOff x="0" y="0"/>
          <a:chExt cx="0" cy="0"/>
        </a:xfrm>
      </p:grpSpPr>
      <p:sp>
        <p:nvSpPr>
          <p:cNvPr id="9" name="Right Triangle 8">
            <a:extLst>
              <a:ext uri="{FF2B5EF4-FFF2-40B4-BE49-F238E27FC236}">
                <a16:creationId xmlns:a16="http://schemas.microsoft.com/office/drawing/2014/main" id="{78D35A2B-6053-E04F-A1C5-B9798F9C9B7D}"/>
              </a:ext>
            </a:extLst>
          </p:cNvPr>
          <p:cNvSpPr/>
          <p:nvPr userDrawn="1"/>
        </p:nvSpPr>
        <p:spPr>
          <a:xfrm rot="5400000" flipH="1">
            <a:off x="3831485" y="912772"/>
            <a:ext cx="2123832" cy="9786801"/>
          </a:xfrm>
          <a:prstGeom prst="rtTriangle">
            <a:avLst/>
          </a:prstGeom>
          <a:solidFill>
            <a:srgbClr val="FF8A1A"/>
          </a:solidFill>
          <a:ln>
            <a:noFill/>
          </a:ln>
        </p:spPr>
        <p:style>
          <a:lnRef idx="2">
            <a:schemeClr val="accent1">
              <a:shade val="50000"/>
            </a:schemeClr>
          </a:lnRef>
          <a:fillRef idx="1">
            <a:schemeClr val="accent1"/>
          </a:fillRef>
          <a:effectRef idx="0">
            <a:schemeClr val="accent1"/>
          </a:effectRef>
          <a:fontRef idx="minor">
            <a:schemeClr val="lt1"/>
          </a:fontRef>
        </p:style>
        <p:txBody>
          <a:bodyPr lIns="137124" tIns="91416" rIns="137124" bIns="91416" rtlCol="0" anchor="ct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10" name="Right Triangle 9">
            <a:extLst>
              <a:ext uri="{FF2B5EF4-FFF2-40B4-BE49-F238E27FC236}">
                <a16:creationId xmlns:a16="http://schemas.microsoft.com/office/drawing/2014/main" id="{61DB92BF-401F-D84E-9141-70F8803D14EA}"/>
              </a:ext>
            </a:extLst>
          </p:cNvPr>
          <p:cNvSpPr/>
          <p:nvPr userDrawn="1"/>
        </p:nvSpPr>
        <p:spPr>
          <a:xfrm rot="5400000" flipH="1" flipV="1">
            <a:off x="8079706" y="2758967"/>
            <a:ext cx="2123830" cy="6094413"/>
          </a:xfrm>
          <a:prstGeom prst="r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37124" tIns="91416" rIns="137124" bIns="91416" rtlCol="0" anchor="ct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11" name="Right Triangle 10">
            <a:extLst>
              <a:ext uri="{FF2B5EF4-FFF2-40B4-BE49-F238E27FC236}">
                <a16:creationId xmlns:a16="http://schemas.microsoft.com/office/drawing/2014/main" id="{9658DFFD-F62F-CC4B-8F0D-9AA15B75EDD3}"/>
              </a:ext>
            </a:extLst>
          </p:cNvPr>
          <p:cNvSpPr/>
          <p:nvPr userDrawn="1"/>
        </p:nvSpPr>
        <p:spPr>
          <a:xfrm rot="5400000" flipH="1" flipV="1">
            <a:off x="8199801" y="2879063"/>
            <a:ext cx="1883641" cy="6094413"/>
          </a:xfrm>
          <a:prstGeom prst="rtTriangle">
            <a:avLst/>
          </a:prstGeom>
          <a:solidFill>
            <a:srgbClr val="070606"/>
          </a:solidFill>
          <a:ln>
            <a:noFill/>
          </a:ln>
        </p:spPr>
        <p:style>
          <a:lnRef idx="2">
            <a:schemeClr val="accent1">
              <a:shade val="50000"/>
            </a:schemeClr>
          </a:lnRef>
          <a:fillRef idx="1">
            <a:schemeClr val="accent1"/>
          </a:fillRef>
          <a:effectRef idx="0">
            <a:schemeClr val="accent1"/>
          </a:effectRef>
          <a:fontRef idx="minor">
            <a:schemeClr val="lt1"/>
          </a:fontRef>
        </p:style>
        <p:txBody>
          <a:bodyPr lIns="137124" tIns="91416" rIns="137124" bIns="91416" rtlCol="0" anchor="ct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pic>
        <p:nvPicPr>
          <p:cNvPr id="12" name="Picture 11">
            <a:extLst>
              <a:ext uri="{FF2B5EF4-FFF2-40B4-BE49-F238E27FC236}">
                <a16:creationId xmlns:a16="http://schemas.microsoft.com/office/drawing/2014/main" id="{C4AD8F6B-2ADB-6F45-BDD8-0436079D30A5}"/>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100000"/>
                    </a14:imgEffect>
                  </a14:imgLayer>
                </a14:imgProps>
              </a:ext>
            </a:extLst>
          </a:blip>
          <a:srcRect l="31513"/>
          <a:stretch/>
        </p:blipFill>
        <p:spPr>
          <a:xfrm>
            <a:off x="10239375" y="6007610"/>
            <a:ext cx="1697110" cy="849901"/>
          </a:xfrm>
          <a:prstGeom prst="rect">
            <a:avLst/>
          </a:prstGeom>
        </p:spPr>
      </p:pic>
      <p:pic>
        <p:nvPicPr>
          <p:cNvPr id="13" name="Picture 12">
            <a:extLst>
              <a:ext uri="{FF2B5EF4-FFF2-40B4-BE49-F238E27FC236}">
                <a16:creationId xmlns:a16="http://schemas.microsoft.com/office/drawing/2014/main" id="{2362AD09-60B4-D846-857E-35A1834B747F}"/>
              </a:ext>
            </a:extLst>
          </p:cNvPr>
          <p:cNvPicPr>
            <a:picLocks noChangeAspect="1"/>
          </p:cNvPicPr>
          <p:nvPr userDrawn="1"/>
        </p:nvPicPr>
        <p:blipFill rotWithShape="1">
          <a:blip r:embed="rId4"/>
          <a:srcRect r="69640"/>
          <a:stretch/>
        </p:blipFill>
        <p:spPr>
          <a:xfrm>
            <a:off x="9458462" y="6007609"/>
            <a:ext cx="752339" cy="849901"/>
          </a:xfrm>
          <a:prstGeom prst="rect">
            <a:avLst/>
          </a:prstGeom>
        </p:spPr>
      </p:pic>
      <p:sp>
        <p:nvSpPr>
          <p:cNvPr id="14" name="Text Placeholder 23">
            <a:extLst>
              <a:ext uri="{FF2B5EF4-FFF2-40B4-BE49-F238E27FC236}">
                <a16:creationId xmlns:a16="http://schemas.microsoft.com/office/drawing/2014/main" id="{8C73EDD9-B83F-4749-98A8-2291F806EA4A}"/>
              </a:ext>
            </a:extLst>
          </p:cNvPr>
          <p:cNvSpPr>
            <a:spLocks noGrp="1"/>
          </p:cNvSpPr>
          <p:nvPr>
            <p:ph type="body" sz="quarter" idx="11" hasCustomPrompt="1"/>
          </p:nvPr>
        </p:nvSpPr>
        <p:spPr>
          <a:xfrm>
            <a:off x="488950" y="2171830"/>
            <a:ext cx="7065736" cy="1292860"/>
          </a:xfrm>
          <a:prstGeom prst="rect">
            <a:avLst/>
          </a:prstGeom>
        </p:spPr>
        <p:txBody>
          <a:bodyPr lIns="0"/>
          <a:lstStyle>
            <a:lvl1pPr marL="0" indent="0">
              <a:buNone/>
              <a:defRPr sz="5998" b="0" i="0">
                <a:solidFill>
                  <a:schemeClr val="bg1"/>
                </a:solidFill>
                <a:latin typeface="+mj-lt"/>
                <a:ea typeface="Roboto Light" panose="02000000000000000000" pitchFamily="2" charset="0"/>
                <a:cs typeface="Roboto Light" panose="02000000000000000000" pitchFamily="2" charset="0"/>
              </a:defRPr>
            </a:lvl1pPr>
            <a:lvl2pPr marL="456971" indent="0">
              <a:buNone/>
              <a:defRPr/>
            </a:lvl2pPr>
            <a:lvl3pPr marL="913943" indent="0">
              <a:buNone/>
              <a:defRPr/>
            </a:lvl3pPr>
            <a:lvl4pPr marL="1370915" indent="0">
              <a:buNone/>
              <a:defRPr/>
            </a:lvl4pPr>
            <a:lvl5pPr marL="1827886" indent="0">
              <a:buNone/>
              <a:defRPr/>
            </a:lvl5pPr>
          </a:lstStyle>
          <a:p>
            <a:pPr lvl="0"/>
            <a:r>
              <a:rPr lang="en-US"/>
              <a:t>Thank you</a:t>
            </a:r>
          </a:p>
        </p:txBody>
      </p:sp>
      <p:sp>
        <p:nvSpPr>
          <p:cNvPr id="15" name="Text Placeholder 27">
            <a:extLst>
              <a:ext uri="{FF2B5EF4-FFF2-40B4-BE49-F238E27FC236}">
                <a16:creationId xmlns:a16="http://schemas.microsoft.com/office/drawing/2014/main" id="{2C766703-8236-6047-97A6-E6790192B7E8}"/>
              </a:ext>
            </a:extLst>
          </p:cNvPr>
          <p:cNvSpPr>
            <a:spLocks noGrp="1"/>
          </p:cNvSpPr>
          <p:nvPr>
            <p:ph type="body" sz="quarter" idx="13" hasCustomPrompt="1"/>
          </p:nvPr>
        </p:nvSpPr>
        <p:spPr bwMode="gray">
          <a:xfrm>
            <a:off x="515746" y="3831339"/>
            <a:ext cx="5754688" cy="475487"/>
          </a:xfrm>
          <a:prstGeom prst="rect">
            <a:avLst/>
          </a:prstGeom>
        </p:spPr>
        <p:txBody>
          <a:bodyPr vert="horz" lIns="0" tIns="0" rIns="0" bIns="0" rtlCol="0">
            <a:noAutofit/>
          </a:bodyPr>
          <a:lstStyle>
            <a:lvl1pPr marL="0" indent="0">
              <a:buNone/>
              <a:defRPr lang="en-US" sz="2399" i="0" baseline="0" dirty="0">
                <a:solidFill>
                  <a:schemeClr val="bg1"/>
                </a:solidFill>
                <a:latin typeface="Roboto Light" panose="02000000000000000000" pitchFamily="2" charset="0"/>
                <a:ea typeface="Roboto Light" panose="02000000000000000000" pitchFamily="2" charset="0"/>
                <a:cs typeface="Roboto Light" panose="02000000000000000000" pitchFamily="2" charset="0"/>
              </a:defRPr>
            </a:lvl1pPr>
          </a:lstStyle>
          <a:p>
            <a:pPr marL="172986" lvl="0" indent="-172986"/>
            <a:r>
              <a:rPr lang="en-US"/>
              <a:t>Contact information</a:t>
            </a:r>
          </a:p>
        </p:txBody>
      </p:sp>
    </p:spTree>
    <p:extLst>
      <p:ext uri="{BB962C8B-B14F-4D97-AF65-F5344CB8AC3E}">
        <p14:creationId xmlns:p14="http://schemas.microsoft.com/office/powerpoint/2010/main" val="450887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Follow Us">
    <p:bg>
      <p:bgPr>
        <a:solidFill>
          <a:schemeClr val="accent2"/>
        </a:solidFill>
        <a:effectLst/>
      </p:bgPr>
    </p:bg>
    <p:spTree>
      <p:nvGrpSpPr>
        <p:cNvPr id="1" name=""/>
        <p:cNvGrpSpPr/>
        <p:nvPr/>
      </p:nvGrpSpPr>
      <p:grpSpPr>
        <a:xfrm>
          <a:off x="0" y="0"/>
          <a:ext cx="0" cy="0"/>
          <a:chOff x="0" y="0"/>
          <a:chExt cx="0" cy="0"/>
        </a:xfrm>
      </p:grpSpPr>
      <p:sp>
        <p:nvSpPr>
          <p:cNvPr id="9" name="Right Triangle 8">
            <a:extLst>
              <a:ext uri="{FF2B5EF4-FFF2-40B4-BE49-F238E27FC236}">
                <a16:creationId xmlns:a16="http://schemas.microsoft.com/office/drawing/2014/main" id="{78D35A2B-6053-E04F-A1C5-B9798F9C9B7D}"/>
              </a:ext>
            </a:extLst>
          </p:cNvPr>
          <p:cNvSpPr/>
          <p:nvPr userDrawn="1"/>
        </p:nvSpPr>
        <p:spPr>
          <a:xfrm rot="5400000" flipH="1">
            <a:off x="3831485" y="912772"/>
            <a:ext cx="2123832" cy="9786801"/>
          </a:xfrm>
          <a:prstGeom prst="rtTriangle">
            <a:avLst/>
          </a:prstGeom>
          <a:solidFill>
            <a:srgbClr val="FF8A1A"/>
          </a:solidFill>
          <a:ln>
            <a:noFill/>
          </a:ln>
        </p:spPr>
        <p:style>
          <a:lnRef idx="2">
            <a:schemeClr val="accent1">
              <a:shade val="50000"/>
            </a:schemeClr>
          </a:lnRef>
          <a:fillRef idx="1">
            <a:schemeClr val="accent1"/>
          </a:fillRef>
          <a:effectRef idx="0">
            <a:schemeClr val="accent1"/>
          </a:effectRef>
          <a:fontRef idx="minor">
            <a:schemeClr val="lt1"/>
          </a:fontRef>
        </p:style>
        <p:txBody>
          <a:bodyPr lIns="137124" tIns="91416" rIns="137124" bIns="91416" rtlCol="0" anchor="ct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10" name="Right Triangle 9">
            <a:extLst>
              <a:ext uri="{FF2B5EF4-FFF2-40B4-BE49-F238E27FC236}">
                <a16:creationId xmlns:a16="http://schemas.microsoft.com/office/drawing/2014/main" id="{61DB92BF-401F-D84E-9141-70F8803D14EA}"/>
              </a:ext>
            </a:extLst>
          </p:cNvPr>
          <p:cNvSpPr/>
          <p:nvPr userDrawn="1"/>
        </p:nvSpPr>
        <p:spPr>
          <a:xfrm rot="5400000" flipH="1" flipV="1">
            <a:off x="8079706" y="2758967"/>
            <a:ext cx="2123830" cy="6094413"/>
          </a:xfrm>
          <a:prstGeom prst="r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37124" tIns="91416" rIns="137124" bIns="91416" rtlCol="0" anchor="ct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11" name="Right Triangle 10">
            <a:extLst>
              <a:ext uri="{FF2B5EF4-FFF2-40B4-BE49-F238E27FC236}">
                <a16:creationId xmlns:a16="http://schemas.microsoft.com/office/drawing/2014/main" id="{9658DFFD-F62F-CC4B-8F0D-9AA15B75EDD3}"/>
              </a:ext>
            </a:extLst>
          </p:cNvPr>
          <p:cNvSpPr/>
          <p:nvPr userDrawn="1"/>
        </p:nvSpPr>
        <p:spPr>
          <a:xfrm rot="5400000" flipH="1" flipV="1">
            <a:off x="8199801" y="2879063"/>
            <a:ext cx="1883641" cy="6094413"/>
          </a:xfrm>
          <a:prstGeom prst="rtTriangle">
            <a:avLst/>
          </a:prstGeom>
          <a:solidFill>
            <a:srgbClr val="070606"/>
          </a:solidFill>
          <a:ln>
            <a:noFill/>
          </a:ln>
        </p:spPr>
        <p:style>
          <a:lnRef idx="2">
            <a:schemeClr val="accent1">
              <a:shade val="50000"/>
            </a:schemeClr>
          </a:lnRef>
          <a:fillRef idx="1">
            <a:schemeClr val="accent1"/>
          </a:fillRef>
          <a:effectRef idx="0">
            <a:schemeClr val="accent1"/>
          </a:effectRef>
          <a:fontRef idx="minor">
            <a:schemeClr val="lt1"/>
          </a:fontRef>
        </p:style>
        <p:txBody>
          <a:bodyPr lIns="137124" tIns="91416" rIns="137124" bIns="91416" rtlCol="0" anchor="ct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pic>
        <p:nvPicPr>
          <p:cNvPr id="12" name="Picture 11">
            <a:extLst>
              <a:ext uri="{FF2B5EF4-FFF2-40B4-BE49-F238E27FC236}">
                <a16:creationId xmlns:a16="http://schemas.microsoft.com/office/drawing/2014/main" id="{C4AD8F6B-2ADB-6F45-BDD8-0436079D30A5}"/>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100000"/>
                    </a14:imgEffect>
                  </a14:imgLayer>
                </a14:imgProps>
              </a:ext>
            </a:extLst>
          </a:blip>
          <a:srcRect l="31513"/>
          <a:stretch/>
        </p:blipFill>
        <p:spPr>
          <a:xfrm>
            <a:off x="10239375" y="6007610"/>
            <a:ext cx="1697110" cy="849901"/>
          </a:xfrm>
          <a:prstGeom prst="rect">
            <a:avLst/>
          </a:prstGeom>
        </p:spPr>
      </p:pic>
      <p:pic>
        <p:nvPicPr>
          <p:cNvPr id="13" name="Picture 12">
            <a:extLst>
              <a:ext uri="{FF2B5EF4-FFF2-40B4-BE49-F238E27FC236}">
                <a16:creationId xmlns:a16="http://schemas.microsoft.com/office/drawing/2014/main" id="{2362AD09-60B4-D846-857E-35A1834B747F}"/>
              </a:ext>
            </a:extLst>
          </p:cNvPr>
          <p:cNvPicPr>
            <a:picLocks noChangeAspect="1"/>
          </p:cNvPicPr>
          <p:nvPr userDrawn="1"/>
        </p:nvPicPr>
        <p:blipFill rotWithShape="1">
          <a:blip r:embed="rId4"/>
          <a:srcRect r="69640"/>
          <a:stretch/>
        </p:blipFill>
        <p:spPr>
          <a:xfrm>
            <a:off x="9458462" y="6007609"/>
            <a:ext cx="752339" cy="849901"/>
          </a:xfrm>
          <a:prstGeom prst="rect">
            <a:avLst/>
          </a:prstGeom>
        </p:spPr>
      </p:pic>
      <p:pic>
        <p:nvPicPr>
          <p:cNvPr id="16" name="Picture 15" descr="Icon&#10;&#10;Description automatically generated">
            <a:hlinkClick r:id="rId5"/>
            <a:extLst>
              <a:ext uri="{FF2B5EF4-FFF2-40B4-BE49-F238E27FC236}">
                <a16:creationId xmlns:a16="http://schemas.microsoft.com/office/drawing/2014/main" id="{ED3CD10C-C3D9-D64E-BD7D-0E559D031DE5}"/>
              </a:ext>
            </a:extLst>
          </p:cNvPr>
          <p:cNvPicPr>
            <a:picLocks noChangeAspect="1"/>
          </p:cNvPicPr>
          <p:nvPr userDrawn="1"/>
        </p:nvPicPr>
        <p:blipFill>
          <a:blip r:embed="rId6"/>
          <a:stretch>
            <a:fillRect/>
          </a:stretch>
        </p:blipFill>
        <p:spPr>
          <a:xfrm>
            <a:off x="2071811" y="4193106"/>
            <a:ext cx="535905" cy="535905"/>
          </a:xfrm>
          <a:prstGeom prst="rect">
            <a:avLst/>
          </a:prstGeom>
        </p:spPr>
      </p:pic>
      <p:pic>
        <p:nvPicPr>
          <p:cNvPr id="17" name="Picture 16" descr="Icon&#10;&#10;Description automatically generated">
            <a:hlinkClick r:id="rId7"/>
            <a:extLst>
              <a:ext uri="{FF2B5EF4-FFF2-40B4-BE49-F238E27FC236}">
                <a16:creationId xmlns:a16="http://schemas.microsoft.com/office/drawing/2014/main" id="{B201485B-244A-FA43-9AB2-22D1C373BCFA}"/>
              </a:ext>
            </a:extLst>
          </p:cNvPr>
          <p:cNvPicPr>
            <a:picLocks noChangeAspect="1"/>
          </p:cNvPicPr>
          <p:nvPr userDrawn="1"/>
        </p:nvPicPr>
        <p:blipFill>
          <a:blip r:embed="rId8"/>
          <a:stretch>
            <a:fillRect/>
          </a:stretch>
        </p:blipFill>
        <p:spPr>
          <a:xfrm>
            <a:off x="488951" y="4193106"/>
            <a:ext cx="535905" cy="535905"/>
          </a:xfrm>
          <a:prstGeom prst="rect">
            <a:avLst/>
          </a:prstGeom>
        </p:spPr>
      </p:pic>
      <p:pic>
        <p:nvPicPr>
          <p:cNvPr id="18" name="Picture 17" descr="A white circle with a black background&#10;&#10;Description automatically generated with low confidence">
            <a:hlinkClick r:id="rId9"/>
            <a:extLst>
              <a:ext uri="{FF2B5EF4-FFF2-40B4-BE49-F238E27FC236}">
                <a16:creationId xmlns:a16="http://schemas.microsoft.com/office/drawing/2014/main" id="{F9B0C0A2-7045-FD48-A886-9FBA76E7772E}"/>
              </a:ext>
            </a:extLst>
          </p:cNvPr>
          <p:cNvPicPr>
            <a:picLocks noChangeAspect="1"/>
          </p:cNvPicPr>
          <p:nvPr userDrawn="1"/>
        </p:nvPicPr>
        <p:blipFill>
          <a:blip r:embed="rId10"/>
          <a:stretch>
            <a:fillRect/>
          </a:stretch>
        </p:blipFill>
        <p:spPr>
          <a:xfrm>
            <a:off x="1280381" y="4193106"/>
            <a:ext cx="535905" cy="535905"/>
          </a:xfrm>
          <a:prstGeom prst="rect">
            <a:avLst/>
          </a:prstGeom>
        </p:spPr>
      </p:pic>
      <p:sp>
        <p:nvSpPr>
          <p:cNvPr id="19" name="Text Placeholder 23">
            <a:extLst>
              <a:ext uri="{FF2B5EF4-FFF2-40B4-BE49-F238E27FC236}">
                <a16:creationId xmlns:a16="http://schemas.microsoft.com/office/drawing/2014/main" id="{A6310CF8-536B-3B46-B545-357C711D0B8A}"/>
              </a:ext>
            </a:extLst>
          </p:cNvPr>
          <p:cNvSpPr txBox="1">
            <a:spLocks/>
          </p:cNvSpPr>
          <p:nvPr userDrawn="1"/>
        </p:nvSpPr>
        <p:spPr>
          <a:xfrm>
            <a:off x="488950" y="2202258"/>
            <a:ext cx="9394638" cy="1292860"/>
          </a:xfrm>
          <a:prstGeom prst="rect">
            <a:avLst/>
          </a:prstGeom>
        </p:spPr>
        <p:txBody>
          <a:bodyPr vert="horz" lIns="0" tIns="0" rIns="0" bIns="0" rtlCol="0" anchor="b">
            <a:noAutofit/>
          </a:bodyPr>
          <a:lstStyle>
            <a:lvl1pPr marL="0" indent="0" algn="l" defTabSz="914217" rtl="0" eaLnBrk="1" latinLnBrk="0" hangingPunct="1">
              <a:lnSpc>
                <a:spcPct val="95000"/>
              </a:lnSpc>
              <a:spcBef>
                <a:spcPts val="1200"/>
              </a:spcBef>
              <a:spcAft>
                <a:spcPts val="0"/>
              </a:spcAft>
              <a:buClr>
                <a:schemeClr val="accent2"/>
              </a:buClr>
              <a:buFont typeface="Arial" panose="020B0604020202020204" pitchFamily="34" charset="0"/>
              <a:buNone/>
              <a:defRPr sz="4800" b="0" i="0" kern="1200">
                <a:solidFill>
                  <a:schemeClr val="bg1"/>
                </a:solidFill>
                <a:latin typeface="+mj-lt"/>
                <a:ea typeface="Roboto Lt" charset="0"/>
                <a:cs typeface="Roboto Lt" charset="0"/>
              </a:defRPr>
            </a:lvl1pPr>
            <a:lvl2pPr marL="457108" indent="0" algn="l" defTabSz="914217" rtl="0" eaLnBrk="1" latinLnBrk="0" hangingPunct="1">
              <a:lnSpc>
                <a:spcPct val="95000"/>
              </a:lnSpc>
              <a:spcBef>
                <a:spcPts val="600"/>
              </a:spcBef>
              <a:spcAft>
                <a:spcPts val="0"/>
              </a:spcAft>
              <a:buClr>
                <a:schemeClr val="accent2"/>
              </a:buClr>
              <a:buFont typeface=".AppleSystemUIFont" charset="-120"/>
              <a:buNone/>
              <a:defRPr sz="1800" b="0" i="0" kern="1200">
                <a:solidFill>
                  <a:schemeClr val="tx1"/>
                </a:solidFill>
                <a:latin typeface="Roboto" charset="0"/>
                <a:ea typeface="Roboto" charset="0"/>
                <a:cs typeface="Roboto" charset="0"/>
              </a:defRPr>
            </a:lvl2pPr>
            <a:lvl3pPr marL="914217" indent="0" algn="l" defTabSz="914217" rtl="0" eaLnBrk="1" latinLnBrk="0" hangingPunct="1">
              <a:lnSpc>
                <a:spcPct val="95000"/>
              </a:lnSpc>
              <a:spcBef>
                <a:spcPts val="600"/>
              </a:spcBef>
              <a:spcAft>
                <a:spcPts val="0"/>
              </a:spcAft>
              <a:buClr>
                <a:schemeClr val="accent2"/>
              </a:buClr>
              <a:buFont typeface="Arial" panose="020B0604020202020204" pitchFamily="34" charset="0"/>
              <a:buNone/>
              <a:defRPr sz="1600" b="0" i="0" kern="1200">
                <a:solidFill>
                  <a:schemeClr val="tx1"/>
                </a:solidFill>
                <a:latin typeface="Roboto" charset="0"/>
                <a:ea typeface="Roboto" charset="0"/>
                <a:cs typeface="Roboto" charset="0"/>
              </a:defRPr>
            </a:lvl3pPr>
            <a:lvl4pPr marL="1371326" indent="0" algn="l" defTabSz="914217" rtl="0" eaLnBrk="1" latinLnBrk="0" hangingPunct="1">
              <a:lnSpc>
                <a:spcPct val="95000"/>
              </a:lnSpc>
              <a:spcBef>
                <a:spcPts val="600"/>
              </a:spcBef>
              <a:spcAft>
                <a:spcPts val="0"/>
              </a:spcAft>
              <a:buClr>
                <a:schemeClr val="accent3"/>
              </a:buClr>
              <a:buFont typeface="Arial" panose="020B0604020202020204" pitchFamily="34" charset="0"/>
              <a:buNone/>
              <a:defRPr sz="1400" b="0" i="0" kern="1200">
                <a:solidFill>
                  <a:schemeClr val="tx1"/>
                </a:solidFill>
                <a:latin typeface="Roboto" charset="0"/>
                <a:ea typeface="Roboto" charset="0"/>
                <a:cs typeface="Roboto" charset="0"/>
              </a:defRPr>
            </a:lvl4pPr>
            <a:lvl5pPr marL="1828435" indent="0" algn="l" defTabSz="914217" rtl="0" eaLnBrk="1" latinLnBrk="0" hangingPunct="1">
              <a:lnSpc>
                <a:spcPct val="95000"/>
              </a:lnSpc>
              <a:spcBef>
                <a:spcPts val="600"/>
              </a:spcBef>
              <a:spcAft>
                <a:spcPts val="0"/>
              </a:spcAft>
              <a:buClr>
                <a:schemeClr val="accent2"/>
              </a:buClr>
              <a:buFont typeface="Arial" panose="020B0604020202020204" pitchFamily="34" charset="0"/>
              <a:buNone/>
              <a:defRPr sz="1400" b="0" i="0" kern="1200">
                <a:solidFill>
                  <a:schemeClr val="tx1"/>
                </a:solidFill>
                <a:latin typeface="Roboto" charset="0"/>
                <a:ea typeface="Roboto" charset="0"/>
                <a:cs typeface="Roboto" charset="0"/>
              </a:defRPr>
            </a:lvl5pPr>
            <a:lvl6pPr marL="914400" indent="-169863" algn="l" defTabSz="914217" rtl="0" eaLnBrk="1" latinLnBrk="0" hangingPunct="1">
              <a:lnSpc>
                <a:spcPct val="90000"/>
              </a:lnSpc>
              <a:spcBef>
                <a:spcPts val="500"/>
              </a:spcBef>
              <a:spcAft>
                <a:spcPts val="1200"/>
              </a:spcAft>
              <a:buClr>
                <a:schemeClr val="tx1"/>
              </a:buClr>
              <a:buFont typeface="Arial" panose="020B0604020202020204" pitchFamily="34" charset="0"/>
              <a:buChar char="•"/>
              <a:defRPr sz="1200" b="0" i="0" kern="1200">
                <a:solidFill>
                  <a:schemeClr val="tx1"/>
                </a:solidFill>
                <a:latin typeface="Roboto" charset="0"/>
                <a:ea typeface="Roboto" charset="0"/>
                <a:cs typeface="Roboto" charset="0"/>
              </a:defRPr>
            </a:lvl6pPr>
            <a:lvl7pPr marL="1084263" indent="-169863" algn="l" defTabSz="914217" rtl="0" eaLnBrk="1" latinLnBrk="0" hangingPunct="1">
              <a:lnSpc>
                <a:spcPct val="90000"/>
              </a:lnSpc>
              <a:spcBef>
                <a:spcPts val="500"/>
              </a:spcBef>
              <a:spcAft>
                <a:spcPts val="1200"/>
              </a:spcAft>
              <a:buClr>
                <a:schemeClr val="accent2"/>
              </a:buClr>
              <a:buFont typeface="Arial" panose="020B0604020202020204" pitchFamily="34" charset="0"/>
              <a:buChar char="•"/>
              <a:defRPr sz="1200" b="0" i="0" kern="1200">
                <a:solidFill>
                  <a:schemeClr val="tx1"/>
                </a:solidFill>
                <a:latin typeface="Roboto" charset="0"/>
                <a:ea typeface="Roboto" charset="0"/>
                <a:cs typeface="Roboto" charset="0"/>
              </a:defRPr>
            </a:lvl7pPr>
            <a:lvl8pPr marL="1258888" indent="-174625" algn="l" defTabSz="914217" rtl="0" eaLnBrk="1" latinLnBrk="0" hangingPunct="1">
              <a:lnSpc>
                <a:spcPct val="90000"/>
              </a:lnSpc>
              <a:spcBef>
                <a:spcPts val="500"/>
              </a:spcBef>
              <a:spcAft>
                <a:spcPts val="1200"/>
              </a:spcAft>
              <a:buClr>
                <a:schemeClr val="accent2"/>
              </a:buClr>
              <a:buFont typeface="Arial" panose="020B0604020202020204" pitchFamily="34" charset="0"/>
              <a:buChar char="•"/>
              <a:defRPr sz="1200" b="0" i="0" kern="1200">
                <a:solidFill>
                  <a:schemeClr val="tx1"/>
                </a:solidFill>
                <a:latin typeface="Roboto" charset="0"/>
                <a:ea typeface="Roboto" charset="0"/>
                <a:cs typeface="Roboto" charset="0"/>
              </a:defRPr>
            </a:lvl8pPr>
            <a:lvl9pPr marL="1428750" indent="-169863" algn="l" defTabSz="914217" rtl="0" eaLnBrk="1" latinLnBrk="0" hangingPunct="1">
              <a:lnSpc>
                <a:spcPct val="90000"/>
              </a:lnSpc>
              <a:spcBef>
                <a:spcPts val="500"/>
              </a:spcBef>
              <a:spcAft>
                <a:spcPts val="1200"/>
              </a:spcAft>
              <a:buClr>
                <a:schemeClr val="accent2"/>
              </a:buClr>
              <a:buFont typeface="Arial" panose="020B0604020202020204" pitchFamily="34" charset="0"/>
              <a:buChar char="•"/>
              <a:defRPr sz="1200" b="0" i="0" kern="1200">
                <a:solidFill>
                  <a:schemeClr val="tx1"/>
                </a:solidFill>
                <a:latin typeface="Roboto" charset="0"/>
                <a:ea typeface="Roboto" charset="0"/>
                <a:cs typeface="Roboto" charset="0"/>
              </a:defRPr>
            </a:lvl9pPr>
          </a:lstStyle>
          <a:p>
            <a:pPr marL="0" marR="0" lvl="0" indent="0" algn="l" defTabSz="913943" rtl="0" eaLnBrk="1" fontAlgn="auto" latinLnBrk="0" hangingPunct="1">
              <a:lnSpc>
                <a:spcPct val="95000"/>
              </a:lnSpc>
              <a:spcBef>
                <a:spcPts val="1200"/>
              </a:spcBef>
              <a:spcAft>
                <a:spcPts val="0"/>
              </a:spcAft>
              <a:buClr>
                <a:srgbClr val="FF7D00"/>
              </a:buClr>
              <a:buSzTx/>
              <a:buFont typeface="Arial" panose="020B0604020202020204" pitchFamily="34" charset="0"/>
              <a:buNone/>
              <a:tabLst/>
              <a:defRPr/>
            </a:pPr>
            <a:r>
              <a:rPr kumimoji="0" lang="en-US" sz="4799" b="0" i="0" u="none" strike="noStrike" kern="1200" cap="none" spc="0" normalizeH="0" baseline="0" noProof="0">
                <a:ln>
                  <a:noFill/>
                </a:ln>
                <a:solidFill>
                  <a:srgbClr val="FFFFFF"/>
                </a:solidFill>
                <a:effectLst/>
                <a:uLnTx/>
                <a:uFillTx/>
                <a:latin typeface="Roboto Light"/>
                <a:ea typeface="Roboto Light" panose="02000000000000000000" pitchFamily="2" charset="0"/>
              </a:rPr>
              <a:t>Let’s Connect</a:t>
            </a:r>
          </a:p>
        </p:txBody>
      </p:sp>
      <p:sp>
        <p:nvSpPr>
          <p:cNvPr id="20" name="Text Placeholder 27">
            <a:extLst>
              <a:ext uri="{FF2B5EF4-FFF2-40B4-BE49-F238E27FC236}">
                <a16:creationId xmlns:a16="http://schemas.microsoft.com/office/drawing/2014/main" id="{5D949840-0DEC-714D-8093-B2D71DDFEE90}"/>
              </a:ext>
            </a:extLst>
          </p:cNvPr>
          <p:cNvSpPr txBox="1">
            <a:spLocks/>
          </p:cNvSpPr>
          <p:nvPr userDrawn="1"/>
        </p:nvSpPr>
        <p:spPr bwMode="gray">
          <a:xfrm>
            <a:off x="493712" y="3549985"/>
            <a:ext cx="10118603" cy="475487"/>
          </a:xfrm>
          <a:prstGeom prst="rect">
            <a:avLst/>
          </a:prstGeom>
        </p:spPr>
        <p:txBody>
          <a:bodyPr vert="horz" lIns="0" tIns="0" rIns="0" bIns="0" rtlCol="0">
            <a:noAutofit/>
          </a:bodyPr>
          <a:lstStyle>
            <a:lvl1pPr marL="7938" indent="-7938" algn="l" defTabSz="914217" rtl="0" eaLnBrk="1" latinLnBrk="0" hangingPunct="1">
              <a:lnSpc>
                <a:spcPct val="95000"/>
              </a:lnSpc>
              <a:spcBef>
                <a:spcPts val="1200"/>
              </a:spcBef>
              <a:spcAft>
                <a:spcPts val="0"/>
              </a:spcAft>
              <a:buClr>
                <a:schemeClr val="accent2"/>
              </a:buClr>
              <a:buFont typeface="Arial" panose="020B0604020202020204" pitchFamily="34" charset="0"/>
              <a:buNone/>
              <a:tabLst/>
              <a:defRPr lang="en-US" sz="2800" b="0" i="0" kern="1200" baseline="0" dirty="0">
                <a:solidFill>
                  <a:schemeClr val="bg1"/>
                </a:solidFill>
                <a:latin typeface="Roboto Lt" charset="0"/>
                <a:ea typeface="Roboto Lt" charset="0"/>
                <a:cs typeface="Roboto Lt" charset="0"/>
              </a:defRPr>
            </a:lvl1pPr>
            <a:lvl2pPr marL="344488" indent="-174625" algn="l" defTabSz="914217" rtl="0" eaLnBrk="1" latinLnBrk="0" hangingPunct="1">
              <a:lnSpc>
                <a:spcPct val="95000"/>
              </a:lnSpc>
              <a:spcBef>
                <a:spcPts val="600"/>
              </a:spcBef>
              <a:spcAft>
                <a:spcPts val="0"/>
              </a:spcAft>
              <a:buClr>
                <a:schemeClr val="accent2"/>
              </a:buClr>
              <a:buFont typeface=".AppleSystemUIFont" charset="-120"/>
              <a:buChar char="-"/>
              <a:defRPr sz="1800" b="0" i="0" kern="1200">
                <a:solidFill>
                  <a:schemeClr val="tx1"/>
                </a:solidFill>
                <a:latin typeface="Roboto" charset="0"/>
                <a:ea typeface="Roboto" charset="0"/>
                <a:cs typeface="Roboto" charset="0"/>
              </a:defRPr>
            </a:lvl2pPr>
            <a:lvl3pPr marL="514350" indent="-169863" algn="l" defTabSz="914217" rtl="0" eaLnBrk="1" latinLnBrk="0" hangingPunct="1">
              <a:lnSpc>
                <a:spcPct val="95000"/>
              </a:lnSpc>
              <a:spcBef>
                <a:spcPts val="600"/>
              </a:spcBef>
              <a:spcAft>
                <a:spcPts val="0"/>
              </a:spcAft>
              <a:buClr>
                <a:schemeClr val="accent2"/>
              </a:buClr>
              <a:buFont typeface="Arial" panose="020B0604020202020204" pitchFamily="34" charset="0"/>
              <a:buChar char="•"/>
              <a:defRPr sz="1600" b="0" i="0" kern="1200">
                <a:solidFill>
                  <a:schemeClr val="tx1"/>
                </a:solidFill>
                <a:latin typeface="Roboto" charset="0"/>
                <a:ea typeface="Roboto" charset="0"/>
                <a:cs typeface="Roboto" charset="0"/>
              </a:defRPr>
            </a:lvl3pPr>
            <a:lvl4pPr marL="630238" indent="-171450" algn="l" defTabSz="914217" rtl="0" eaLnBrk="1" latinLnBrk="0" hangingPunct="1">
              <a:lnSpc>
                <a:spcPct val="95000"/>
              </a:lnSpc>
              <a:spcBef>
                <a:spcPts val="600"/>
              </a:spcBef>
              <a:spcAft>
                <a:spcPts val="0"/>
              </a:spcAft>
              <a:buClr>
                <a:schemeClr val="accent3"/>
              </a:buClr>
              <a:buFont typeface="Arial" panose="020B0604020202020204" pitchFamily="34" charset="0"/>
              <a:buChar char="•"/>
              <a:defRPr sz="1400" b="0" i="0" kern="1200">
                <a:solidFill>
                  <a:schemeClr val="tx1"/>
                </a:solidFill>
                <a:latin typeface="Roboto" charset="0"/>
                <a:ea typeface="Roboto" charset="0"/>
                <a:cs typeface="Roboto" charset="0"/>
              </a:defRPr>
            </a:lvl4pPr>
            <a:lvl5pPr marL="800100" indent="-169863" algn="l" defTabSz="914217" rtl="0" eaLnBrk="1" latinLnBrk="0" hangingPunct="1">
              <a:lnSpc>
                <a:spcPct val="95000"/>
              </a:lnSpc>
              <a:spcBef>
                <a:spcPts val="600"/>
              </a:spcBef>
              <a:spcAft>
                <a:spcPts val="0"/>
              </a:spcAft>
              <a:buClr>
                <a:schemeClr val="accent2"/>
              </a:buClr>
              <a:buFont typeface="Arial" panose="020B0604020202020204" pitchFamily="34" charset="0"/>
              <a:buChar char="•"/>
              <a:defRPr sz="1400" b="0" i="0" kern="1200">
                <a:solidFill>
                  <a:schemeClr val="tx1"/>
                </a:solidFill>
                <a:latin typeface="Roboto" charset="0"/>
                <a:ea typeface="Roboto" charset="0"/>
                <a:cs typeface="Roboto" charset="0"/>
              </a:defRPr>
            </a:lvl5pPr>
            <a:lvl6pPr marL="914400" indent="-169863" algn="l" defTabSz="914217" rtl="0" eaLnBrk="1" latinLnBrk="0" hangingPunct="1">
              <a:lnSpc>
                <a:spcPct val="90000"/>
              </a:lnSpc>
              <a:spcBef>
                <a:spcPts val="500"/>
              </a:spcBef>
              <a:spcAft>
                <a:spcPts val="1200"/>
              </a:spcAft>
              <a:buClr>
                <a:schemeClr val="tx1"/>
              </a:buClr>
              <a:buFont typeface="Arial" panose="020B0604020202020204" pitchFamily="34" charset="0"/>
              <a:buChar char="•"/>
              <a:defRPr sz="1200" b="0" i="0" kern="1200">
                <a:solidFill>
                  <a:schemeClr val="tx1"/>
                </a:solidFill>
                <a:latin typeface="Roboto" charset="0"/>
                <a:ea typeface="Roboto" charset="0"/>
                <a:cs typeface="Roboto" charset="0"/>
              </a:defRPr>
            </a:lvl6pPr>
            <a:lvl7pPr marL="1084263" indent="-169863" algn="l" defTabSz="914217" rtl="0" eaLnBrk="1" latinLnBrk="0" hangingPunct="1">
              <a:lnSpc>
                <a:spcPct val="90000"/>
              </a:lnSpc>
              <a:spcBef>
                <a:spcPts val="500"/>
              </a:spcBef>
              <a:spcAft>
                <a:spcPts val="1200"/>
              </a:spcAft>
              <a:buClr>
                <a:schemeClr val="accent2"/>
              </a:buClr>
              <a:buFont typeface="Arial" panose="020B0604020202020204" pitchFamily="34" charset="0"/>
              <a:buChar char="•"/>
              <a:defRPr sz="1200" b="0" i="0" kern="1200">
                <a:solidFill>
                  <a:schemeClr val="tx1"/>
                </a:solidFill>
                <a:latin typeface="Roboto" charset="0"/>
                <a:ea typeface="Roboto" charset="0"/>
                <a:cs typeface="Roboto" charset="0"/>
              </a:defRPr>
            </a:lvl7pPr>
            <a:lvl8pPr marL="1258888" indent="-174625" algn="l" defTabSz="914217" rtl="0" eaLnBrk="1" latinLnBrk="0" hangingPunct="1">
              <a:lnSpc>
                <a:spcPct val="90000"/>
              </a:lnSpc>
              <a:spcBef>
                <a:spcPts val="500"/>
              </a:spcBef>
              <a:spcAft>
                <a:spcPts val="1200"/>
              </a:spcAft>
              <a:buClr>
                <a:schemeClr val="accent2"/>
              </a:buClr>
              <a:buFont typeface="Arial" panose="020B0604020202020204" pitchFamily="34" charset="0"/>
              <a:buChar char="•"/>
              <a:defRPr sz="1200" b="0" i="0" kern="1200">
                <a:solidFill>
                  <a:schemeClr val="tx1"/>
                </a:solidFill>
                <a:latin typeface="Roboto" charset="0"/>
                <a:ea typeface="Roboto" charset="0"/>
                <a:cs typeface="Roboto" charset="0"/>
              </a:defRPr>
            </a:lvl8pPr>
            <a:lvl9pPr marL="1428750" indent="-169863" algn="l" defTabSz="914217" rtl="0" eaLnBrk="1" latinLnBrk="0" hangingPunct="1">
              <a:lnSpc>
                <a:spcPct val="90000"/>
              </a:lnSpc>
              <a:spcBef>
                <a:spcPts val="500"/>
              </a:spcBef>
              <a:spcAft>
                <a:spcPts val="1200"/>
              </a:spcAft>
              <a:buClr>
                <a:schemeClr val="accent2"/>
              </a:buClr>
              <a:buFont typeface="Arial" panose="020B0604020202020204" pitchFamily="34" charset="0"/>
              <a:buChar char="•"/>
              <a:defRPr sz="1200" b="0" i="0" kern="1200">
                <a:solidFill>
                  <a:schemeClr val="tx1"/>
                </a:solidFill>
                <a:latin typeface="Roboto" charset="0"/>
                <a:ea typeface="Roboto" charset="0"/>
                <a:cs typeface="Roboto" charset="0"/>
              </a:defRPr>
            </a:lvl9pPr>
          </a:lstStyle>
          <a:p>
            <a:pPr marL="172986" marR="0" lvl="0" indent="-172986" algn="l" defTabSz="913943" rtl="0" eaLnBrk="1" fontAlgn="auto" latinLnBrk="0" hangingPunct="1">
              <a:lnSpc>
                <a:spcPct val="95000"/>
              </a:lnSpc>
              <a:spcBef>
                <a:spcPts val="1200"/>
              </a:spcBef>
              <a:spcAft>
                <a:spcPts val="0"/>
              </a:spcAft>
              <a:buClr>
                <a:srgbClr val="FF7D00"/>
              </a:buClr>
              <a:buSzTx/>
              <a:buFont typeface="Arial" panose="020B0604020202020204" pitchFamily="34" charset="0"/>
              <a:buNone/>
              <a:tabLst/>
              <a:defRPr/>
            </a:pPr>
            <a:r>
              <a:rPr kumimoji="0" lang="en-US" sz="2799" b="0" i="0" u="none" strike="noStrike" kern="1200" cap="none" spc="0" normalizeH="0" baseline="0" noProof="0">
                <a:ln>
                  <a:noFill/>
                </a:ln>
                <a:solidFill>
                  <a:srgbClr val="FFFFFF"/>
                </a:solidFill>
                <a:effectLst/>
                <a:uLnTx/>
                <a:uFillTx/>
                <a:latin typeface="Roboto Light" panose="02000000000000000000" pitchFamily="2" charset="0"/>
                <a:ea typeface="Roboto Light" panose="02000000000000000000" pitchFamily="2" charset="0"/>
              </a:rPr>
              <a:t>If you enjoyed our presentation, then follow us on social media</a:t>
            </a:r>
          </a:p>
        </p:txBody>
      </p:sp>
    </p:spTree>
    <p:extLst>
      <p:ext uri="{BB962C8B-B14F-4D97-AF65-F5344CB8AC3E}">
        <p14:creationId xmlns:p14="http://schemas.microsoft.com/office/powerpoint/2010/main" val="2372822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YouTube &quot;Subscribe&quot;">
    <p:bg>
      <p:bgPr>
        <a:solidFill>
          <a:schemeClr val="accent2"/>
        </a:solidFill>
        <a:effectLst/>
      </p:bgPr>
    </p:bg>
    <p:spTree>
      <p:nvGrpSpPr>
        <p:cNvPr id="1" name=""/>
        <p:cNvGrpSpPr/>
        <p:nvPr/>
      </p:nvGrpSpPr>
      <p:grpSpPr>
        <a:xfrm>
          <a:off x="0" y="0"/>
          <a:ext cx="0" cy="0"/>
          <a:chOff x="0" y="0"/>
          <a:chExt cx="0" cy="0"/>
        </a:xfrm>
      </p:grpSpPr>
      <p:sp>
        <p:nvSpPr>
          <p:cNvPr id="9" name="Right Triangle 8">
            <a:extLst>
              <a:ext uri="{FF2B5EF4-FFF2-40B4-BE49-F238E27FC236}">
                <a16:creationId xmlns:a16="http://schemas.microsoft.com/office/drawing/2014/main" id="{78D35A2B-6053-E04F-A1C5-B9798F9C9B7D}"/>
              </a:ext>
            </a:extLst>
          </p:cNvPr>
          <p:cNvSpPr/>
          <p:nvPr userDrawn="1"/>
        </p:nvSpPr>
        <p:spPr>
          <a:xfrm rot="5400000" flipH="1">
            <a:off x="3831485" y="912772"/>
            <a:ext cx="2123832" cy="9786801"/>
          </a:xfrm>
          <a:prstGeom prst="rtTriangle">
            <a:avLst/>
          </a:prstGeom>
          <a:solidFill>
            <a:srgbClr val="FF8A1A"/>
          </a:solidFill>
          <a:ln>
            <a:noFill/>
          </a:ln>
        </p:spPr>
        <p:style>
          <a:lnRef idx="2">
            <a:schemeClr val="accent1">
              <a:shade val="50000"/>
            </a:schemeClr>
          </a:lnRef>
          <a:fillRef idx="1">
            <a:schemeClr val="accent1"/>
          </a:fillRef>
          <a:effectRef idx="0">
            <a:schemeClr val="accent1"/>
          </a:effectRef>
          <a:fontRef idx="minor">
            <a:schemeClr val="lt1"/>
          </a:fontRef>
        </p:style>
        <p:txBody>
          <a:bodyPr lIns="137124" tIns="91416" rIns="137124" bIns="91416" rtlCol="0" anchor="ct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10" name="Right Triangle 9">
            <a:extLst>
              <a:ext uri="{FF2B5EF4-FFF2-40B4-BE49-F238E27FC236}">
                <a16:creationId xmlns:a16="http://schemas.microsoft.com/office/drawing/2014/main" id="{61DB92BF-401F-D84E-9141-70F8803D14EA}"/>
              </a:ext>
            </a:extLst>
          </p:cNvPr>
          <p:cNvSpPr/>
          <p:nvPr userDrawn="1"/>
        </p:nvSpPr>
        <p:spPr>
          <a:xfrm rot="5400000" flipH="1" flipV="1">
            <a:off x="8079706" y="2758967"/>
            <a:ext cx="2123830" cy="6094413"/>
          </a:xfrm>
          <a:prstGeom prst="r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37124" tIns="91416" rIns="137124" bIns="91416" rtlCol="0" anchor="ct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11" name="Right Triangle 10">
            <a:extLst>
              <a:ext uri="{FF2B5EF4-FFF2-40B4-BE49-F238E27FC236}">
                <a16:creationId xmlns:a16="http://schemas.microsoft.com/office/drawing/2014/main" id="{9658DFFD-F62F-CC4B-8F0D-9AA15B75EDD3}"/>
              </a:ext>
            </a:extLst>
          </p:cNvPr>
          <p:cNvSpPr/>
          <p:nvPr userDrawn="1"/>
        </p:nvSpPr>
        <p:spPr>
          <a:xfrm rot="5400000" flipH="1" flipV="1">
            <a:off x="8199801" y="2879063"/>
            <a:ext cx="1883641" cy="6094413"/>
          </a:xfrm>
          <a:prstGeom prst="rtTriangle">
            <a:avLst/>
          </a:prstGeom>
          <a:solidFill>
            <a:srgbClr val="070606"/>
          </a:solidFill>
          <a:ln>
            <a:noFill/>
          </a:ln>
        </p:spPr>
        <p:style>
          <a:lnRef idx="2">
            <a:schemeClr val="accent1">
              <a:shade val="50000"/>
            </a:schemeClr>
          </a:lnRef>
          <a:fillRef idx="1">
            <a:schemeClr val="accent1"/>
          </a:fillRef>
          <a:effectRef idx="0">
            <a:schemeClr val="accent1"/>
          </a:effectRef>
          <a:fontRef idx="minor">
            <a:schemeClr val="lt1"/>
          </a:fontRef>
        </p:style>
        <p:txBody>
          <a:bodyPr lIns="137124" tIns="91416" rIns="137124" bIns="91416" rtlCol="0" anchor="ct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pic>
        <p:nvPicPr>
          <p:cNvPr id="12" name="Picture 11">
            <a:extLst>
              <a:ext uri="{FF2B5EF4-FFF2-40B4-BE49-F238E27FC236}">
                <a16:creationId xmlns:a16="http://schemas.microsoft.com/office/drawing/2014/main" id="{C4AD8F6B-2ADB-6F45-BDD8-0436079D30A5}"/>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100000"/>
                    </a14:imgEffect>
                  </a14:imgLayer>
                </a14:imgProps>
              </a:ext>
            </a:extLst>
          </a:blip>
          <a:srcRect l="31513"/>
          <a:stretch/>
        </p:blipFill>
        <p:spPr>
          <a:xfrm>
            <a:off x="10239375" y="6007610"/>
            <a:ext cx="1697110" cy="849901"/>
          </a:xfrm>
          <a:prstGeom prst="rect">
            <a:avLst/>
          </a:prstGeom>
        </p:spPr>
      </p:pic>
      <p:pic>
        <p:nvPicPr>
          <p:cNvPr id="13" name="Picture 12">
            <a:extLst>
              <a:ext uri="{FF2B5EF4-FFF2-40B4-BE49-F238E27FC236}">
                <a16:creationId xmlns:a16="http://schemas.microsoft.com/office/drawing/2014/main" id="{2362AD09-60B4-D846-857E-35A1834B747F}"/>
              </a:ext>
            </a:extLst>
          </p:cNvPr>
          <p:cNvPicPr>
            <a:picLocks noChangeAspect="1"/>
          </p:cNvPicPr>
          <p:nvPr userDrawn="1"/>
        </p:nvPicPr>
        <p:blipFill rotWithShape="1">
          <a:blip r:embed="rId4"/>
          <a:srcRect r="69640"/>
          <a:stretch/>
        </p:blipFill>
        <p:spPr>
          <a:xfrm>
            <a:off x="9458462" y="6007609"/>
            <a:ext cx="752339" cy="849901"/>
          </a:xfrm>
          <a:prstGeom prst="rect">
            <a:avLst/>
          </a:prstGeom>
        </p:spPr>
      </p:pic>
      <p:pic>
        <p:nvPicPr>
          <p:cNvPr id="21" name="Picture 20" descr="Icon&#10;&#10;Description automatically generated">
            <a:hlinkClick r:id="rId5"/>
            <a:extLst>
              <a:ext uri="{FF2B5EF4-FFF2-40B4-BE49-F238E27FC236}">
                <a16:creationId xmlns:a16="http://schemas.microsoft.com/office/drawing/2014/main" id="{4A604B0B-7421-FA4B-8C1E-8FAEAA290ED6}"/>
              </a:ext>
            </a:extLst>
          </p:cNvPr>
          <p:cNvPicPr>
            <a:picLocks noChangeAspect="1"/>
          </p:cNvPicPr>
          <p:nvPr userDrawn="1"/>
        </p:nvPicPr>
        <p:blipFill>
          <a:blip r:embed="rId6"/>
          <a:stretch>
            <a:fillRect/>
          </a:stretch>
        </p:blipFill>
        <p:spPr>
          <a:xfrm>
            <a:off x="488951" y="4193105"/>
            <a:ext cx="535905" cy="535905"/>
          </a:xfrm>
          <a:prstGeom prst="rect">
            <a:avLst/>
          </a:prstGeom>
        </p:spPr>
      </p:pic>
      <p:sp>
        <p:nvSpPr>
          <p:cNvPr id="24" name="Text Placeholder 23">
            <a:extLst>
              <a:ext uri="{FF2B5EF4-FFF2-40B4-BE49-F238E27FC236}">
                <a16:creationId xmlns:a16="http://schemas.microsoft.com/office/drawing/2014/main" id="{230111FE-507F-E045-8EBF-0AA1309FAE0D}"/>
              </a:ext>
            </a:extLst>
          </p:cNvPr>
          <p:cNvSpPr txBox="1">
            <a:spLocks/>
          </p:cNvSpPr>
          <p:nvPr userDrawn="1"/>
        </p:nvSpPr>
        <p:spPr>
          <a:xfrm>
            <a:off x="488950" y="2202258"/>
            <a:ext cx="9394638" cy="1292860"/>
          </a:xfrm>
          <a:prstGeom prst="rect">
            <a:avLst/>
          </a:prstGeom>
        </p:spPr>
        <p:txBody>
          <a:bodyPr vert="horz" lIns="0" tIns="0" rIns="0" bIns="0" rtlCol="0" anchor="b">
            <a:noAutofit/>
          </a:bodyPr>
          <a:lstStyle>
            <a:lvl1pPr marL="0" indent="0" algn="l" defTabSz="914217" rtl="0" eaLnBrk="1" latinLnBrk="0" hangingPunct="1">
              <a:lnSpc>
                <a:spcPct val="95000"/>
              </a:lnSpc>
              <a:spcBef>
                <a:spcPts val="1200"/>
              </a:spcBef>
              <a:spcAft>
                <a:spcPts val="0"/>
              </a:spcAft>
              <a:buClr>
                <a:schemeClr val="accent2"/>
              </a:buClr>
              <a:buFont typeface="Arial" panose="020B0604020202020204" pitchFamily="34" charset="0"/>
              <a:buNone/>
              <a:defRPr sz="4800" b="0" i="0" kern="1200">
                <a:solidFill>
                  <a:schemeClr val="bg1"/>
                </a:solidFill>
                <a:latin typeface="+mj-lt"/>
                <a:ea typeface="Roboto Lt" charset="0"/>
                <a:cs typeface="Roboto Lt" charset="0"/>
              </a:defRPr>
            </a:lvl1pPr>
            <a:lvl2pPr marL="457108" indent="0" algn="l" defTabSz="914217" rtl="0" eaLnBrk="1" latinLnBrk="0" hangingPunct="1">
              <a:lnSpc>
                <a:spcPct val="95000"/>
              </a:lnSpc>
              <a:spcBef>
                <a:spcPts val="600"/>
              </a:spcBef>
              <a:spcAft>
                <a:spcPts val="0"/>
              </a:spcAft>
              <a:buClr>
                <a:schemeClr val="accent2"/>
              </a:buClr>
              <a:buFont typeface=".AppleSystemUIFont" charset="-120"/>
              <a:buNone/>
              <a:defRPr sz="1800" b="0" i="0" kern="1200">
                <a:solidFill>
                  <a:schemeClr val="tx1"/>
                </a:solidFill>
                <a:latin typeface="Roboto" charset="0"/>
                <a:ea typeface="Roboto" charset="0"/>
                <a:cs typeface="Roboto" charset="0"/>
              </a:defRPr>
            </a:lvl2pPr>
            <a:lvl3pPr marL="914217" indent="0" algn="l" defTabSz="914217" rtl="0" eaLnBrk="1" latinLnBrk="0" hangingPunct="1">
              <a:lnSpc>
                <a:spcPct val="95000"/>
              </a:lnSpc>
              <a:spcBef>
                <a:spcPts val="600"/>
              </a:spcBef>
              <a:spcAft>
                <a:spcPts val="0"/>
              </a:spcAft>
              <a:buClr>
                <a:schemeClr val="accent2"/>
              </a:buClr>
              <a:buFont typeface="Arial" panose="020B0604020202020204" pitchFamily="34" charset="0"/>
              <a:buNone/>
              <a:defRPr sz="1600" b="0" i="0" kern="1200">
                <a:solidFill>
                  <a:schemeClr val="tx1"/>
                </a:solidFill>
                <a:latin typeface="Roboto" charset="0"/>
                <a:ea typeface="Roboto" charset="0"/>
                <a:cs typeface="Roboto" charset="0"/>
              </a:defRPr>
            </a:lvl3pPr>
            <a:lvl4pPr marL="1371326" indent="0" algn="l" defTabSz="914217" rtl="0" eaLnBrk="1" latinLnBrk="0" hangingPunct="1">
              <a:lnSpc>
                <a:spcPct val="95000"/>
              </a:lnSpc>
              <a:spcBef>
                <a:spcPts val="600"/>
              </a:spcBef>
              <a:spcAft>
                <a:spcPts val="0"/>
              </a:spcAft>
              <a:buClr>
                <a:schemeClr val="accent3"/>
              </a:buClr>
              <a:buFont typeface="Arial" panose="020B0604020202020204" pitchFamily="34" charset="0"/>
              <a:buNone/>
              <a:defRPr sz="1400" b="0" i="0" kern="1200">
                <a:solidFill>
                  <a:schemeClr val="tx1"/>
                </a:solidFill>
                <a:latin typeface="Roboto" charset="0"/>
                <a:ea typeface="Roboto" charset="0"/>
                <a:cs typeface="Roboto" charset="0"/>
              </a:defRPr>
            </a:lvl4pPr>
            <a:lvl5pPr marL="1828435" indent="0" algn="l" defTabSz="914217" rtl="0" eaLnBrk="1" latinLnBrk="0" hangingPunct="1">
              <a:lnSpc>
                <a:spcPct val="95000"/>
              </a:lnSpc>
              <a:spcBef>
                <a:spcPts val="600"/>
              </a:spcBef>
              <a:spcAft>
                <a:spcPts val="0"/>
              </a:spcAft>
              <a:buClr>
                <a:schemeClr val="accent2"/>
              </a:buClr>
              <a:buFont typeface="Arial" panose="020B0604020202020204" pitchFamily="34" charset="0"/>
              <a:buNone/>
              <a:defRPr sz="1400" b="0" i="0" kern="1200">
                <a:solidFill>
                  <a:schemeClr val="tx1"/>
                </a:solidFill>
                <a:latin typeface="Roboto" charset="0"/>
                <a:ea typeface="Roboto" charset="0"/>
                <a:cs typeface="Roboto" charset="0"/>
              </a:defRPr>
            </a:lvl5pPr>
            <a:lvl6pPr marL="914400" indent="-169863" algn="l" defTabSz="914217" rtl="0" eaLnBrk="1" latinLnBrk="0" hangingPunct="1">
              <a:lnSpc>
                <a:spcPct val="90000"/>
              </a:lnSpc>
              <a:spcBef>
                <a:spcPts val="500"/>
              </a:spcBef>
              <a:spcAft>
                <a:spcPts val="1200"/>
              </a:spcAft>
              <a:buClr>
                <a:schemeClr val="tx1"/>
              </a:buClr>
              <a:buFont typeface="Arial" panose="020B0604020202020204" pitchFamily="34" charset="0"/>
              <a:buChar char="•"/>
              <a:defRPr sz="1200" b="0" i="0" kern="1200">
                <a:solidFill>
                  <a:schemeClr val="tx1"/>
                </a:solidFill>
                <a:latin typeface="Roboto" charset="0"/>
                <a:ea typeface="Roboto" charset="0"/>
                <a:cs typeface="Roboto" charset="0"/>
              </a:defRPr>
            </a:lvl6pPr>
            <a:lvl7pPr marL="1084263" indent="-169863" algn="l" defTabSz="914217" rtl="0" eaLnBrk="1" latinLnBrk="0" hangingPunct="1">
              <a:lnSpc>
                <a:spcPct val="90000"/>
              </a:lnSpc>
              <a:spcBef>
                <a:spcPts val="500"/>
              </a:spcBef>
              <a:spcAft>
                <a:spcPts val="1200"/>
              </a:spcAft>
              <a:buClr>
                <a:schemeClr val="accent2"/>
              </a:buClr>
              <a:buFont typeface="Arial" panose="020B0604020202020204" pitchFamily="34" charset="0"/>
              <a:buChar char="•"/>
              <a:defRPr sz="1200" b="0" i="0" kern="1200">
                <a:solidFill>
                  <a:schemeClr val="tx1"/>
                </a:solidFill>
                <a:latin typeface="Roboto" charset="0"/>
                <a:ea typeface="Roboto" charset="0"/>
                <a:cs typeface="Roboto" charset="0"/>
              </a:defRPr>
            </a:lvl7pPr>
            <a:lvl8pPr marL="1258888" indent="-174625" algn="l" defTabSz="914217" rtl="0" eaLnBrk="1" latinLnBrk="0" hangingPunct="1">
              <a:lnSpc>
                <a:spcPct val="90000"/>
              </a:lnSpc>
              <a:spcBef>
                <a:spcPts val="500"/>
              </a:spcBef>
              <a:spcAft>
                <a:spcPts val="1200"/>
              </a:spcAft>
              <a:buClr>
                <a:schemeClr val="accent2"/>
              </a:buClr>
              <a:buFont typeface="Arial" panose="020B0604020202020204" pitchFamily="34" charset="0"/>
              <a:buChar char="•"/>
              <a:defRPr sz="1200" b="0" i="0" kern="1200">
                <a:solidFill>
                  <a:schemeClr val="tx1"/>
                </a:solidFill>
                <a:latin typeface="Roboto" charset="0"/>
                <a:ea typeface="Roboto" charset="0"/>
                <a:cs typeface="Roboto" charset="0"/>
              </a:defRPr>
            </a:lvl8pPr>
            <a:lvl9pPr marL="1428750" indent="-169863" algn="l" defTabSz="914217" rtl="0" eaLnBrk="1" latinLnBrk="0" hangingPunct="1">
              <a:lnSpc>
                <a:spcPct val="90000"/>
              </a:lnSpc>
              <a:spcBef>
                <a:spcPts val="500"/>
              </a:spcBef>
              <a:spcAft>
                <a:spcPts val="1200"/>
              </a:spcAft>
              <a:buClr>
                <a:schemeClr val="accent2"/>
              </a:buClr>
              <a:buFont typeface="Arial" panose="020B0604020202020204" pitchFamily="34" charset="0"/>
              <a:buChar char="•"/>
              <a:defRPr sz="1200" b="0" i="0" kern="1200">
                <a:solidFill>
                  <a:schemeClr val="tx1"/>
                </a:solidFill>
                <a:latin typeface="Roboto" charset="0"/>
                <a:ea typeface="Roboto" charset="0"/>
                <a:cs typeface="Roboto" charset="0"/>
              </a:defRPr>
            </a:lvl9pPr>
          </a:lstStyle>
          <a:p>
            <a:pPr marL="0" marR="0" lvl="0" indent="0" algn="l" defTabSz="913943" rtl="0" eaLnBrk="1" fontAlgn="auto" latinLnBrk="0" hangingPunct="1">
              <a:lnSpc>
                <a:spcPct val="95000"/>
              </a:lnSpc>
              <a:spcBef>
                <a:spcPts val="1200"/>
              </a:spcBef>
              <a:spcAft>
                <a:spcPts val="0"/>
              </a:spcAft>
              <a:buClr>
                <a:srgbClr val="FF7D00"/>
              </a:buClr>
              <a:buSzTx/>
              <a:buFont typeface="Arial" panose="020B0604020202020204" pitchFamily="34" charset="0"/>
              <a:buNone/>
              <a:tabLst/>
              <a:defRPr/>
            </a:pPr>
            <a:r>
              <a:rPr kumimoji="0" lang="en-US" sz="4799" b="0" i="0" u="none" strike="noStrike" kern="1200" cap="none" spc="0" normalizeH="0" baseline="0" noProof="0">
                <a:ln>
                  <a:noFill/>
                </a:ln>
                <a:solidFill>
                  <a:srgbClr val="FFFFFF"/>
                </a:solidFill>
                <a:effectLst/>
                <a:uLnTx/>
                <a:uFillTx/>
                <a:latin typeface="Roboto Light"/>
                <a:ea typeface="Roboto Light" panose="02000000000000000000" pitchFamily="2" charset="0"/>
              </a:rPr>
              <a:t>Thank You for Watching</a:t>
            </a:r>
          </a:p>
        </p:txBody>
      </p:sp>
      <p:sp>
        <p:nvSpPr>
          <p:cNvPr id="25" name="Text Placeholder 27">
            <a:extLst>
              <a:ext uri="{FF2B5EF4-FFF2-40B4-BE49-F238E27FC236}">
                <a16:creationId xmlns:a16="http://schemas.microsoft.com/office/drawing/2014/main" id="{2E77DB72-176E-7A46-86E0-70854FEC4DAA}"/>
              </a:ext>
            </a:extLst>
          </p:cNvPr>
          <p:cNvSpPr txBox="1">
            <a:spLocks/>
          </p:cNvSpPr>
          <p:nvPr userDrawn="1"/>
        </p:nvSpPr>
        <p:spPr bwMode="gray">
          <a:xfrm>
            <a:off x="493712" y="3549985"/>
            <a:ext cx="10118603" cy="475487"/>
          </a:xfrm>
          <a:prstGeom prst="rect">
            <a:avLst/>
          </a:prstGeom>
        </p:spPr>
        <p:txBody>
          <a:bodyPr vert="horz" lIns="0" tIns="0" rIns="0" bIns="0" rtlCol="0">
            <a:noAutofit/>
          </a:bodyPr>
          <a:lstStyle>
            <a:lvl1pPr marL="7938" indent="-7938" algn="l" defTabSz="914217" rtl="0" eaLnBrk="1" latinLnBrk="0" hangingPunct="1">
              <a:lnSpc>
                <a:spcPct val="95000"/>
              </a:lnSpc>
              <a:spcBef>
                <a:spcPts val="1200"/>
              </a:spcBef>
              <a:spcAft>
                <a:spcPts val="0"/>
              </a:spcAft>
              <a:buClr>
                <a:schemeClr val="accent2"/>
              </a:buClr>
              <a:buFont typeface="Arial" panose="020B0604020202020204" pitchFamily="34" charset="0"/>
              <a:buNone/>
              <a:tabLst/>
              <a:defRPr lang="en-US" sz="2800" b="0" i="0" kern="1200" baseline="0" dirty="0">
                <a:solidFill>
                  <a:schemeClr val="bg1"/>
                </a:solidFill>
                <a:latin typeface="Roboto Lt" charset="0"/>
                <a:ea typeface="Roboto Lt" charset="0"/>
                <a:cs typeface="Roboto Lt" charset="0"/>
              </a:defRPr>
            </a:lvl1pPr>
            <a:lvl2pPr marL="344488" indent="-174625" algn="l" defTabSz="914217" rtl="0" eaLnBrk="1" latinLnBrk="0" hangingPunct="1">
              <a:lnSpc>
                <a:spcPct val="95000"/>
              </a:lnSpc>
              <a:spcBef>
                <a:spcPts val="600"/>
              </a:spcBef>
              <a:spcAft>
                <a:spcPts val="0"/>
              </a:spcAft>
              <a:buClr>
                <a:schemeClr val="accent2"/>
              </a:buClr>
              <a:buFont typeface=".AppleSystemUIFont" charset="-120"/>
              <a:buChar char="-"/>
              <a:defRPr sz="1800" b="0" i="0" kern="1200">
                <a:solidFill>
                  <a:schemeClr val="tx1"/>
                </a:solidFill>
                <a:latin typeface="Roboto" charset="0"/>
                <a:ea typeface="Roboto" charset="0"/>
                <a:cs typeface="Roboto" charset="0"/>
              </a:defRPr>
            </a:lvl2pPr>
            <a:lvl3pPr marL="514350" indent="-169863" algn="l" defTabSz="914217" rtl="0" eaLnBrk="1" latinLnBrk="0" hangingPunct="1">
              <a:lnSpc>
                <a:spcPct val="95000"/>
              </a:lnSpc>
              <a:spcBef>
                <a:spcPts val="600"/>
              </a:spcBef>
              <a:spcAft>
                <a:spcPts val="0"/>
              </a:spcAft>
              <a:buClr>
                <a:schemeClr val="accent2"/>
              </a:buClr>
              <a:buFont typeface="Arial" panose="020B0604020202020204" pitchFamily="34" charset="0"/>
              <a:buChar char="•"/>
              <a:defRPr sz="1600" b="0" i="0" kern="1200">
                <a:solidFill>
                  <a:schemeClr val="tx1"/>
                </a:solidFill>
                <a:latin typeface="Roboto" charset="0"/>
                <a:ea typeface="Roboto" charset="0"/>
                <a:cs typeface="Roboto" charset="0"/>
              </a:defRPr>
            </a:lvl3pPr>
            <a:lvl4pPr marL="630238" indent="-171450" algn="l" defTabSz="914217" rtl="0" eaLnBrk="1" latinLnBrk="0" hangingPunct="1">
              <a:lnSpc>
                <a:spcPct val="95000"/>
              </a:lnSpc>
              <a:spcBef>
                <a:spcPts val="600"/>
              </a:spcBef>
              <a:spcAft>
                <a:spcPts val="0"/>
              </a:spcAft>
              <a:buClr>
                <a:schemeClr val="accent3"/>
              </a:buClr>
              <a:buFont typeface="Arial" panose="020B0604020202020204" pitchFamily="34" charset="0"/>
              <a:buChar char="•"/>
              <a:defRPr sz="1400" b="0" i="0" kern="1200">
                <a:solidFill>
                  <a:schemeClr val="tx1"/>
                </a:solidFill>
                <a:latin typeface="Roboto" charset="0"/>
                <a:ea typeface="Roboto" charset="0"/>
                <a:cs typeface="Roboto" charset="0"/>
              </a:defRPr>
            </a:lvl4pPr>
            <a:lvl5pPr marL="800100" indent="-169863" algn="l" defTabSz="914217" rtl="0" eaLnBrk="1" latinLnBrk="0" hangingPunct="1">
              <a:lnSpc>
                <a:spcPct val="95000"/>
              </a:lnSpc>
              <a:spcBef>
                <a:spcPts val="600"/>
              </a:spcBef>
              <a:spcAft>
                <a:spcPts val="0"/>
              </a:spcAft>
              <a:buClr>
                <a:schemeClr val="accent2"/>
              </a:buClr>
              <a:buFont typeface="Arial" panose="020B0604020202020204" pitchFamily="34" charset="0"/>
              <a:buChar char="•"/>
              <a:defRPr sz="1400" b="0" i="0" kern="1200">
                <a:solidFill>
                  <a:schemeClr val="tx1"/>
                </a:solidFill>
                <a:latin typeface="Roboto" charset="0"/>
                <a:ea typeface="Roboto" charset="0"/>
                <a:cs typeface="Roboto" charset="0"/>
              </a:defRPr>
            </a:lvl5pPr>
            <a:lvl6pPr marL="914400" indent="-169863" algn="l" defTabSz="914217" rtl="0" eaLnBrk="1" latinLnBrk="0" hangingPunct="1">
              <a:lnSpc>
                <a:spcPct val="90000"/>
              </a:lnSpc>
              <a:spcBef>
                <a:spcPts val="500"/>
              </a:spcBef>
              <a:spcAft>
                <a:spcPts val="1200"/>
              </a:spcAft>
              <a:buClr>
                <a:schemeClr val="tx1"/>
              </a:buClr>
              <a:buFont typeface="Arial" panose="020B0604020202020204" pitchFamily="34" charset="0"/>
              <a:buChar char="•"/>
              <a:defRPr sz="1200" b="0" i="0" kern="1200">
                <a:solidFill>
                  <a:schemeClr val="tx1"/>
                </a:solidFill>
                <a:latin typeface="Roboto" charset="0"/>
                <a:ea typeface="Roboto" charset="0"/>
                <a:cs typeface="Roboto" charset="0"/>
              </a:defRPr>
            </a:lvl6pPr>
            <a:lvl7pPr marL="1084263" indent="-169863" algn="l" defTabSz="914217" rtl="0" eaLnBrk="1" latinLnBrk="0" hangingPunct="1">
              <a:lnSpc>
                <a:spcPct val="90000"/>
              </a:lnSpc>
              <a:spcBef>
                <a:spcPts val="500"/>
              </a:spcBef>
              <a:spcAft>
                <a:spcPts val="1200"/>
              </a:spcAft>
              <a:buClr>
                <a:schemeClr val="accent2"/>
              </a:buClr>
              <a:buFont typeface="Arial" panose="020B0604020202020204" pitchFamily="34" charset="0"/>
              <a:buChar char="•"/>
              <a:defRPr sz="1200" b="0" i="0" kern="1200">
                <a:solidFill>
                  <a:schemeClr val="tx1"/>
                </a:solidFill>
                <a:latin typeface="Roboto" charset="0"/>
                <a:ea typeface="Roboto" charset="0"/>
                <a:cs typeface="Roboto" charset="0"/>
              </a:defRPr>
            </a:lvl7pPr>
            <a:lvl8pPr marL="1258888" indent="-174625" algn="l" defTabSz="914217" rtl="0" eaLnBrk="1" latinLnBrk="0" hangingPunct="1">
              <a:lnSpc>
                <a:spcPct val="90000"/>
              </a:lnSpc>
              <a:spcBef>
                <a:spcPts val="500"/>
              </a:spcBef>
              <a:spcAft>
                <a:spcPts val="1200"/>
              </a:spcAft>
              <a:buClr>
                <a:schemeClr val="accent2"/>
              </a:buClr>
              <a:buFont typeface="Arial" panose="020B0604020202020204" pitchFamily="34" charset="0"/>
              <a:buChar char="•"/>
              <a:defRPr sz="1200" b="0" i="0" kern="1200">
                <a:solidFill>
                  <a:schemeClr val="tx1"/>
                </a:solidFill>
                <a:latin typeface="Roboto" charset="0"/>
                <a:ea typeface="Roboto" charset="0"/>
                <a:cs typeface="Roboto" charset="0"/>
              </a:defRPr>
            </a:lvl8pPr>
            <a:lvl9pPr marL="1428750" indent="-169863" algn="l" defTabSz="914217" rtl="0" eaLnBrk="1" latinLnBrk="0" hangingPunct="1">
              <a:lnSpc>
                <a:spcPct val="90000"/>
              </a:lnSpc>
              <a:spcBef>
                <a:spcPts val="500"/>
              </a:spcBef>
              <a:spcAft>
                <a:spcPts val="1200"/>
              </a:spcAft>
              <a:buClr>
                <a:schemeClr val="accent2"/>
              </a:buClr>
              <a:buFont typeface="Arial" panose="020B0604020202020204" pitchFamily="34" charset="0"/>
              <a:buChar char="•"/>
              <a:defRPr sz="1200" b="0" i="0" kern="1200">
                <a:solidFill>
                  <a:schemeClr val="tx1"/>
                </a:solidFill>
                <a:latin typeface="Roboto" charset="0"/>
                <a:ea typeface="Roboto" charset="0"/>
                <a:cs typeface="Roboto" charset="0"/>
              </a:defRPr>
            </a:lvl9pPr>
          </a:lstStyle>
          <a:p>
            <a:pPr marL="172986" marR="0" lvl="0" indent="-172986" algn="l" defTabSz="913943" rtl="0" eaLnBrk="1" fontAlgn="auto" latinLnBrk="0" hangingPunct="1">
              <a:lnSpc>
                <a:spcPct val="95000"/>
              </a:lnSpc>
              <a:spcBef>
                <a:spcPts val="1200"/>
              </a:spcBef>
              <a:spcAft>
                <a:spcPts val="0"/>
              </a:spcAft>
              <a:buClr>
                <a:srgbClr val="FF7D00"/>
              </a:buClr>
              <a:buSzTx/>
              <a:buFont typeface="Arial" panose="020B0604020202020204" pitchFamily="34" charset="0"/>
              <a:buNone/>
              <a:tabLst/>
              <a:defRPr/>
            </a:pPr>
            <a:r>
              <a:rPr kumimoji="0" lang="en-US" sz="2799" b="0" i="0" u="none" strike="noStrike" kern="1200" cap="none" spc="0" normalizeH="0" baseline="0" noProof="0">
                <a:ln>
                  <a:noFill/>
                </a:ln>
                <a:solidFill>
                  <a:srgbClr val="FFFFFF"/>
                </a:solidFill>
                <a:effectLst/>
                <a:uLnTx/>
                <a:uFillTx/>
                <a:latin typeface="Roboto Light" panose="02000000000000000000" pitchFamily="2" charset="0"/>
                <a:ea typeface="Roboto Light" panose="02000000000000000000" pitchFamily="2" charset="0"/>
              </a:rPr>
              <a:t>Don’t forget to subscribe</a:t>
            </a:r>
          </a:p>
        </p:txBody>
      </p:sp>
    </p:spTree>
    <p:extLst>
      <p:ext uri="{BB962C8B-B14F-4D97-AF65-F5344CB8AC3E}">
        <p14:creationId xmlns:p14="http://schemas.microsoft.com/office/powerpoint/2010/main" val="458229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1_Title Slide_option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Freeform 14">
            <a:extLst>
              <a:ext uri="{FF2B5EF4-FFF2-40B4-BE49-F238E27FC236}">
                <a16:creationId xmlns:a16="http://schemas.microsoft.com/office/drawing/2014/main" id="{21F5450C-5EE3-764C-9255-A45879016165}"/>
              </a:ext>
            </a:extLst>
          </p:cNvPr>
          <p:cNvSpPr/>
          <p:nvPr userDrawn="1"/>
        </p:nvSpPr>
        <p:spPr>
          <a:xfrm rot="16200000">
            <a:off x="4973323" y="1598218"/>
            <a:ext cx="6865702" cy="3660367"/>
          </a:xfrm>
          <a:custGeom>
            <a:avLst/>
            <a:gdLst>
              <a:gd name="connsiteX0" fmla="*/ 6837041 w 6837041"/>
              <a:gd name="connsiteY0" fmla="*/ 3595080 h 3595080"/>
              <a:gd name="connsiteX1" fmla="*/ 0 w 6837041"/>
              <a:gd name="connsiteY1" fmla="*/ 443330 h 3595080"/>
              <a:gd name="connsiteX2" fmla="*/ 0 w 6837041"/>
              <a:gd name="connsiteY2" fmla="*/ 0 h 3595080"/>
              <a:gd name="connsiteX0" fmla="*/ 6859268 w 6859268"/>
              <a:gd name="connsiteY0" fmla="*/ 3601433 h 3601433"/>
              <a:gd name="connsiteX1" fmla="*/ 0 w 6859268"/>
              <a:gd name="connsiteY1" fmla="*/ 443330 h 3601433"/>
              <a:gd name="connsiteX2" fmla="*/ 0 w 6859268"/>
              <a:gd name="connsiteY2" fmla="*/ 0 h 3601433"/>
              <a:gd name="connsiteX3" fmla="*/ 6859268 w 6859268"/>
              <a:gd name="connsiteY3" fmla="*/ 3601433 h 3601433"/>
              <a:gd name="connsiteX0" fmla="*/ 6881570 w 6881570"/>
              <a:gd name="connsiteY0" fmla="*/ 3657189 h 3657189"/>
              <a:gd name="connsiteX1" fmla="*/ 22302 w 6881570"/>
              <a:gd name="connsiteY1" fmla="*/ 499086 h 3657189"/>
              <a:gd name="connsiteX2" fmla="*/ 0 w 6881570"/>
              <a:gd name="connsiteY2" fmla="*/ 0 h 3657189"/>
              <a:gd name="connsiteX3" fmla="*/ 6881570 w 6881570"/>
              <a:gd name="connsiteY3" fmla="*/ 3657189 h 3657189"/>
              <a:gd name="connsiteX0" fmla="*/ 6862521 w 6862521"/>
              <a:gd name="connsiteY0" fmla="*/ 3657189 h 3657189"/>
              <a:gd name="connsiteX1" fmla="*/ 3253 w 6862521"/>
              <a:gd name="connsiteY1" fmla="*/ 499086 h 3657189"/>
              <a:gd name="connsiteX2" fmla="*/ 0 w 6862521"/>
              <a:gd name="connsiteY2" fmla="*/ 0 h 3657189"/>
              <a:gd name="connsiteX3" fmla="*/ 6862521 w 6862521"/>
              <a:gd name="connsiteY3" fmla="*/ 3657189 h 3657189"/>
              <a:gd name="connsiteX0" fmla="*/ 6862521 w 6862521"/>
              <a:gd name="connsiteY0" fmla="*/ 3654014 h 3654014"/>
              <a:gd name="connsiteX1" fmla="*/ 3253 w 6862521"/>
              <a:gd name="connsiteY1" fmla="*/ 499086 h 3654014"/>
              <a:gd name="connsiteX2" fmla="*/ 0 w 6862521"/>
              <a:gd name="connsiteY2" fmla="*/ 0 h 3654014"/>
              <a:gd name="connsiteX3" fmla="*/ 6862521 w 6862521"/>
              <a:gd name="connsiteY3" fmla="*/ 3654014 h 3654014"/>
              <a:gd name="connsiteX0" fmla="*/ 6865698 w 6865698"/>
              <a:gd name="connsiteY0" fmla="*/ 3660367 h 3660367"/>
              <a:gd name="connsiteX1" fmla="*/ 3253 w 6865698"/>
              <a:gd name="connsiteY1" fmla="*/ 499086 h 3660367"/>
              <a:gd name="connsiteX2" fmla="*/ 0 w 6865698"/>
              <a:gd name="connsiteY2" fmla="*/ 0 h 3660367"/>
              <a:gd name="connsiteX3" fmla="*/ 6865698 w 6865698"/>
              <a:gd name="connsiteY3" fmla="*/ 3660367 h 3660367"/>
            </a:gdLst>
            <a:ahLst/>
            <a:cxnLst>
              <a:cxn ang="0">
                <a:pos x="connsiteX0" y="connsiteY0"/>
              </a:cxn>
              <a:cxn ang="0">
                <a:pos x="connsiteX1" y="connsiteY1"/>
              </a:cxn>
              <a:cxn ang="0">
                <a:pos x="connsiteX2" y="connsiteY2"/>
              </a:cxn>
              <a:cxn ang="0">
                <a:pos x="connsiteX3" y="connsiteY3"/>
              </a:cxn>
            </a:cxnLst>
            <a:rect l="l" t="t" r="r" b="b"/>
            <a:pathLst>
              <a:path w="6865698" h="3660367">
                <a:moveTo>
                  <a:pt x="6865698" y="3660367"/>
                </a:moveTo>
                <a:lnTo>
                  <a:pt x="3253" y="499086"/>
                </a:lnTo>
                <a:cubicBezTo>
                  <a:pt x="2169" y="332724"/>
                  <a:pt x="1084" y="166362"/>
                  <a:pt x="0" y="0"/>
                </a:cubicBezTo>
                <a:lnTo>
                  <a:pt x="6865698" y="3660367"/>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accent1"/>
              </a:solidFill>
              <a:latin typeface="Roboto" panose="02000000000000000000" pitchFamily="2" charset="0"/>
            </a:endParaRPr>
          </a:p>
        </p:txBody>
      </p:sp>
      <p:sp>
        <p:nvSpPr>
          <p:cNvPr id="17" name="Freeform 16">
            <a:extLst>
              <a:ext uri="{FF2B5EF4-FFF2-40B4-BE49-F238E27FC236}">
                <a16:creationId xmlns:a16="http://schemas.microsoft.com/office/drawing/2014/main" id="{2032D7E5-8ACC-B643-87A2-6B19F923FBB9}"/>
              </a:ext>
            </a:extLst>
          </p:cNvPr>
          <p:cNvSpPr/>
          <p:nvPr userDrawn="1"/>
        </p:nvSpPr>
        <p:spPr>
          <a:xfrm>
            <a:off x="7020383" y="250"/>
            <a:ext cx="5168442" cy="6857751"/>
          </a:xfrm>
          <a:custGeom>
            <a:avLst/>
            <a:gdLst>
              <a:gd name="connsiteX0" fmla="*/ 5168442 w 5168442"/>
              <a:gd name="connsiteY0" fmla="*/ 0 h 6857751"/>
              <a:gd name="connsiteX1" fmla="*/ 5168442 w 5168442"/>
              <a:gd name="connsiteY1" fmla="*/ 6857751 h 6857751"/>
              <a:gd name="connsiteX2" fmla="*/ 4990745 w 5168442"/>
              <a:gd name="connsiteY2" fmla="*/ 6857751 h 6857751"/>
              <a:gd name="connsiteX3" fmla="*/ 3561939 w 5168442"/>
              <a:gd name="connsiteY3" fmla="*/ 6857751 h 6857751"/>
              <a:gd name="connsiteX4" fmla="*/ 3561939 w 5168442"/>
              <a:gd name="connsiteY4" fmla="*/ 6857158 h 6857751"/>
              <a:gd name="connsiteX5" fmla="*/ 0 w 5168442"/>
              <a:gd name="connsiteY5" fmla="*/ 6855677 h 6857751"/>
              <a:gd name="connsiteX6" fmla="*/ 3213596 w 5168442"/>
              <a:gd name="connsiteY6" fmla="*/ 4195 h 6857751"/>
              <a:gd name="connsiteX7" fmla="*/ 3561939 w 5168442"/>
              <a:gd name="connsiteY7" fmla="*/ 4195 h 6857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68442" h="6857751">
                <a:moveTo>
                  <a:pt x="5168442" y="0"/>
                </a:moveTo>
                <a:lnTo>
                  <a:pt x="5168442" y="6857751"/>
                </a:lnTo>
                <a:lnTo>
                  <a:pt x="4990745" y="6857751"/>
                </a:lnTo>
                <a:lnTo>
                  <a:pt x="3561939" y="6857751"/>
                </a:lnTo>
                <a:lnTo>
                  <a:pt x="3561939" y="6857158"/>
                </a:lnTo>
                <a:lnTo>
                  <a:pt x="0" y="6855677"/>
                </a:lnTo>
                <a:lnTo>
                  <a:pt x="3213596" y="4195"/>
                </a:lnTo>
                <a:lnTo>
                  <a:pt x="3561939" y="4195"/>
                </a:lnTo>
                <a:close/>
              </a:path>
            </a:pathLst>
          </a:custGeom>
          <a:gradFill>
            <a:gsLst>
              <a:gs pos="0">
                <a:schemeClr val="accent2"/>
              </a:gs>
              <a:gs pos="76000">
                <a:srgbClr val="FF6500"/>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rIns="137160" bIns="91440" rtlCol="0" anchor="ctr">
            <a:noAutofit/>
          </a:bodyPr>
          <a:lstStyle/>
          <a:p>
            <a:pPr lvl="0"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19" name="Freeform 18">
            <a:extLst>
              <a:ext uri="{FF2B5EF4-FFF2-40B4-BE49-F238E27FC236}">
                <a16:creationId xmlns:a16="http://schemas.microsoft.com/office/drawing/2014/main" id="{FD91BEA6-3F3C-EC47-9415-B53391D8D0D3}"/>
              </a:ext>
            </a:extLst>
          </p:cNvPr>
          <p:cNvSpPr/>
          <p:nvPr userDrawn="1"/>
        </p:nvSpPr>
        <p:spPr>
          <a:xfrm>
            <a:off x="7407017" y="4547198"/>
            <a:ext cx="4785372" cy="2310802"/>
          </a:xfrm>
          <a:custGeom>
            <a:avLst/>
            <a:gdLst>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16268 w 4717029"/>
              <a:gd name="connsiteY12" fmla="*/ 1924881 h 2310802"/>
              <a:gd name="connsiteX13" fmla="*/ 537304 w 4717029"/>
              <a:gd name="connsiteY13" fmla="*/ 1927002 h 2310802"/>
              <a:gd name="connsiteX14" fmla="*/ 555320 w 4717029"/>
              <a:gd name="connsiteY14" fmla="*/ 1748290 h 2310802"/>
              <a:gd name="connsiteX15" fmla="*/ 1458267 w 4717029"/>
              <a:gd name="connsiteY15" fmla="*/ 1012367 h 2310802"/>
              <a:gd name="connsiteX16" fmla="*/ 2307510 w 4717029"/>
              <a:gd name="connsiteY16" fmla="*/ 1575283 h 2310802"/>
              <a:gd name="connsiteX17" fmla="*/ 2359658 w 4717029"/>
              <a:gd name="connsiteY17" fmla="*/ 1743278 h 2310802"/>
              <a:gd name="connsiteX18" fmla="*/ 2697671 w 4717029"/>
              <a:gd name="connsiteY18" fmla="*/ 1743278 h 2310802"/>
              <a:gd name="connsiteX19" fmla="*/ 2691684 w 4717029"/>
              <a:gd name="connsiteY19" fmla="*/ 1683894 h 2310802"/>
              <a:gd name="connsiteX20" fmla="*/ 3479644 w 4717029"/>
              <a:gd name="connsiteY20" fmla="*/ 895934 h 2310802"/>
              <a:gd name="connsiteX21" fmla="*/ 3555657 w 4717029"/>
              <a:gd name="connsiteY21" fmla="*/ 899772 h 2310802"/>
              <a:gd name="connsiteX22" fmla="*/ 3556684 w 4717029"/>
              <a:gd name="connsiteY22" fmla="*/ 889585 h 2310802"/>
              <a:gd name="connsiteX23" fmla="*/ 4648168 w 4717029"/>
              <a:gd name="connsiteY23"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16268 w 4717029"/>
              <a:gd name="connsiteY12" fmla="*/ 1924881 h 2310802"/>
              <a:gd name="connsiteX13" fmla="*/ 555320 w 4717029"/>
              <a:gd name="connsiteY13" fmla="*/ 1748290 h 2310802"/>
              <a:gd name="connsiteX14" fmla="*/ 1458267 w 4717029"/>
              <a:gd name="connsiteY14" fmla="*/ 1012367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55320 w 4717029"/>
              <a:gd name="connsiteY13" fmla="*/ 1748290 h 2310802"/>
              <a:gd name="connsiteX14" fmla="*/ 1458267 w 4717029"/>
              <a:gd name="connsiteY14" fmla="*/ 1012367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55320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55320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55320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73608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73608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73608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479620 w 4717029"/>
              <a:gd name="connsiteY14" fmla="*/ 1020114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6903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76504 w 4745365"/>
              <a:gd name="connsiteY0" fmla="*/ 0 h 2310802"/>
              <a:gd name="connsiteX1" fmla="*/ 4745365 w 4745365"/>
              <a:gd name="connsiteY1" fmla="*/ 3477 h 2310802"/>
              <a:gd name="connsiteX2" fmla="*/ 4745365 w 4745365"/>
              <a:gd name="connsiteY2" fmla="*/ 2224761 h 2310802"/>
              <a:gd name="connsiteX3" fmla="*/ 4676504 w 4745365"/>
              <a:gd name="connsiteY3" fmla="*/ 2228238 h 2310802"/>
              <a:gd name="connsiteX4" fmla="*/ 4193487 w 4745365"/>
              <a:gd name="connsiteY4" fmla="*/ 2118374 h 2310802"/>
              <a:gd name="connsiteX5" fmla="*/ 4171520 w 4745365"/>
              <a:gd name="connsiteY5" fmla="*/ 2105748 h 2310802"/>
              <a:gd name="connsiteX6" fmla="*/ 4161369 w 4745365"/>
              <a:gd name="connsiteY6" fmla="*/ 2124450 h 2310802"/>
              <a:gd name="connsiteX7" fmla="*/ 4065152 w 4745365"/>
              <a:gd name="connsiteY7" fmla="*/ 2241066 h 2310802"/>
              <a:gd name="connsiteX8" fmla="*/ 3986221 w 4745365"/>
              <a:gd name="connsiteY8" fmla="*/ 2306190 h 2310802"/>
              <a:gd name="connsiteX9" fmla="*/ 3986221 w 4745365"/>
              <a:gd name="connsiteY9" fmla="*/ 2310802 h 2310802"/>
              <a:gd name="connsiteX10" fmla="*/ 0 w 4745365"/>
              <a:gd name="connsiteY10" fmla="*/ 2310802 h 2310802"/>
              <a:gd name="connsiteX11" fmla="*/ 45422 w 4745365"/>
              <a:gd name="connsiteY11" fmla="*/ 2255761 h 2310802"/>
              <a:gd name="connsiteX12" fmla="*/ 551119 w 4745365"/>
              <a:gd name="connsiteY12" fmla="*/ 1890083 h 2310802"/>
              <a:gd name="connsiteX13" fmla="*/ 575332 w 4745365"/>
              <a:gd name="connsiteY13" fmla="*/ 1748290 h 2310802"/>
              <a:gd name="connsiteX14" fmla="*/ 1504807 w 4745365"/>
              <a:gd name="connsiteY14" fmla="*/ 1035989 h 2310802"/>
              <a:gd name="connsiteX15" fmla="*/ 2335846 w 4745365"/>
              <a:gd name="connsiteY15" fmla="*/ 1575283 h 2310802"/>
              <a:gd name="connsiteX16" fmla="*/ 2387994 w 4745365"/>
              <a:gd name="connsiteY16" fmla="*/ 1743278 h 2310802"/>
              <a:gd name="connsiteX17" fmla="*/ 2726007 w 4745365"/>
              <a:gd name="connsiteY17" fmla="*/ 1743278 h 2310802"/>
              <a:gd name="connsiteX18" fmla="*/ 2720020 w 4745365"/>
              <a:gd name="connsiteY18" fmla="*/ 1683894 h 2310802"/>
              <a:gd name="connsiteX19" fmla="*/ 3507980 w 4745365"/>
              <a:gd name="connsiteY19" fmla="*/ 895934 h 2310802"/>
              <a:gd name="connsiteX20" fmla="*/ 3583993 w 4745365"/>
              <a:gd name="connsiteY20" fmla="*/ 899772 h 2310802"/>
              <a:gd name="connsiteX21" fmla="*/ 3585020 w 4745365"/>
              <a:gd name="connsiteY21" fmla="*/ 889585 h 2310802"/>
              <a:gd name="connsiteX22" fmla="*/ 4676504 w 4745365"/>
              <a:gd name="connsiteY22" fmla="*/ 0 h 2310802"/>
              <a:gd name="connsiteX0" fmla="*/ 4676504 w 4745365"/>
              <a:gd name="connsiteY0" fmla="*/ 0 h 2310802"/>
              <a:gd name="connsiteX1" fmla="*/ 4745365 w 4745365"/>
              <a:gd name="connsiteY1" fmla="*/ 3477 h 2310802"/>
              <a:gd name="connsiteX2" fmla="*/ 4745365 w 4745365"/>
              <a:gd name="connsiteY2" fmla="*/ 2224761 h 2310802"/>
              <a:gd name="connsiteX3" fmla="*/ 4676504 w 4745365"/>
              <a:gd name="connsiteY3" fmla="*/ 2228238 h 2310802"/>
              <a:gd name="connsiteX4" fmla="*/ 4193487 w 4745365"/>
              <a:gd name="connsiteY4" fmla="*/ 2118374 h 2310802"/>
              <a:gd name="connsiteX5" fmla="*/ 4171520 w 4745365"/>
              <a:gd name="connsiteY5" fmla="*/ 2105748 h 2310802"/>
              <a:gd name="connsiteX6" fmla="*/ 4161369 w 4745365"/>
              <a:gd name="connsiteY6" fmla="*/ 2124450 h 2310802"/>
              <a:gd name="connsiteX7" fmla="*/ 4065152 w 4745365"/>
              <a:gd name="connsiteY7" fmla="*/ 2241066 h 2310802"/>
              <a:gd name="connsiteX8" fmla="*/ 3986221 w 4745365"/>
              <a:gd name="connsiteY8" fmla="*/ 2306190 h 2310802"/>
              <a:gd name="connsiteX9" fmla="*/ 3986221 w 4745365"/>
              <a:gd name="connsiteY9" fmla="*/ 2310802 h 2310802"/>
              <a:gd name="connsiteX10" fmla="*/ 0 w 4745365"/>
              <a:gd name="connsiteY10" fmla="*/ 2310802 h 2310802"/>
              <a:gd name="connsiteX11" fmla="*/ 35977 w 4745365"/>
              <a:gd name="connsiteY11" fmla="*/ 2249411 h 2310802"/>
              <a:gd name="connsiteX12" fmla="*/ 551119 w 4745365"/>
              <a:gd name="connsiteY12" fmla="*/ 1890083 h 2310802"/>
              <a:gd name="connsiteX13" fmla="*/ 575332 w 4745365"/>
              <a:gd name="connsiteY13" fmla="*/ 1748290 h 2310802"/>
              <a:gd name="connsiteX14" fmla="*/ 1504807 w 4745365"/>
              <a:gd name="connsiteY14" fmla="*/ 1035989 h 2310802"/>
              <a:gd name="connsiteX15" fmla="*/ 2335846 w 4745365"/>
              <a:gd name="connsiteY15" fmla="*/ 1575283 h 2310802"/>
              <a:gd name="connsiteX16" fmla="*/ 2387994 w 4745365"/>
              <a:gd name="connsiteY16" fmla="*/ 1743278 h 2310802"/>
              <a:gd name="connsiteX17" fmla="*/ 2726007 w 4745365"/>
              <a:gd name="connsiteY17" fmla="*/ 1743278 h 2310802"/>
              <a:gd name="connsiteX18" fmla="*/ 2720020 w 4745365"/>
              <a:gd name="connsiteY18" fmla="*/ 1683894 h 2310802"/>
              <a:gd name="connsiteX19" fmla="*/ 3507980 w 4745365"/>
              <a:gd name="connsiteY19" fmla="*/ 895934 h 2310802"/>
              <a:gd name="connsiteX20" fmla="*/ 3583993 w 4745365"/>
              <a:gd name="connsiteY20" fmla="*/ 899772 h 2310802"/>
              <a:gd name="connsiteX21" fmla="*/ 3585020 w 4745365"/>
              <a:gd name="connsiteY21" fmla="*/ 889585 h 2310802"/>
              <a:gd name="connsiteX22" fmla="*/ 4676504 w 4745365"/>
              <a:gd name="connsiteY22" fmla="*/ 0 h 2310802"/>
              <a:gd name="connsiteX0" fmla="*/ 4676504 w 4745365"/>
              <a:gd name="connsiteY0" fmla="*/ 0 h 2310802"/>
              <a:gd name="connsiteX1" fmla="*/ 4745365 w 4745365"/>
              <a:gd name="connsiteY1" fmla="*/ 3477 h 2310802"/>
              <a:gd name="connsiteX2" fmla="*/ 4745365 w 4745365"/>
              <a:gd name="connsiteY2" fmla="*/ 2224761 h 2310802"/>
              <a:gd name="connsiteX3" fmla="*/ 4676504 w 4745365"/>
              <a:gd name="connsiteY3" fmla="*/ 2228238 h 2310802"/>
              <a:gd name="connsiteX4" fmla="*/ 4193487 w 4745365"/>
              <a:gd name="connsiteY4" fmla="*/ 2118374 h 2310802"/>
              <a:gd name="connsiteX5" fmla="*/ 4171520 w 4745365"/>
              <a:gd name="connsiteY5" fmla="*/ 2105748 h 2310802"/>
              <a:gd name="connsiteX6" fmla="*/ 4161369 w 4745365"/>
              <a:gd name="connsiteY6" fmla="*/ 2124450 h 2310802"/>
              <a:gd name="connsiteX7" fmla="*/ 4065152 w 4745365"/>
              <a:gd name="connsiteY7" fmla="*/ 2241066 h 2310802"/>
              <a:gd name="connsiteX8" fmla="*/ 3986221 w 4745365"/>
              <a:gd name="connsiteY8" fmla="*/ 2306190 h 2310802"/>
              <a:gd name="connsiteX9" fmla="*/ 3986221 w 4745365"/>
              <a:gd name="connsiteY9" fmla="*/ 2310802 h 2310802"/>
              <a:gd name="connsiteX10" fmla="*/ 0 w 4745365"/>
              <a:gd name="connsiteY10" fmla="*/ 2310802 h 2310802"/>
              <a:gd name="connsiteX11" fmla="*/ 35977 w 4745365"/>
              <a:gd name="connsiteY11" fmla="*/ 2249411 h 2310802"/>
              <a:gd name="connsiteX12" fmla="*/ 551119 w 4745365"/>
              <a:gd name="connsiteY12" fmla="*/ 1890083 h 2310802"/>
              <a:gd name="connsiteX13" fmla="*/ 575332 w 4745365"/>
              <a:gd name="connsiteY13" fmla="*/ 1748290 h 2310802"/>
              <a:gd name="connsiteX14" fmla="*/ 1504807 w 4745365"/>
              <a:gd name="connsiteY14" fmla="*/ 1035989 h 2310802"/>
              <a:gd name="connsiteX15" fmla="*/ 2335846 w 4745365"/>
              <a:gd name="connsiteY15" fmla="*/ 1575283 h 2310802"/>
              <a:gd name="connsiteX16" fmla="*/ 2387994 w 4745365"/>
              <a:gd name="connsiteY16" fmla="*/ 1743278 h 2310802"/>
              <a:gd name="connsiteX17" fmla="*/ 2726007 w 4745365"/>
              <a:gd name="connsiteY17" fmla="*/ 1743278 h 2310802"/>
              <a:gd name="connsiteX18" fmla="*/ 2720020 w 4745365"/>
              <a:gd name="connsiteY18" fmla="*/ 1683894 h 2310802"/>
              <a:gd name="connsiteX19" fmla="*/ 3507980 w 4745365"/>
              <a:gd name="connsiteY19" fmla="*/ 895934 h 2310802"/>
              <a:gd name="connsiteX20" fmla="*/ 3583993 w 4745365"/>
              <a:gd name="connsiteY20" fmla="*/ 899772 h 2310802"/>
              <a:gd name="connsiteX21" fmla="*/ 3585020 w 4745365"/>
              <a:gd name="connsiteY21" fmla="*/ 889585 h 2310802"/>
              <a:gd name="connsiteX22" fmla="*/ 4676504 w 4745365"/>
              <a:gd name="connsiteY22" fmla="*/ 0 h 2310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45365" h="2310802">
                <a:moveTo>
                  <a:pt x="4676504" y="0"/>
                </a:moveTo>
                <a:lnTo>
                  <a:pt x="4745365" y="3477"/>
                </a:lnTo>
                <a:lnTo>
                  <a:pt x="4745365" y="2224761"/>
                </a:lnTo>
                <a:lnTo>
                  <a:pt x="4676504" y="2228238"/>
                </a:lnTo>
                <a:cubicBezTo>
                  <a:pt x="4503447" y="2228238"/>
                  <a:pt x="4339607" y="2188782"/>
                  <a:pt x="4193487" y="2118374"/>
                </a:cubicBezTo>
                <a:lnTo>
                  <a:pt x="4171520" y="2105748"/>
                </a:lnTo>
                <a:lnTo>
                  <a:pt x="4161369" y="2124450"/>
                </a:lnTo>
                <a:cubicBezTo>
                  <a:pt x="4133048" y="2166370"/>
                  <a:pt x="4100800" y="2205418"/>
                  <a:pt x="4065152" y="2241066"/>
                </a:cubicBezTo>
                <a:lnTo>
                  <a:pt x="3986221" y="2306190"/>
                </a:lnTo>
                <a:lnTo>
                  <a:pt x="3986221" y="2310802"/>
                </a:lnTo>
                <a:lnTo>
                  <a:pt x="0" y="2310802"/>
                </a:lnTo>
                <a:lnTo>
                  <a:pt x="35977" y="2249411"/>
                </a:lnTo>
                <a:cubicBezTo>
                  <a:pt x="146556" y="2054967"/>
                  <a:pt x="326716" y="1890083"/>
                  <a:pt x="551119" y="1890083"/>
                </a:cubicBezTo>
                <a:cubicBezTo>
                  <a:pt x="553569" y="1819535"/>
                  <a:pt x="576031" y="1793438"/>
                  <a:pt x="575332" y="1748290"/>
                </a:cubicBezTo>
                <a:cubicBezTo>
                  <a:pt x="699055" y="1334650"/>
                  <a:pt x="1082288" y="1035078"/>
                  <a:pt x="1504807" y="1035989"/>
                </a:cubicBezTo>
                <a:cubicBezTo>
                  <a:pt x="1865747" y="1036767"/>
                  <a:pt x="2195928" y="1244481"/>
                  <a:pt x="2335846" y="1575283"/>
                </a:cubicBezTo>
                <a:lnTo>
                  <a:pt x="2387994" y="1743278"/>
                </a:lnTo>
                <a:lnTo>
                  <a:pt x="2726007" y="1743278"/>
                </a:lnTo>
                <a:lnTo>
                  <a:pt x="2720020" y="1683894"/>
                </a:lnTo>
                <a:cubicBezTo>
                  <a:pt x="2720020" y="1248716"/>
                  <a:pt x="3072802" y="895934"/>
                  <a:pt x="3507980" y="895934"/>
                </a:cubicBezTo>
                <a:lnTo>
                  <a:pt x="3583993" y="899772"/>
                </a:lnTo>
                <a:cubicBezTo>
                  <a:pt x="3584335" y="896376"/>
                  <a:pt x="3584678" y="892981"/>
                  <a:pt x="3585020" y="889585"/>
                </a:cubicBezTo>
                <a:cubicBezTo>
                  <a:pt x="3688907" y="381900"/>
                  <a:pt x="4138107" y="0"/>
                  <a:pt x="467650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rIns="137160" bIns="91440" rtlCol="0" anchor="ctr">
            <a:noAutofit/>
          </a:bodyP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21" name="Freeform 20">
            <a:extLst>
              <a:ext uri="{FF2B5EF4-FFF2-40B4-BE49-F238E27FC236}">
                <a16:creationId xmlns:a16="http://schemas.microsoft.com/office/drawing/2014/main" id="{DCB7F129-8FCD-464B-9127-EA7784620222}"/>
              </a:ext>
            </a:extLst>
          </p:cNvPr>
          <p:cNvSpPr/>
          <p:nvPr userDrawn="1"/>
        </p:nvSpPr>
        <p:spPr>
          <a:xfrm>
            <a:off x="7727999" y="4675235"/>
            <a:ext cx="4461444" cy="2182765"/>
          </a:xfrm>
          <a:custGeom>
            <a:avLst/>
            <a:gdLst>
              <a:gd name="connsiteX0" fmla="*/ 4461444 w 4461444"/>
              <a:gd name="connsiteY0" fmla="*/ 0 h 2182765"/>
              <a:gd name="connsiteX1" fmla="*/ 4461444 w 4461444"/>
              <a:gd name="connsiteY1" fmla="*/ 2182765 h 2182765"/>
              <a:gd name="connsiteX2" fmla="*/ 0 w 4461444"/>
              <a:gd name="connsiteY2" fmla="*/ 2182765 h 2182765"/>
              <a:gd name="connsiteX3" fmla="*/ 24342 w 4461444"/>
              <a:gd name="connsiteY3" fmla="*/ 2153263 h 2182765"/>
              <a:gd name="connsiteX4" fmla="*/ 481037 w 4461444"/>
              <a:gd name="connsiteY4" fmla="*/ 1964093 h 2182765"/>
              <a:gd name="connsiteX5" fmla="*/ 732436 w 4461444"/>
              <a:gd name="connsiteY5" fmla="*/ 2014848 h 2182765"/>
              <a:gd name="connsiteX6" fmla="*/ 787285 w 4461444"/>
              <a:gd name="connsiteY6" fmla="*/ 2044619 h 2182765"/>
              <a:gd name="connsiteX7" fmla="*/ 809805 w 4461444"/>
              <a:gd name="connsiteY7" fmla="*/ 1961250 h 2182765"/>
              <a:gd name="connsiteX8" fmla="*/ 1286315 w 4461444"/>
              <a:gd name="connsiteY8" fmla="*/ 1550577 h 2182765"/>
              <a:gd name="connsiteX9" fmla="*/ 1321466 w 4461444"/>
              <a:gd name="connsiteY9" fmla="*/ 1547033 h 2182765"/>
              <a:gd name="connsiteX10" fmla="*/ 1323271 w 4461444"/>
              <a:gd name="connsiteY10" fmla="*/ 1529127 h 2182765"/>
              <a:gd name="connsiteX11" fmla="*/ 2205095 w 4461444"/>
              <a:gd name="connsiteY11" fmla="*/ 810420 h 2182765"/>
              <a:gd name="connsiteX12" fmla="*/ 2708356 w 4461444"/>
              <a:gd name="connsiteY12" fmla="*/ 964145 h 2182765"/>
              <a:gd name="connsiteX13" fmla="*/ 2798296 w 4461444"/>
              <a:gd name="connsiteY13" fmla="*/ 1038353 h 2182765"/>
              <a:gd name="connsiteX14" fmla="*/ 2868637 w 4461444"/>
              <a:gd name="connsiteY14" fmla="*/ 1020266 h 2182765"/>
              <a:gd name="connsiteX15" fmla="*/ 3050041 w 4461444"/>
              <a:gd name="connsiteY15" fmla="*/ 1001979 h 2182765"/>
              <a:gd name="connsiteX16" fmla="*/ 3231445 w 4461444"/>
              <a:gd name="connsiteY16" fmla="*/ 1020266 h 2182765"/>
              <a:gd name="connsiteX17" fmla="*/ 3245588 w 4461444"/>
              <a:gd name="connsiteY17" fmla="*/ 1023903 h 2182765"/>
              <a:gd name="connsiteX18" fmla="*/ 3297823 w 4461444"/>
              <a:gd name="connsiteY18" fmla="*/ 960592 h 2182765"/>
              <a:gd name="connsiteX19" fmla="*/ 3934298 w 4461444"/>
              <a:gd name="connsiteY19" fmla="*/ 696956 h 2182765"/>
              <a:gd name="connsiteX20" fmla="*/ 4115702 w 4461444"/>
              <a:gd name="connsiteY20" fmla="*/ 715243 h 2182765"/>
              <a:gd name="connsiteX21" fmla="*/ 4127211 w 4461444"/>
              <a:gd name="connsiteY21" fmla="*/ 718203 h 2182765"/>
              <a:gd name="connsiteX22" fmla="*/ 4126073 w 4461444"/>
              <a:gd name="connsiteY22" fmla="*/ 695661 h 2182765"/>
              <a:gd name="connsiteX23" fmla="*/ 4389709 w 4461444"/>
              <a:gd name="connsiteY23" fmla="*/ 59186 h 2182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461444" h="2182765">
                <a:moveTo>
                  <a:pt x="4461444" y="0"/>
                </a:moveTo>
                <a:lnTo>
                  <a:pt x="4461444" y="2182765"/>
                </a:lnTo>
                <a:lnTo>
                  <a:pt x="0" y="2182765"/>
                </a:lnTo>
                <a:lnTo>
                  <a:pt x="24342" y="2153263"/>
                </a:lnTo>
                <a:cubicBezTo>
                  <a:pt x="141221" y="2036384"/>
                  <a:pt x="302687" y="1964093"/>
                  <a:pt x="481037" y="1964093"/>
                </a:cubicBezTo>
                <a:cubicBezTo>
                  <a:pt x="570212" y="1964093"/>
                  <a:pt x="655166" y="1982166"/>
                  <a:pt x="732436" y="2014848"/>
                </a:cubicBezTo>
                <a:lnTo>
                  <a:pt x="787285" y="2044619"/>
                </a:lnTo>
                <a:lnTo>
                  <a:pt x="809805" y="1961250"/>
                </a:lnTo>
                <a:cubicBezTo>
                  <a:pt x="885867" y="1753515"/>
                  <a:pt x="1065582" y="1595745"/>
                  <a:pt x="1286315" y="1550577"/>
                </a:cubicBezTo>
                <a:lnTo>
                  <a:pt x="1321466" y="1547033"/>
                </a:lnTo>
                <a:lnTo>
                  <a:pt x="1323271" y="1529127"/>
                </a:lnTo>
                <a:cubicBezTo>
                  <a:pt x="1407203" y="1118962"/>
                  <a:pt x="1770117" y="810420"/>
                  <a:pt x="2205095" y="810420"/>
                </a:cubicBezTo>
                <a:cubicBezTo>
                  <a:pt x="2391514" y="810420"/>
                  <a:pt x="2564697" y="867091"/>
                  <a:pt x="2708356" y="964145"/>
                </a:cubicBezTo>
                <a:lnTo>
                  <a:pt x="2798296" y="1038353"/>
                </a:lnTo>
                <a:lnTo>
                  <a:pt x="2868637" y="1020266"/>
                </a:lnTo>
                <a:cubicBezTo>
                  <a:pt x="2927232" y="1008276"/>
                  <a:pt x="2987901" y="1001979"/>
                  <a:pt x="3050041" y="1001979"/>
                </a:cubicBezTo>
                <a:cubicBezTo>
                  <a:pt x="3112181" y="1001979"/>
                  <a:pt x="3172850" y="1008276"/>
                  <a:pt x="3231445" y="1020266"/>
                </a:cubicBezTo>
                <a:lnTo>
                  <a:pt x="3245588" y="1023903"/>
                </a:lnTo>
                <a:lnTo>
                  <a:pt x="3297823" y="960592"/>
                </a:lnTo>
                <a:cubicBezTo>
                  <a:pt x="3460711" y="797704"/>
                  <a:pt x="3685739" y="696956"/>
                  <a:pt x="3934298" y="696956"/>
                </a:cubicBezTo>
                <a:cubicBezTo>
                  <a:pt x="3996438" y="696956"/>
                  <a:pt x="4057107" y="703253"/>
                  <a:pt x="4115702" y="715243"/>
                </a:cubicBezTo>
                <a:lnTo>
                  <a:pt x="4127211" y="718203"/>
                </a:lnTo>
                <a:lnTo>
                  <a:pt x="4126073" y="695661"/>
                </a:lnTo>
                <a:cubicBezTo>
                  <a:pt x="4126073" y="447102"/>
                  <a:pt x="4226821" y="222074"/>
                  <a:pt x="4389709" y="59186"/>
                </a:cubicBezTo>
                <a:close/>
              </a:path>
            </a:pathLst>
          </a:custGeom>
          <a:solidFill>
            <a:schemeClr val="bg1"/>
          </a:solidFill>
          <a:ln>
            <a:noFill/>
          </a:ln>
          <a:effectLst>
            <a:outerShdw blurRad="279400" dist="76200" dir="13800000"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37160" tIns="91440" rIns="137160" bIns="91440" rtlCol="0" anchor="ctr">
            <a:noAutofit/>
          </a:bodyPr>
          <a:lstStyle/>
          <a:p>
            <a:pPr lvl="0" algn="ctr"/>
            <a:endParaRPr lang="en-US" sz="1600">
              <a:solidFill>
                <a:schemeClr val="bg1"/>
              </a:solidFill>
              <a:latin typeface="Roboto" panose="02000000000000000000" pitchFamily="2" charset="0"/>
              <a:ea typeface="Roboto" panose="02000000000000000000" pitchFamily="2" charset="0"/>
              <a:cs typeface="Roboto" charset="0"/>
            </a:endParaRPr>
          </a:p>
        </p:txBody>
      </p:sp>
      <p:pic>
        <p:nvPicPr>
          <p:cNvPr id="16" name="Picture 15">
            <a:extLst>
              <a:ext uri="{FF2B5EF4-FFF2-40B4-BE49-F238E27FC236}">
                <a16:creationId xmlns:a16="http://schemas.microsoft.com/office/drawing/2014/main" id="{41E7B1FB-A023-284E-A4DD-8B678B38476F}"/>
              </a:ext>
            </a:extLst>
          </p:cNvPr>
          <p:cNvPicPr>
            <a:picLocks noChangeAspect="1"/>
          </p:cNvPicPr>
          <p:nvPr userDrawn="1"/>
        </p:nvPicPr>
        <p:blipFill>
          <a:blip r:embed="rId3"/>
          <a:srcRect/>
          <a:stretch/>
        </p:blipFill>
        <p:spPr>
          <a:xfrm>
            <a:off x="307611" y="287415"/>
            <a:ext cx="2475797" cy="849901"/>
          </a:xfrm>
          <a:prstGeom prst="rect">
            <a:avLst/>
          </a:prstGeom>
        </p:spPr>
      </p:pic>
      <p:sp>
        <p:nvSpPr>
          <p:cNvPr id="5" name="Text Placeholder 16">
            <a:extLst>
              <a:ext uri="{FF2B5EF4-FFF2-40B4-BE49-F238E27FC236}">
                <a16:creationId xmlns:a16="http://schemas.microsoft.com/office/drawing/2014/main" id="{6253D099-6F45-4C8B-9E60-07B7DBC6D796}"/>
              </a:ext>
            </a:extLst>
          </p:cNvPr>
          <p:cNvSpPr>
            <a:spLocks noGrp="1"/>
          </p:cNvSpPr>
          <p:nvPr>
            <p:ph type="body" sz="quarter" idx="10" hasCustomPrompt="1"/>
          </p:nvPr>
        </p:nvSpPr>
        <p:spPr bwMode="gray">
          <a:xfrm>
            <a:off x="1161225" y="1251522"/>
            <a:ext cx="6369780" cy="648398"/>
          </a:xfrm>
          <a:prstGeom prst="rect">
            <a:avLst/>
          </a:prstGeom>
        </p:spPr>
        <p:txBody>
          <a:bodyPr anchor="b" anchorCtr="0"/>
          <a:lstStyle>
            <a:lvl1pPr marL="0" indent="0">
              <a:lnSpc>
                <a:spcPct val="95000"/>
              </a:lnSpc>
              <a:spcBef>
                <a:spcPts val="0"/>
              </a:spcBef>
              <a:spcAft>
                <a:spcPts val="0"/>
              </a:spcAft>
              <a:buNone/>
              <a:defRPr sz="2400" b="0" i="0">
                <a:solidFill>
                  <a:schemeClr val="bg1"/>
                </a:solidFill>
                <a:latin typeface="+mj-lt"/>
                <a:ea typeface="Roboto" panose="02000000000000000000" pitchFamily="2" charset="0"/>
                <a:cs typeface="Roboto" panose="02000000000000000000" pitchFamily="2" charset="0"/>
              </a:defRPr>
            </a:lvl1pPr>
            <a:lvl2pPr marL="457108" indent="0">
              <a:buNone/>
              <a:defRPr/>
            </a:lvl2pPr>
            <a:lvl3pPr marL="914217" indent="0">
              <a:buNone/>
              <a:defRPr/>
            </a:lvl3pPr>
            <a:lvl4pPr marL="1371326" indent="0">
              <a:buNone/>
              <a:defRPr/>
            </a:lvl4pPr>
            <a:lvl5pPr marL="1828435" indent="0">
              <a:buNone/>
              <a:defRPr/>
            </a:lvl5pPr>
          </a:lstStyle>
          <a:p>
            <a:pPr lvl="0"/>
            <a:r>
              <a:rPr lang="en-US"/>
              <a:t>Date Roboto Light 20 Point</a:t>
            </a:r>
          </a:p>
        </p:txBody>
      </p:sp>
      <p:sp>
        <p:nvSpPr>
          <p:cNvPr id="6" name="Text Placeholder 23">
            <a:extLst>
              <a:ext uri="{FF2B5EF4-FFF2-40B4-BE49-F238E27FC236}">
                <a16:creationId xmlns:a16="http://schemas.microsoft.com/office/drawing/2014/main" id="{DD308AA3-29BC-4C59-ABCE-F77972B458B0}"/>
              </a:ext>
            </a:extLst>
          </p:cNvPr>
          <p:cNvSpPr>
            <a:spLocks noGrp="1"/>
          </p:cNvSpPr>
          <p:nvPr>
            <p:ph type="body" sz="quarter" idx="11" hasCustomPrompt="1"/>
          </p:nvPr>
        </p:nvSpPr>
        <p:spPr bwMode="gray">
          <a:xfrm>
            <a:off x="1161224" y="2629671"/>
            <a:ext cx="6803681" cy="2102713"/>
          </a:xfrm>
          <a:prstGeom prst="rect">
            <a:avLst/>
          </a:prstGeom>
        </p:spPr>
        <p:txBody>
          <a:bodyPr anchor="ctr" anchorCtr="0"/>
          <a:lstStyle>
            <a:lvl1pPr marL="0" indent="0">
              <a:spcBef>
                <a:spcPts val="600"/>
              </a:spcBef>
              <a:buNone/>
              <a:defRPr sz="5400" b="0" i="0">
                <a:solidFill>
                  <a:schemeClr val="bg1"/>
                </a:solidFill>
                <a:latin typeface="+mj-lt"/>
                <a:ea typeface="Roboto Light" panose="02000000000000000000" pitchFamily="2" charset="0"/>
                <a:cs typeface="Roboto Light" panose="02000000000000000000" pitchFamily="2" charset="0"/>
              </a:defRPr>
            </a:lvl1pPr>
            <a:lvl2pPr marL="457108" indent="0">
              <a:buNone/>
              <a:defRPr/>
            </a:lvl2pPr>
            <a:lvl3pPr marL="914217" indent="0">
              <a:buNone/>
              <a:defRPr/>
            </a:lvl3pPr>
            <a:lvl4pPr marL="1371326" indent="0">
              <a:buNone/>
              <a:defRPr/>
            </a:lvl4pPr>
            <a:lvl5pPr marL="1828435" indent="0">
              <a:buNone/>
              <a:defRPr/>
            </a:lvl5pPr>
          </a:lstStyle>
          <a:p>
            <a:r>
              <a:rPr lang="en-US"/>
              <a:t>Title Goes Here Roboto Light 54 Point</a:t>
            </a:r>
          </a:p>
        </p:txBody>
      </p:sp>
      <p:sp>
        <p:nvSpPr>
          <p:cNvPr id="7" name="Text Placeholder 25">
            <a:extLst>
              <a:ext uri="{FF2B5EF4-FFF2-40B4-BE49-F238E27FC236}">
                <a16:creationId xmlns:a16="http://schemas.microsoft.com/office/drawing/2014/main" id="{C35A878D-AAEA-4D61-9042-225148F309CD}"/>
              </a:ext>
            </a:extLst>
          </p:cNvPr>
          <p:cNvSpPr>
            <a:spLocks noGrp="1"/>
          </p:cNvSpPr>
          <p:nvPr>
            <p:ph type="body" sz="quarter" idx="12" hasCustomPrompt="1"/>
          </p:nvPr>
        </p:nvSpPr>
        <p:spPr bwMode="gray">
          <a:xfrm>
            <a:off x="1161225" y="4908299"/>
            <a:ext cx="5679524" cy="289576"/>
          </a:xfrm>
          <a:prstGeom prst="rect">
            <a:avLst/>
          </a:prstGeom>
        </p:spPr>
        <p:txBody>
          <a:bodyPr/>
          <a:lstStyle>
            <a:lvl1pPr marL="0" indent="0">
              <a:buNone/>
              <a:defRPr b="0" i="0" baseline="0">
                <a:solidFill>
                  <a:schemeClr val="bg1"/>
                </a:solidFill>
                <a:latin typeface="Roboto" panose="02000000000000000000" pitchFamily="2" charset="0"/>
                <a:ea typeface="Roboto" panose="02000000000000000000" pitchFamily="2" charset="0"/>
                <a:cs typeface="Roboto" panose="02000000000000000000" pitchFamily="2" charset="0"/>
              </a:defRPr>
            </a:lvl1pPr>
            <a:lvl2pPr marL="457108" indent="0">
              <a:buNone/>
              <a:defRPr/>
            </a:lvl2pPr>
            <a:lvl3pPr marL="914217" indent="0">
              <a:buNone/>
              <a:defRPr/>
            </a:lvl3pPr>
            <a:lvl4pPr marL="1371326" indent="0">
              <a:buNone/>
              <a:defRPr/>
            </a:lvl4pPr>
            <a:lvl5pPr marL="1828435" indent="0">
              <a:buNone/>
              <a:defRPr/>
            </a:lvl5pPr>
          </a:lstStyle>
          <a:p>
            <a:pPr lvl="0"/>
            <a:r>
              <a:rPr lang="en-US"/>
              <a:t>Speaker Name, Roboto Regular 20 Point</a:t>
            </a:r>
          </a:p>
        </p:txBody>
      </p:sp>
      <p:sp>
        <p:nvSpPr>
          <p:cNvPr id="9" name="Text Placeholder 27">
            <a:extLst>
              <a:ext uri="{FF2B5EF4-FFF2-40B4-BE49-F238E27FC236}">
                <a16:creationId xmlns:a16="http://schemas.microsoft.com/office/drawing/2014/main" id="{3B63A259-5A46-4D5E-8DD9-405690153FCB}"/>
              </a:ext>
            </a:extLst>
          </p:cNvPr>
          <p:cNvSpPr>
            <a:spLocks noGrp="1"/>
          </p:cNvSpPr>
          <p:nvPr>
            <p:ph type="body" sz="quarter" idx="13" hasCustomPrompt="1"/>
          </p:nvPr>
        </p:nvSpPr>
        <p:spPr bwMode="gray">
          <a:xfrm>
            <a:off x="1161225" y="5294969"/>
            <a:ext cx="5679524" cy="291041"/>
          </a:xfrm>
          <a:prstGeom prst="rect">
            <a:avLst/>
          </a:prstGeom>
        </p:spPr>
        <p:txBody>
          <a:bodyPr/>
          <a:lstStyle>
            <a:lvl1pPr marL="0" indent="0">
              <a:buNone/>
              <a:defRPr i="1" baseline="0">
                <a:solidFill>
                  <a:schemeClr val="bg1"/>
                </a:solidFill>
                <a:latin typeface="Roboto" panose="02000000000000000000" pitchFamily="2" charset="0"/>
                <a:ea typeface="Roboto" panose="02000000000000000000" pitchFamily="2" charset="0"/>
              </a:defRPr>
            </a:lvl1pPr>
            <a:lvl2pPr marL="457108" indent="0">
              <a:buNone/>
              <a:defRPr/>
            </a:lvl2pPr>
            <a:lvl3pPr marL="914217" indent="0">
              <a:buNone/>
              <a:defRPr/>
            </a:lvl3pPr>
            <a:lvl4pPr marL="1371326" indent="0">
              <a:buNone/>
              <a:defRPr/>
            </a:lvl4pPr>
            <a:lvl5pPr marL="1828435" indent="0">
              <a:buNone/>
              <a:defRPr/>
            </a:lvl5pPr>
          </a:lstStyle>
          <a:p>
            <a:pPr lvl="0"/>
            <a:r>
              <a:rPr lang="en-US"/>
              <a:t>Speaker Title or Email, Roboto Italic 20 Point</a:t>
            </a:r>
          </a:p>
        </p:txBody>
      </p:sp>
      <p:cxnSp>
        <p:nvCxnSpPr>
          <p:cNvPr id="11" name="Straight Connector 10">
            <a:extLst>
              <a:ext uri="{FF2B5EF4-FFF2-40B4-BE49-F238E27FC236}">
                <a16:creationId xmlns:a16="http://schemas.microsoft.com/office/drawing/2014/main" id="{B7489F51-FC0E-4883-9F2D-D6D4AE33946E}"/>
              </a:ext>
            </a:extLst>
          </p:cNvPr>
          <p:cNvCxnSpPr>
            <a:cxnSpLocks/>
          </p:cNvCxnSpPr>
          <p:nvPr userDrawn="1"/>
        </p:nvCxnSpPr>
        <p:spPr>
          <a:xfrm>
            <a:off x="1241751" y="1956269"/>
            <a:ext cx="358449"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E9F4AC0A-0E37-D744-BAD4-5D794D4CF6EA}"/>
              </a:ext>
            </a:extLst>
          </p:cNvPr>
          <p:cNvPicPr>
            <a:picLocks noChangeAspect="1"/>
          </p:cNvPicPr>
          <p:nvPr userDrawn="1"/>
        </p:nvPicPr>
        <p:blipFill>
          <a:blip r:embed="rId4"/>
          <a:stretch>
            <a:fillRect/>
          </a:stretch>
        </p:blipFill>
        <p:spPr>
          <a:xfrm>
            <a:off x="9458461" y="6007608"/>
            <a:ext cx="2478024" cy="849901"/>
          </a:xfrm>
          <a:prstGeom prst="rect">
            <a:avLst/>
          </a:prstGeom>
        </p:spPr>
      </p:pic>
    </p:spTree>
    <p:extLst>
      <p:ext uri="{BB962C8B-B14F-4D97-AF65-F5344CB8AC3E}">
        <p14:creationId xmlns:p14="http://schemas.microsoft.com/office/powerpoint/2010/main" val="658499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2_Title Slide_option 1">
    <p:spTree>
      <p:nvGrpSpPr>
        <p:cNvPr id="1" name=""/>
        <p:cNvGrpSpPr/>
        <p:nvPr/>
      </p:nvGrpSpPr>
      <p:grpSpPr>
        <a:xfrm>
          <a:off x="0" y="0"/>
          <a:ext cx="0" cy="0"/>
          <a:chOff x="0" y="0"/>
          <a:chExt cx="0" cy="0"/>
        </a:xfrm>
      </p:grpSpPr>
      <p:sp>
        <p:nvSpPr>
          <p:cNvPr id="18" name="Freeform 17">
            <a:extLst>
              <a:ext uri="{FF2B5EF4-FFF2-40B4-BE49-F238E27FC236}">
                <a16:creationId xmlns:a16="http://schemas.microsoft.com/office/drawing/2014/main" id="{DD82887F-59D3-CD40-AD06-B7E5D4A5A082}"/>
              </a:ext>
            </a:extLst>
          </p:cNvPr>
          <p:cNvSpPr/>
          <p:nvPr userDrawn="1"/>
        </p:nvSpPr>
        <p:spPr>
          <a:xfrm rot="16200000">
            <a:off x="4973323" y="1598218"/>
            <a:ext cx="6865702" cy="3660367"/>
          </a:xfrm>
          <a:custGeom>
            <a:avLst/>
            <a:gdLst>
              <a:gd name="connsiteX0" fmla="*/ 6837041 w 6837041"/>
              <a:gd name="connsiteY0" fmla="*/ 3595080 h 3595080"/>
              <a:gd name="connsiteX1" fmla="*/ 0 w 6837041"/>
              <a:gd name="connsiteY1" fmla="*/ 443330 h 3595080"/>
              <a:gd name="connsiteX2" fmla="*/ 0 w 6837041"/>
              <a:gd name="connsiteY2" fmla="*/ 0 h 3595080"/>
              <a:gd name="connsiteX0" fmla="*/ 6859268 w 6859268"/>
              <a:gd name="connsiteY0" fmla="*/ 3601433 h 3601433"/>
              <a:gd name="connsiteX1" fmla="*/ 0 w 6859268"/>
              <a:gd name="connsiteY1" fmla="*/ 443330 h 3601433"/>
              <a:gd name="connsiteX2" fmla="*/ 0 w 6859268"/>
              <a:gd name="connsiteY2" fmla="*/ 0 h 3601433"/>
              <a:gd name="connsiteX3" fmla="*/ 6859268 w 6859268"/>
              <a:gd name="connsiteY3" fmla="*/ 3601433 h 3601433"/>
              <a:gd name="connsiteX0" fmla="*/ 6881570 w 6881570"/>
              <a:gd name="connsiteY0" fmla="*/ 3657189 h 3657189"/>
              <a:gd name="connsiteX1" fmla="*/ 22302 w 6881570"/>
              <a:gd name="connsiteY1" fmla="*/ 499086 h 3657189"/>
              <a:gd name="connsiteX2" fmla="*/ 0 w 6881570"/>
              <a:gd name="connsiteY2" fmla="*/ 0 h 3657189"/>
              <a:gd name="connsiteX3" fmla="*/ 6881570 w 6881570"/>
              <a:gd name="connsiteY3" fmla="*/ 3657189 h 3657189"/>
              <a:gd name="connsiteX0" fmla="*/ 6862521 w 6862521"/>
              <a:gd name="connsiteY0" fmla="*/ 3657189 h 3657189"/>
              <a:gd name="connsiteX1" fmla="*/ 3253 w 6862521"/>
              <a:gd name="connsiteY1" fmla="*/ 499086 h 3657189"/>
              <a:gd name="connsiteX2" fmla="*/ 0 w 6862521"/>
              <a:gd name="connsiteY2" fmla="*/ 0 h 3657189"/>
              <a:gd name="connsiteX3" fmla="*/ 6862521 w 6862521"/>
              <a:gd name="connsiteY3" fmla="*/ 3657189 h 3657189"/>
              <a:gd name="connsiteX0" fmla="*/ 6862521 w 6862521"/>
              <a:gd name="connsiteY0" fmla="*/ 3654014 h 3654014"/>
              <a:gd name="connsiteX1" fmla="*/ 3253 w 6862521"/>
              <a:gd name="connsiteY1" fmla="*/ 499086 h 3654014"/>
              <a:gd name="connsiteX2" fmla="*/ 0 w 6862521"/>
              <a:gd name="connsiteY2" fmla="*/ 0 h 3654014"/>
              <a:gd name="connsiteX3" fmla="*/ 6862521 w 6862521"/>
              <a:gd name="connsiteY3" fmla="*/ 3654014 h 3654014"/>
              <a:gd name="connsiteX0" fmla="*/ 6865698 w 6865698"/>
              <a:gd name="connsiteY0" fmla="*/ 3660367 h 3660367"/>
              <a:gd name="connsiteX1" fmla="*/ 3253 w 6865698"/>
              <a:gd name="connsiteY1" fmla="*/ 499086 h 3660367"/>
              <a:gd name="connsiteX2" fmla="*/ 0 w 6865698"/>
              <a:gd name="connsiteY2" fmla="*/ 0 h 3660367"/>
              <a:gd name="connsiteX3" fmla="*/ 6865698 w 6865698"/>
              <a:gd name="connsiteY3" fmla="*/ 3660367 h 3660367"/>
            </a:gdLst>
            <a:ahLst/>
            <a:cxnLst>
              <a:cxn ang="0">
                <a:pos x="connsiteX0" y="connsiteY0"/>
              </a:cxn>
              <a:cxn ang="0">
                <a:pos x="connsiteX1" y="connsiteY1"/>
              </a:cxn>
              <a:cxn ang="0">
                <a:pos x="connsiteX2" y="connsiteY2"/>
              </a:cxn>
              <a:cxn ang="0">
                <a:pos x="connsiteX3" y="connsiteY3"/>
              </a:cxn>
            </a:cxnLst>
            <a:rect l="l" t="t" r="r" b="b"/>
            <a:pathLst>
              <a:path w="6865698" h="3660367">
                <a:moveTo>
                  <a:pt x="6865698" y="3660367"/>
                </a:moveTo>
                <a:lnTo>
                  <a:pt x="3253" y="499086"/>
                </a:lnTo>
                <a:cubicBezTo>
                  <a:pt x="2169" y="332724"/>
                  <a:pt x="1084" y="166362"/>
                  <a:pt x="0" y="0"/>
                </a:cubicBezTo>
                <a:lnTo>
                  <a:pt x="6865698" y="3660367"/>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accent1"/>
              </a:solidFill>
              <a:latin typeface="Roboto" panose="02000000000000000000" pitchFamily="2" charset="0"/>
            </a:endParaRPr>
          </a:p>
        </p:txBody>
      </p:sp>
      <p:sp>
        <p:nvSpPr>
          <p:cNvPr id="5" name="Text Placeholder 16">
            <a:extLst>
              <a:ext uri="{FF2B5EF4-FFF2-40B4-BE49-F238E27FC236}">
                <a16:creationId xmlns:a16="http://schemas.microsoft.com/office/drawing/2014/main" id="{6253D099-6F45-4C8B-9E60-07B7DBC6D796}"/>
              </a:ext>
            </a:extLst>
          </p:cNvPr>
          <p:cNvSpPr>
            <a:spLocks noGrp="1"/>
          </p:cNvSpPr>
          <p:nvPr>
            <p:ph type="body" sz="quarter" idx="10" hasCustomPrompt="1"/>
          </p:nvPr>
        </p:nvSpPr>
        <p:spPr bwMode="gray">
          <a:xfrm>
            <a:off x="1161225" y="1251522"/>
            <a:ext cx="6369780" cy="648398"/>
          </a:xfrm>
          <a:prstGeom prst="rect">
            <a:avLst/>
          </a:prstGeom>
        </p:spPr>
        <p:txBody>
          <a:bodyPr anchor="b" anchorCtr="0"/>
          <a:lstStyle>
            <a:lvl1pPr marL="0" indent="0">
              <a:lnSpc>
                <a:spcPct val="95000"/>
              </a:lnSpc>
              <a:spcBef>
                <a:spcPts val="0"/>
              </a:spcBef>
              <a:spcAft>
                <a:spcPts val="0"/>
              </a:spcAft>
              <a:buNone/>
              <a:defRPr sz="2400" b="0" i="0">
                <a:solidFill>
                  <a:schemeClr val="bg1"/>
                </a:solidFill>
                <a:latin typeface="+mj-lt"/>
                <a:ea typeface="Roboto" panose="02000000000000000000" pitchFamily="2" charset="0"/>
                <a:cs typeface="Roboto" panose="02000000000000000000" pitchFamily="2" charset="0"/>
              </a:defRPr>
            </a:lvl1pPr>
            <a:lvl2pPr marL="457108" indent="0">
              <a:buNone/>
              <a:defRPr/>
            </a:lvl2pPr>
            <a:lvl3pPr marL="914217" indent="0">
              <a:buNone/>
              <a:defRPr/>
            </a:lvl3pPr>
            <a:lvl4pPr marL="1371326" indent="0">
              <a:buNone/>
              <a:defRPr/>
            </a:lvl4pPr>
            <a:lvl5pPr marL="1828435" indent="0">
              <a:buNone/>
              <a:defRPr/>
            </a:lvl5pPr>
          </a:lstStyle>
          <a:p>
            <a:pPr lvl="0"/>
            <a:r>
              <a:rPr lang="en-US"/>
              <a:t>Date Roboto Light 20 Point</a:t>
            </a:r>
          </a:p>
        </p:txBody>
      </p:sp>
      <p:sp>
        <p:nvSpPr>
          <p:cNvPr id="6" name="Text Placeholder 23">
            <a:extLst>
              <a:ext uri="{FF2B5EF4-FFF2-40B4-BE49-F238E27FC236}">
                <a16:creationId xmlns:a16="http://schemas.microsoft.com/office/drawing/2014/main" id="{DD308AA3-29BC-4C59-ABCE-F77972B458B0}"/>
              </a:ext>
            </a:extLst>
          </p:cNvPr>
          <p:cNvSpPr>
            <a:spLocks noGrp="1"/>
          </p:cNvSpPr>
          <p:nvPr>
            <p:ph type="body" sz="quarter" idx="11" hasCustomPrompt="1"/>
          </p:nvPr>
        </p:nvSpPr>
        <p:spPr bwMode="gray">
          <a:xfrm>
            <a:off x="1161224" y="2629671"/>
            <a:ext cx="6734421" cy="2102713"/>
          </a:xfrm>
          <a:prstGeom prst="rect">
            <a:avLst/>
          </a:prstGeom>
        </p:spPr>
        <p:txBody>
          <a:bodyPr anchor="ctr" anchorCtr="0"/>
          <a:lstStyle>
            <a:lvl1pPr marL="0" indent="0">
              <a:spcBef>
                <a:spcPts val="600"/>
              </a:spcBef>
              <a:buNone/>
              <a:defRPr sz="5400" b="0" i="0">
                <a:solidFill>
                  <a:schemeClr val="bg1"/>
                </a:solidFill>
                <a:latin typeface="+mj-lt"/>
                <a:ea typeface="Roboto Light" panose="02000000000000000000" pitchFamily="2" charset="0"/>
                <a:cs typeface="Roboto Light" panose="02000000000000000000" pitchFamily="2" charset="0"/>
              </a:defRPr>
            </a:lvl1pPr>
            <a:lvl2pPr marL="457108" indent="0">
              <a:buNone/>
              <a:defRPr/>
            </a:lvl2pPr>
            <a:lvl3pPr marL="914217" indent="0">
              <a:buNone/>
              <a:defRPr/>
            </a:lvl3pPr>
            <a:lvl4pPr marL="1371326" indent="0">
              <a:buNone/>
              <a:defRPr/>
            </a:lvl4pPr>
            <a:lvl5pPr marL="1828435" indent="0">
              <a:buNone/>
              <a:defRPr/>
            </a:lvl5pPr>
          </a:lstStyle>
          <a:p>
            <a:r>
              <a:rPr lang="en-US"/>
              <a:t>Title Goes Here Roboto Light 54 Point</a:t>
            </a:r>
          </a:p>
        </p:txBody>
      </p:sp>
      <p:sp>
        <p:nvSpPr>
          <p:cNvPr id="7" name="Text Placeholder 25">
            <a:extLst>
              <a:ext uri="{FF2B5EF4-FFF2-40B4-BE49-F238E27FC236}">
                <a16:creationId xmlns:a16="http://schemas.microsoft.com/office/drawing/2014/main" id="{C35A878D-AAEA-4D61-9042-225148F309CD}"/>
              </a:ext>
            </a:extLst>
          </p:cNvPr>
          <p:cNvSpPr>
            <a:spLocks noGrp="1"/>
          </p:cNvSpPr>
          <p:nvPr>
            <p:ph type="body" sz="quarter" idx="12" hasCustomPrompt="1"/>
          </p:nvPr>
        </p:nvSpPr>
        <p:spPr bwMode="gray">
          <a:xfrm>
            <a:off x="1161225" y="4908299"/>
            <a:ext cx="5679524" cy="289576"/>
          </a:xfrm>
          <a:prstGeom prst="rect">
            <a:avLst/>
          </a:prstGeom>
        </p:spPr>
        <p:txBody>
          <a:bodyPr/>
          <a:lstStyle>
            <a:lvl1pPr marL="0" indent="0">
              <a:buNone/>
              <a:defRPr b="0" i="0" baseline="0">
                <a:solidFill>
                  <a:schemeClr val="bg1"/>
                </a:solidFill>
                <a:latin typeface="Roboto" panose="02000000000000000000" pitchFamily="2" charset="0"/>
                <a:ea typeface="Roboto" panose="02000000000000000000" pitchFamily="2" charset="0"/>
                <a:cs typeface="Roboto" panose="02000000000000000000" pitchFamily="2" charset="0"/>
              </a:defRPr>
            </a:lvl1pPr>
            <a:lvl2pPr marL="457108" indent="0">
              <a:buNone/>
              <a:defRPr/>
            </a:lvl2pPr>
            <a:lvl3pPr marL="914217" indent="0">
              <a:buNone/>
              <a:defRPr/>
            </a:lvl3pPr>
            <a:lvl4pPr marL="1371326" indent="0">
              <a:buNone/>
              <a:defRPr/>
            </a:lvl4pPr>
            <a:lvl5pPr marL="1828435" indent="0">
              <a:buNone/>
              <a:defRPr/>
            </a:lvl5pPr>
          </a:lstStyle>
          <a:p>
            <a:pPr lvl="0"/>
            <a:r>
              <a:rPr lang="en-US"/>
              <a:t>Speaker Name, Roboto Regular 20 Point</a:t>
            </a:r>
          </a:p>
        </p:txBody>
      </p:sp>
      <p:sp>
        <p:nvSpPr>
          <p:cNvPr id="9" name="Text Placeholder 27">
            <a:extLst>
              <a:ext uri="{FF2B5EF4-FFF2-40B4-BE49-F238E27FC236}">
                <a16:creationId xmlns:a16="http://schemas.microsoft.com/office/drawing/2014/main" id="{3B63A259-5A46-4D5E-8DD9-405690153FCB}"/>
              </a:ext>
            </a:extLst>
          </p:cNvPr>
          <p:cNvSpPr>
            <a:spLocks noGrp="1"/>
          </p:cNvSpPr>
          <p:nvPr>
            <p:ph type="body" sz="quarter" idx="13" hasCustomPrompt="1"/>
          </p:nvPr>
        </p:nvSpPr>
        <p:spPr bwMode="gray">
          <a:xfrm>
            <a:off x="1161225" y="5294969"/>
            <a:ext cx="5679524" cy="291041"/>
          </a:xfrm>
          <a:prstGeom prst="rect">
            <a:avLst/>
          </a:prstGeom>
        </p:spPr>
        <p:txBody>
          <a:bodyPr/>
          <a:lstStyle>
            <a:lvl1pPr marL="0" indent="0">
              <a:buNone/>
              <a:defRPr i="1" baseline="0">
                <a:solidFill>
                  <a:schemeClr val="bg1"/>
                </a:solidFill>
                <a:latin typeface="Roboto" panose="02000000000000000000" pitchFamily="2" charset="0"/>
                <a:ea typeface="Roboto" panose="02000000000000000000" pitchFamily="2" charset="0"/>
              </a:defRPr>
            </a:lvl1pPr>
            <a:lvl2pPr marL="457108" indent="0">
              <a:buNone/>
              <a:defRPr/>
            </a:lvl2pPr>
            <a:lvl3pPr marL="914217" indent="0">
              <a:buNone/>
              <a:defRPr/>
            </a:lvl3pPr>
            <a:lvl4pPr marL="1371326" indent="0">
              <a:buNone/>
              <a:defRPr/>
            </a:lvl4pPr>
            <a:lvl5pPr marL="1828435" indent="0">
              <a:buNone/>
              <a:defRPr/>
            </a:lvl5pPr>
          </a:lstStyle>
          <a:p>
            <a:pPr lvl="0"/>
            <a:r>
              <a:rPr lang="en-US"/>
              <a:t>Speaker Title or Email, Roboto Italic 20 Point</a:t>
            </a:r>
          </a:p>
        </p:txBody>
      </p:sp>
      <p:pic>
        <p:nvPicPr>
          <p:cNvPr id="10" name="Picture 9">
            <a:extLst>
              <a:ext uri="{FF2B5EF4-FFF2-40B4-BE49-F238E27FC236}">
                <a16:creationId xmlns:a16="http://schemas.microsoft.com/office/drawing/2014/main" id="{D4909AF7-D9AD-824D-9C4C-B8EE0A3E9459}"/>
              </a:ext>
            </a:extLst>
          </p:cNvPr>
          <p:cNvPicPr>
            <a:picLocks noChangeAspect="1"/>
          </p:cNvPicPr>
          <p:nvPr userDrawn="1"/>
        </p:nvPicPr>
        <p:blipFill>
          <a:blip r:embed="rId2"/>
          <a:srcRect/>
          <a:stretch/>
        </p:blipFill>
        <p:spPr>
          <a:xfrm>
            <a:off x="307611" y="287415"/>
            <a:ext cx="2475797" cy="849901"/>
          </a:xfrm>
          <a:prstGeom prst="rect">
            <a:avLst/>
          </a:prstGeom>
        </p:spPr>
      </p:pic>
      <p:cxnSp>
        <p:nvCxnSpPr>
          <p:cNvPr id="12" name="Straight Connector 11">
            <a:extLst>
              <a:ext uri="{FF2B5EF4-FFF2-40B4-BE49-F238E27FC236}">
                <a16:creationId xmlns:a16="http://schemas.microsoft.com/office/drawing/2014/main" id="{96069E37-123D-284E-A48C-A17B33EEDD2F}"/>
              </a:ext>
            </a:extLst>
          </p:cNvPr>
          <p:cNvCxnSpPr>
            <a:cxnSpLocks/>
          </p:cNvCxnSpPr>
          <p:nvPr userDrawn="1"/>
        </p:nvCxnSpPr>
        <p:spPr>
          <a:xfrm>
            <a:off x="1241751" y="1956269"/>
            <a:ext cx="358449"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
        <p:nvSpPr>
          <p:cNvPr id="43" name="Freeform 42">
            <a:extLst>
              <a:ext uri="{FF2B5EF4-FFF2-40B4-BE49-F238E27FC236}">
                <a16:creationId xmlns:a16="http://schemas.microsoft.com/office/drawing/2014/main" id="{CD815438-737E-E346-AFE9-3D2C9A46A9DD}"/>
              </a:ext>
            </a:extLst>
          </p:cNvPr>
          <p:cNvSpPr/>
          <p:nvPr userDrawn="1"/>
        </p:nvSpPr>
        <p:spPr>
          <a:xfrm>
            <a:off x="7020383" y="250"/>
            <a:ext cx="5168442" cy="6857751"/>
          </a:xfrm>
          <a:custGeom>
            <a:avLst/>
            <a:gdLst>
              <a:gd name="connsiteX0" fmla="*/ 5168442 w 5168442"/>
              <a:gd name="connsiteY0" fmla="*/ 0 h 6857751"/>
              <a:gd name="connsiteX1" fmla="*/ 5168442 w 5168442"/>
              <a:gd name="connsiteY1" fmla="*/ 6857751 h 6857751"/>
              <a:gd name="connsiteX2" fmla="*/ 4990745 w 5168442"/>
              <a:gd name="connsiteY2" fmla="*/ 6857751 h 6857751"/>
              <a:gd name="connsiteX3" fmla="*/ 3561939 w 5168442"/>
              <a:gd name="connsiteY3" fmla="*/ 6857751 h 6857751"/>
              <a:gd name="connsiteX4" fmla="*/ 3561939 w 5168442"/>
              <a:gd name="connsiteY4" fmla="*/ 6857158 h 6857751"/>
              <a:gd name="connsiteX5" fmla="*/ 0 w 5168442"/>
              <a:gd name="connsiteY5" fmla="*/ 6855677 h 6857751"/>
              <a:gd name="connsiteX6" fmla="*/ 3213596 w 5168442"/>
              <a:gd name="connsiteY6" fmla="*/ 4195 h 6857751"/>
              <a:gd name="connsiteX7" fmla="*/ 3561939 w 5168442"/>
              <a:gd name="connsiteY7" fmla="*/ 4195 h 6857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68442" h="6857751">
                <a:moveTo>
                  <a:pt x="5168442" y="0"/>
                </a:moveTo>
                <a:lnTo>
                  <a:pt x="5168442" y="6857751"/>
                </a:lnTo>
                <a:lnTo>
                  <a:pt x="4990745" y="6857751"/>
                </a:lnTo>
                <a:lnTo>
                  <a:pt x="3561939" y="6857751"/>
                </a:lnTo>
                <a:lnTo>
                  <a:pt x="3561939" y="6857158"/>
                </a:lnTo>
                <a:lnTo>
                  <a:pt x="0" y="6855677"/>
                </a:lnTo>
                <a:lnTo>
                  <a:pt x="3213596" y="4195"/>
                </a:lnTo>
                <a:lnTo>
                  <a:pt x="3561939" y="4195"/>
                </a:lnTo>
                <a:close/>
              </a:path>
            </a:pathLst>
          </a:custGeom>
          <a:gradFill>
            <a:gsLst>
              <a:gs pos="0">
                <a:schemeClr val="accent2"/>
              </a:gs>
              <a:gs pos="76000">
                <a:srgbClr val="FF6500"/>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rIns="137160" bIns="91440" rtlCol="0" anchor="ctr">
            <a:noAutofit/>
          </a:bodyPr>
          <a:lstStyle/>
          <a:p>
            <a:pPr lvl="0" algn="ctr"/>
            <a:endParaRPr lang="en-US" sz="1600">
              <a:solidFill>
                <a:schemeClr val="bg1"/>
              </a:solidFill>
              <a:latin typeface="Roboto" panose="02000000000000000000" pitchFamily="2" charset="0"/>
              <a:ea typeface="Roboto" panose="02000000000000000000" pitchFamily="2" charset="0"/>
              <a:cs typeface="Roboto" charset="0"/>
            </a:endParaRPr>
          </a:p>
        </p:txBody>
      </p:sp>
    </p:spTree>
    <p:extLst>
      <p:ext uri="{BB962C8B-B14F-4D97-AF65-F5344CB8AC3E}">
        <p14:creationId xmlns:p14="http://schemas.microsoft.com/office/powerpoint/2010/main" val="2880022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_option 2">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98F7C93-3EAF-8F41-BCCE-44689F0C0324}"/>
              </a:ext>
            </a:extLst>
          </p:cNvPr>
          <p:cNvSpPr/>
          <p:nvPr userDrawn="1"/>
        </p:nvSpPr>
        <p:spPr>
          <a:xfrm>
            <a:off x="0" y="-75"/>
            <a:ext cx="12188825" cy="6857509"/>
          </a:xfrm>
          <a:prstGeom prst="rect">
            <a:avLst/>
          </a:prstGeom>
          <a:gradFill>
            <a:gsLst>
              <a:gs pos="0">
                <a:schemeClr val="accent2"/>
              </a:gs>
              <a:gs pos="76000">
                <a:srgbClr val="FF6500"/>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rIns="137160" bIns="91440" rtlCol="0" anchor="ctr">
            <a:noAutofit/>
          </a:bodyPr>
          <a:lstStyle/>
          <a:p>
            <a:pPr lvl="0"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29" name="Freeform 28">
            <a:extLst>
              <a:ext uri="{FF2B5EF4-FFF2-40B4-BE49-F238E27FC236}">
                <a16:creationId xmlns:a16="http://schemas.microsoft.com/office/drawing/2014/main" id="{C2361DA9-ED0A-9945-BFD7-FC998E37B28B}"/>
              </a:ext>
            </a:extLst>
          </p:cNvPr>
          <p:cNvSpPr/>
          <p:nvPr userDrawn="1"/>
        </p:nvSpPr>
        <p:spPr>
          <a:xfrm>
            <a:off x="7407017" y="4547198"/>
            <a:ext cx="4785372" cy="2310802"/>
          </a:xfrm>
          <a:custGeom>
            <a:avLst/>
            <a:gdLst>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16268 w 4717029"/>
              <a:gd name="connsiteY12" fmla="*/ 1924881 h 2310802"/>
              <a:gd name="connsiteX13" fmla="*/ 537304 w 4717029"/>
              <a:gd name="connsiteY13" fmla="*/ 1927002 h 2310802"/>
              <a:gd name="connsiteX14" fmla="*/ 555320 w 4717029"/>
              <a:gd name="connsiteY14" fmla="*/ 1748290 h 2310802"/>
              <a:gd name="connsiteX15" fmla="*/ 1458267 w 4717029"/>
              <a:gd name="connsiteY15" fmla="*/ 1012367 h 2310802"/>
              <a:gd name="connsiteX16" fmla="*/ 2307510 w 4717029"/>
              <a:gd name="connsiteY16" fmla="*/ 1575283 h 2310802"/>
              <a:gd name="connsiteX17" fmla="*/ 2359658 w 4717029"/>
              <a:gd name="connsiteY17" fmla="*/ 1743278 h 2310802"/>
              <a:gd name="connsiteX18" fmla="*/ 2697671 w 4717029"/>
              <a:gd name="connsiteY18" fmla="*/ 1743278 h 2310802"/>
              <a:gd name="connsiteX19" fmla="*/ 2691684 w 4717029"/>
              <a:gd name="connsiteY19" fmla="*/ 1683894 h 2310802"/>
              <a:gd name="connsiteX20" fmla="*/ 3479644 w 4717029"/>
              <a:gd name="connsiteY20" fmla="*/ 895934 h 2310802"/>
              <a:gd name="connsiteX21" fmla="*/ 3555657 w 4717029"/>
              <a:gd name="connsiteY21" fmla="*/ 899772 h 2310802"/>
              <a:gd name="connsiteX22" fmla="*/ 3556684 w 4717029"/>
              <a:gd name="connsiteY22" fmla="*/ 889585 h 2310802"/>
              <a:gd name="connsiteX23" fmla="*/ 4648168 w 4717029"/>
              <a:gd name="connsiteY23"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16268 w 4717029"/>
              <a:gd name="connsiteY12" fmla="*/ 1924881 h 2310802"/>
              <a:gd name="connsiteX13" fmla="*/ 555320 w 4717029"/>
              <a:gd name="connsiteY13" fmla="*/ 1748290 h 2310802"/>
              <a:gd name="connsiteX14" fmla="*/ 1458267 w 4717029"/>
              <a:gd name="connsiteY14" fmla="*/ 1012367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55320 w 4717029"/>
              <a:gd name="connsiteY13" fmla="*/ 1748290 h 2310802"/>
              <a:gd name="connsiteX14" fmla="*/ 1458267 w 4717029"/>
              <a:gd name="connsiteY14" fmla="*/ 1012367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55320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55320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55320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73608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73608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73608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479620 w 4717029"/>
              <a:gd name="connsiteY14" fmla="*/ 1020114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6903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76504 w 4745365"/>
              <a:gd name="connsiteY0" fmla="*/ 0 h 2310802"/>
              <a:gd name="connsiteX1" fmla="*/ 4745365 w 4745365"/>
              <a:gd name="connsiteY1" fmla="*/ 3477 h 2310802"/>
              <a:gd name="connsiteX2" fmla="*/ 4745365 w 4745365"/>
              <a:gd name="connsiteY2" fmla="*/ 2224761 h 2310802"/>
              <a:gd name="connsiteX3" fmla="*/ 4676504 w 4745365"/>
              <a:gd name="connsiteY3" fmla="*/ 2228238 h 2310802"/>
              <a:gd name="connsiteX4" fmla="*/ 4193487 w 4745365"/>
              <a:gd name="connsiteY4" fmla="*/ 2118374 h 2310802"/>
              <a:gd name="connsiteX5" fmla="*/ 4171520 w 4745365"/>
              <a:gd name="connsiteY5" fmla="*/ 2105748 h 2310802"/>
              <a:gd name="connsiteX6" fmla="*/ 4161369 w 4745365"/>
              <a:gd name="connsiteY6" fmla="*/ 2124450 h 2310802"/>
              <a:gd name="connsiteX7" fmla="*/ 4065152 w 4745365"/>
              <a:gd name="connsiteY7" fmla="*/ 2241066 h 2310802"/>
              <a:gd name="connsiteX8" fmla="*/ 3986221 w 4745365"/>
              <a:gd name="connsiteY8" fmla="*/ 2306190 h 2310802"/>
              <a:gd name="connsiteX9" fmla="*/ 3986221 w 4745365"/>
              <a:gd name="connsiteY9" fmla="*/ 2310802 h 2310802"/>
              <a:gd name="connsiteX10" fmla="*/ 0 w 4745365"/>
              <a:gd name="connsiteY10" fmla="*/ 2310802 h 2310802"/>
              <a:gd name="connsiteX11" fmla="*/ 45422 w 4745365"/>
              <a:gd name="connsiteY11" fmla="*/ 2255761 h 2310802"/>
              <a:gd name="connsiteX12" fmla="*/ 551119 w 4745365"/>
              <a:gd name="connsiteY12" fmla="*/ 1890083 h 2310802"/>
              <a:gd name="connsiteX13" fmla="*/ 575332 w 4745365"/>
              <a:gd name="connsiteY13" fmla="*/ 1748290 h 2310802"/>
              <a:gd name="connsiteX14" fmla="*/ 1504807 w 4745365"/>
              <a:gd name="connsiteY14" fmla="*/ 1035989 h 2310802"/>
              <a:gd name="connsiteX15" fmla="*/ 2335846 w 4745365"/>
              <a:gd name="connsiteY15" fmla="*/ 1575283 h 2310802"/>
              <a:gd name="connsiteX16" fmla="*/ 2387994 w 4745365"/>
              <a:gd name="connsiteY16" fmla="*/ 1743278 h 2310802"/>
              <a:gd name="connsiteX17" fmla="*/ 2726007 w 4745365"/>
              <a:gd name="connsiteY17" fmla="*/ 1743278 h 2310802"/>
              <a:gd name="connsiteX18" fmla="*/ 2720020 w 4745365"/>
              <a:gd name="connsiteY18" fmla="*/ 1683894 h 2310802"/>
              <a:gd name="connsiteX19" fmla="*/ 3507980 w 4745365"/>
              <a:gd name="connsiteY19" fmla="*/ 895934 h 2310802"/>
              <a:gd name="connsiteX20" fmla="*/ 3583993 w 4745365"/>
              <a:gd name="connsiteY20" fmla="*/ 899772 h 2310802"/>
              <a:gd name="connsiteX21" fmla="*/ 3585020 w 4745365"/>
              <a:gd name="connsiteY21" fmla="*/ 889585 h 2310802"/>
              <a:gd name="connsiteX22" fmla="*/ 4676504 w 4745365"/>
              <a:gd name="connsiteY22" fmla="*/ 0 h 2310802"/>
              <a:gd name="connsiteX0" fmla="*/ 4676504 w 4745365"/>
              <a:gd name="connsiteY0" fmla="*/ 0 h 2310802"/>
              <a:gd name="connsiteX1" fmla="*/ 4745365 w 4745365"/>
              <a:gd name="connsiteY1" fmla="*/ 3477 h 2310802"/>
              <a:gd name="connsiteX2" fmla="*/ 4745365 w 4745365"/>
              <a:gd name="connsiteY2" fmla="*/ 2224761 h 2310802"/>
              <a:gd name="connsiteX3" fmla="*/ 4676504 w 4745365"/>
              <a:gd name="connsiteY3" fmla="*/ 2228238 h 2310802"/>
              <a:gd name="connsiteX4" fmla="*/ 4193487 w 4745365"/>
              <a:gd name="connsiteY4" fmla="*/ 2118374 h 2310802"/>
              <a:gd name="connsiteX5" fmla="*/ 4171520 w 4745365"/>
              <a:gd name="connsiteY5" fmla="*/ 2105748 h 2310802"/>
              <a:gd name="connsiteX6" fmla="*/ 4161369 w 4745365"/>
              <a:gd name="connsiteY6" fmla="*/ 2124450 h 2310802"/>
              <a:gd name="connsiteX7" fmla="*/ 4065152 w 4745365"/>
              <a:gd name="connsiteY7" fmla="*/ 2241066 h 2310802"/>
              <a:gd name="connsiteX8" fmla="*/ 3986221 w 4745365"/>
              <a:gd name="connsiteY8" fmla="*/ 2306190 h 2310802"/>
              <a:gd name="connsiteX9" fmla="*/ 3986221 w 4745365"/>
              <a:gd name="connsiteY9" fmla="*/ 2310802 h 2310802"/>
              <a:gd name="connsiteX10" fmla="*/ 0 w 4745365"/>
              <a:gd name="connsiteY10" fmla="*/ 2310802 h 2310802"/>
              <a:gd name="connsiteX11" fmla="*/ 35977 w 4745365"/>
              <a:gd name="connsiteY11" fmla="*/ 2249411 h 2310802"/>
              <a:gd name="connsiteX12" fmla="*/ 551119 w 4745365"/>
              <a:gd name="connsiteY12" fmla="*/ 1890083 h 2310802"/>
              <a:gd name="connsiteX13" fmla="*/ 575332 w 4745365"/>
              <a:gd name="connsiteY13" fmla="*/ 1748290 h 2310802"/>
              <a:gd name="connsiteX14" fmla="*/ 1504807 w 4745365"/>
              <a:gd name="connsiteY14" fmla="*/ 1035989 h 2310802"/>
              <a:gd name="connsiteX15" fmla="*/ 2335846 w 4745365"/>
              <a:gd name="connsiteY15" fmla="*/ 1575283 h 2310802"/>
              <a:gd name="connsiteX16" fmla="*/ 2387994 w 4745365"/>
              <a:gd name="connsiteY16" fmla="*/ 1743278 h 2310802"/>
              <a:gd name="connsiteX17" fmla="*/ 2726007 w 4745365"/>
              <a:gd name="connsiteY17" fmla="*/ 1743278 h 2310802"/>
              <a:gd name="connsiteX18" fmla="*/ 2720020 w 4745365"/>
              <a:gd name="connsiteY18" fmla="*/ 1683894 h 2310802"/>
              <a:gd name="connsiteX19" fmla="*/ 3507980 w 4745365"/>
              <a:gd name="connsiteY19" fmla="*/ 895934 h 2310802"/>
              <a:gd name="connsiteX20" fmla="*/ 3583993 w 4745365"/>
              <a:gd name="connsiteY20" fmla="*/ 899772 h 2310802"/>
              <a:gd name="connsiteX21" fmla="*/ 3585020 w 4745365"/>
              <a:gd name="connsiteY21" fmla="*/ 889585 h 2310802"/>
              <a:gd name="connsiteX22" fmla="*/ 4676504 w 4745365"/>
              <a:gd name="connsiteY22" fmla="*/ 0 h 2310802"/>
              <a:gd name="connsiteX0" fmla="*/ 4676504 w 4745365"/>
              <a:gd name="connsiteY0" fmla="*/ 0 h 2310802"/>
              <a:gd name="connsiteX1" fmla="*/ 4745365 w 4745365"/>
              <a:gd name="connsiteY1" fmla="*/ 3477 h 2310802"/>
              <a:gd name="connsiteX2" fmla="*/ 4745365 w 4745365"/>
              <a:gd name="connsiteY2" fmla="*/ 2224761 h 2310802"/>
              <a:gd name="connsiteX3" fmla="*/ 4676504 w 4745365"/>
              <a:gd name="connsiteY3" fmla="*/ 2228238 h 2310802"/>
              <a:gd name="connsiteX4" fmla="*/ 4193487 w 4745365"/>
              <a:gd name="connsiteY4" fmla="*/ 2118374 h 2310802"/>
              <a:gd name="connsiteX5" fmla="*/ 4171520 w 4745365"/>
              <a:gd name="connsiteY5" fmla="*/ 2105748 h 2310802"/>
              <a:gd name="connsiteX6" fmla="*/ 4161369 w 4745365"/>
              <a:gd name="connsiteY6" fmla="*/ 2124450 h 2310802"/>
              <a:gd name="connsiteX7" fmla="*/ 4065152 w 4745365"/>
              <a:gd name="connsiteY7" fmla="*/ 2241066 h 2310802"/>
              <a:gd name="connsiteX8" fmla="*/ 3986221 w 4745365"/>
              <a:gd name="connsiteY8" fmla="*/ 2306190 h 2310802"/>
              <a:gd name="connsiteX9" fmla="*/ 3986221 w 4745365"/>
              <a:gd name="connsiteY9" fmla="*/ 2310802 h 2310802"/>
              <a:gd name="connsiteX10" fmla="*/ 0 w 4745365"/>
              <a:gd name="connsiteY10" fmla="*/ 2310802 h 2310802"/>
              <a:gd name="connsiteX11" fmla="*/ 35977 w 4745365"/>
              <a:gd name="connsiteY11" fmla="*/ 2249411 h 2310802"/>
              <a:gd name="connsiteX12" fmla="*/ 551119 w 4745365"/>
              <a:gd name="connsiteY12" fmla="*/ 1890083 h 2310802"/>
              <a:gd name="connsiteX13" fmla="*/ 575332 w 4745365"/>
              <a:gd name="connsiteY13" fmla="*/ 1748290 h 2310802"/>
              <a:gd name="connsiteX14" fmla="*/ 1504807 w 4745365"/>
              <a:gd name="connsiteY14" fmla="*/ 1035989 h 2310802"/>
              <a:gd name="connsiteX15" fmla="*/ 2335846 w 4745365"/>
              <a:gd name="connsiteY15" fmla="*/ 1575283 h 2310802"/>
              <a:gd name="connsiteX16" fmla="*/ 2387994 w 4745365"/>
              <a:gd name="connsiteY16" fmla="*/ 1743278 h 2310802"/>
              <a:gd name="connsiteX17" fmla="*/ 2726007 w 4745365"/>
              <a:gd name="connsiteY17" fmla="*/ 1743278 h 2310802"/>
              <a:gd name="connsiteX18" fmla="*/ 2720020 w 4745365"/>
              <a:gd name="connsiteY18" fmla="*/ 1683894 h 2310802"/>
              <a:gd name="connsiteX19" fmla="*/ 3507980 w 4745365"/>
              <a:gd name="connsiteY19" fmla="*/ 895934 h 2310802"/>
              <a:gd name="connsiteX20" fmla="*/ 3583993 w 4745365"/>
              <a:gd name="connsiteY20" fmla="*/ 899772 h 2310802"/>
              <a:gd name="connsiteX21" fmla="*/ 3585020 w 4745365"/>
              <a:gd name="connsiteY21" fmla="*/ 889585 h 2310802"/>
              <a:gd name="connsiteX22" fmla="*/ 4676504 w 4745365"/>
              <a:gd name="connsiteY22" fmla="*/ 0 h 2310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45365" h="2310802">
                <a:moveTo>
                  <a:pt x="4676504" y="0"/>
                </a:moveTo>
                <a:lnTo>
                  <a:pt x="4745365" y="3477"/>
                </a:lnTo>
                <a:lnTo>
                  <a:pt x="4745365" y="2224761"/>
                </a:lnTo>
                <a:lnTo>
                  <a:pt x="4676504" y="2228238"/>
                </a:lnTo>
                <a:cubicBezTo>
                  <a:pt x="4503447" y="2228238"/>
                  <a:pt x="4339607" y="2188782"/>
                  <a:pt x="4193487" y="2118374"/>
                </a:cubicBezTo>
                <a:lnTo>
                  <a:pt x="4171520" y="2105748"/>
                </a:lnTo>
                <a:lnTo>
                  <a:pt x="4161369" y="2124450"/>
                </a:lnTo>
                <a:cubicBezTo>
                  <a:pt x="4133048" y="2166370"/>
                  <a:pt x="4100800" y="2205418"/>
                  <a:pt x="4065152" y="2241066"/>
                </a:cubicBezTo>
                <a:lnTo>
                  <a:pt x="3986221" y="2306190"/>
                </a:lnTo>
                <a:lnTo>
                  <a:pt x="3986221" y="2310802"/>
                </a:lnTo>
                <a:lnTo>
                  <a:pt x="0" y="2310802"/>
                </a:lnTo>
                <a:lnTo>
                  <a:pt x="35977" y="2249411"/>
                </a:lnTo>
                <a:cubicBezTo>
                  <a:pt x="146556" y="2054967"/>
                  <a:pt x="326716" y="1890083"/>
                  <a:pt x="551119" y="1890083"/>
                </a:cubicBezTo>
                <a:cubicBezTo>
                  <a:pt x="553569" y="1819535"/>
                  <a:pt x="576031" y="1793438"/>
                  <a:pt x="575332" y="1748290"/>
                </a:cubicBezTo>
                <a:cubicBezTo>
                  <a:pt x="699055" y="1334650"/>
                  <a:pt x="1082288" y="1035078"/>
                  <a:pt x="1504807" y="1035989"/>
                </a:cubicBezTo>
                <a:cubicBezTo>
                  <a:pt x="1865747" y="1036767"/>
                  <a:pt x="2195928" y="1244481"/>
                  <a:pt x="2335846" y="1575283"/>
                </a:cubicBezTo>
                <a:lnTo>
                  <a:pt x="2387994" y="1743278"/>
                </a:lnTo>
                <a:lnTo>
                  <a:pt x="2726007" y="1743278"/>
                </a:lnTo>
                <a:lnTo>
                  <a:pt x="2720020" y="1683894"/>
                </a:lnTo>
                <a:cubicBezTo>
                  <a:pt x="2720020" y="1248716"/>
                  <a:pt x="3072802" y="895934"/>
                  <a:pt x="3507980" y="895934"/>
                </a:cubicBezTo>
                <a:lnTo>
                  <a:pt x="3583993" y="899772"/>
                </a:lnTo>
                <a:cubicBezTo>
                  <a:pt x="3584335" y="896376"/>
                  <a:pt x="3584678" y="892981"/>
                  <a:pt x="3585020" y="889585"/>
                </a:cubicBezTo>
                <a:cubicBezTo>
                  <a:pt x="3688907" y="381900"/>
                  <a:pt x="4138107" y="0"/>
                  <a:pt x="467650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rIns="137160" bIns="91440" rtlCol="0" anchor="ctr">
            <a:noAutofit/>
          </a:bodyP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19" name="Right Triangle 18">
            <a:extLst>
              <a:ext uri="{FF2B5EF4-FFF2-40B4-BE49-F238E27FC236}">
                <a16:creationId xmlns:a16="http://schemas.microsoft.com/office/drawing/2014/main" id="{B4E55811-A4B5-1B42-B1DB-0E8EDB9625D3}"/>
              </a:ext>
            </a:extLst>
          </p:cNvPr>
          <p:cNvSpPr/>
          <p:nvPr userDrawn="1"/>
        </p:nvSpPr>
        <p:spPr>
          <a:xfrm flipV="1">
            <a:off x="10164" y="-75"/>
            <a:ext cx="1202410" cy="3151589"/>
          </a:xfrm>
          <a:prstGeom prst="r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9" name="Text Placeholder 16">
            <a:extLst>
              <a:ext uri="{FF2B5EF4-FFF2-40B4-BE49-F238E27FC236}">
                <a16:creationId xmlns:a16="http://schemas.microsoft.com/office/drawing/2014/main" id="{4B172E08-CDCC-2845-9F3E-1B39286DEDFF}"/>
              </a:ext>
            </a:extLst>
          </p:cNvPr>
          <p:cNvSpPr>
            <a:spLocks noGrp="1"/>
          </p:cNvSpPr>
          <p:nvPr>
            <p:ph type="body" sz="quarter" idx="10" hasCustomPrompt="1"/>
          </p:nvPr>
        </p:nvSpPr>
        <p:spPr bwMode="gray">
          <a:xfrm>
            <a:off x="1161225" y="1251522"/>
            <a:ext cx="6369780" cy="648398"/>
          </a:xfrm>
          <a:prstGeom prst="rect">
            <a:avLst/>
          </a:prstGeom>
        </p:spPr>
        <p:txBody>
          <a:bodyPr anchor="b" anchorCtr="0"/>
          <a:lstStyle>
            <a:lvl1pPr marL="0" indent="0">
              <a:lnSpc>
                <a:spcPct val="95000"/>
              </a:lnSpc>
              <a:spcBef>
                <a:spcPts val="0"/>
              </a:spcBef>
              <a:spcAft>
                <a:spcPts val="0"/>
              </a:spcAft>
              <a:buNone/>
              <a:defRPr sz="2400" b="0" i="0">
                <a:solidFill>
                  <a:schemeClr val="bg1"/>
                </a:solidFill>
                <a:latin typeface="+mj-lt"/>
                <a:ea typeface="Roboto" panose="02000000000000000000" pitchFamily="2" charset="0"/>
                <a:cs typeface="Roboto" panose="02000000000000000000" pitchFamily="2" charset="0"/>
              </a:defRPr>
            </a:lvl1pPr>
            <a:lvl2pPr marL="457108" indent="0">
              <a:buNone/>
              <a:defRPr/>
            </a:lvl2pPr>
            <a:lvl3pPr marL="914217" indent="0">
              <a:buNone/>
              <a:defRPr/>
            </a:lvl3pPr>
            <a:lvl4pPr marL="1371326" indent="0">
              <a:buNone/>
              <a:defRPr/>
            </a:lvl4pPr>
            <a:lvl5pPr marL="1828435" indent="0">
              <a:buNone/>
              <a:defRPr/>
            </a:lvl5pPr>
          </a:lstStyle>
          <a:p>
            <a:pPr lvl="0"/>
            <a:r>
              <a:rPr lang="en-US"/>
              <a:t>Date Roboto Light 20 Point</a:t>
            </a:r>
          </a:p>
        </p:txBody>
      </p:sp>
      <p:sp>
        <p:nvSpPr>
          <p:cNvPr id="15" name="Text Placeholder 23">
            <a:extLst>
              <a:ext uri="{FF2B5EF4-FFF2-40B4-BE49-F238E27FC236}">
                <a16:creationId xmlns:a16="http://schemas.microsoft.com/office/drawing/2014/main" id="{72E6729F-10D3-874C-B648-888F614371EF}"/>
              </a:ext>
            </a:extLst>
          </p:cNvPr>
          <p:cNvSpPr>
            <a:spLocks noGrp="1"/>
          </p:cNvSpPr>
          <p:nvPr>
            <p:ph type="body" sz="quarter" idx="11" hasCustomPrompt="1"/>
          </p:nvPr>
        </p:nvSpPr>
        <p:spPr bwMode="gray">
          <a:xfrm>
            <a:off x="1161225" y="2629671"/>
            <a:ext cx="9445816" cy="2102713"/>
          </a:xfrm>
          <a:prstGeom prst="rect">
            <a:avLst/>
          </a:prstGeom>
        </p:spPr>
        <p:txBody>
          <a:bodyPr anchor="ctr" anchorCtr="0"/>
          <a:lstStyle>
            <a:lvl1pPr marL="0" indent="0">
              <a:spcBef>
                <a:spcPts val="600"/>
              </a:spcBef>
              <a:buNone/>
              <a:defRPr sz="5400" b="0" i="0">
                <a:solidFill>
                  <a:schemeClr val="bg1"/>
                </a:solidFill>
                <a:latin typeface="+mj-lt"/>
                <a:ea typeface="Roboto Light" panose="02000000000000000000" pitchFamily="2" charset="0"/>
                <a:cs typeface="Roboto Light" panose="02000000000000000000" pitchFamily="2" charset="0"/>
              </a:defRPr>
            </a:lvl1pPr>
            <a:lvl2pPr marL="457108" indent="0">
              <a:buNone/>
              <a:defRPr/>
            </a:lvl2pPr>
            <a:lvl3pPr marL="914217" indent="0">
              <a:buNone/>
              <a:defRPr/>
            </a:lvl3pPr>
            <a:lvl4pPr marL="1371326" indent="0">
              <a:buNone/>
              <a:defRPr/>
            </a:lvl4pPr>
            <a:lvl5pPr marL="1828435" indent="0">
              <a:buNone/>
              <a:defRPr/>
            </a:lvl5pPr>
          </a:lstStyle>
          <a:p>
            <a:r>
              <a:rPr lang="en-US"/>
              <a:t>Title Goes Here Roboto Light 54 Point</a:t>
            </a:r>
          </a:p>
        </p:txBody>
      </p:sp>
      <p:sp>
        <p:nvSpPr>
          <p:cNvPr id="16" name="Text Placeholder 25">
            <a:extLst>
              <a:ext uri="{FF2B5EF4-FFF2-40B4-BE49-F238E27FC236}">
                <a16:creationId xmlns:a16="http://schemas.microsoft.com/office/drawing/2014/main" id="{646CD88F-0893-474C-8B77-C007ECB6A676}"/>
              </a:ext>
            </a:extLst>
          </p:cNvPr>
          <p:cNvSpPr>
            <a:spLocks noGrp="1"/>
          </p:cNvSpPr>
          <p:nvPr>
            <p:ph type="body" sz="quarter" idx="12" hasCustomPrompt="1"/>
          </p:nvPr>
        </p:nvSpPr>
        <p:spPr bwMode="gray">
          <a:xfrm>
            <a:off x="1161225" y="4908299"/>
            <a:ext cx="6393330" cy="289576"/>
          </a:xfrm>
          <a:prstGeom prst="rect">
            <a:avLst/>
          </a:prstGeom>
        </p:spPr>
        <p:txBody>
          <a:bodyPr/>
          <a:lstStyle>
            <a:lvl1pPr marL="0" indent="0">
              <a:buNone/>
              <a:defRPr b="0" i="0" baseline="0">
                <a:solidFill>
                  <a:schemeClr val="bg1"/>
                </a:solidFill>
                <a:latin typeface="Roboto" panose="02000000000000000000" pitchFamily="2" charset="0"/>
                <a:ea typeface="Roboto" panose="02000000000000000000" pitchFamily="2" charset="0"/>
                <a:cs typeface="Roboto" panose="02000000000000000000" pitchFamily="2" charset="0"/>
              </a:defRPr>
            </a:lvl1pPr>
            <a:lvl2pPr marL="457108" indent="0">
              <a:buNone/>
              <a:defRPr/>
            </a:lvl2pPr>
            <a:lvl3pPr marL="914217" indent="0">
              <a:buNone/>
              <a:defRPr/>
            </a:lvl3pPr>
            <a:lvl4pPr marL="1371326" indent="0">
              <a:buNone/>
              <a:defRPr/>
            </a:lvl4pPr>
            <a:lvl5pPr marL="1828435" indent="0">
              <a:buNone/>
              <a:defRPr/>
            </a:lvl5pPr>
          </a:lstStyle>
          <a:p>
            <a:pPr lvl="0"/>
            <a:r>
              <a:rPr lang="en-US"/>
              <a:t>Speaker Name, Roboto Regular 20 Point</a:t>
            </a:r>
          </a:p>
        </p:txBody>
      </p:sp>
      <p:sp>
        <p:nvSpPr>
          <p:cNvPr id="17" name="Text Placeholder 27">
            <a:extLst>
              <a:ext uri="{FF2B5EF4-FFF2-40B4-BE49-F238E27FC236}">
                <a16:creationId xmlns:a16="http://schemas.microsoft.com/office/drawing/2014/main" id="{2FE02546-0BBB-5E4F-8595-0FEDF2169431}"/>
              </a:ext>
            </a:extLst>
          </p:cNvPr>
          <p:cNvSpPr>
            <a:spLocks noGrp="1"/>
          </p:cNvSpPr>
          <p:nvPr>
            <p:ph type="body" sz="quarter" idx="13" hasCustomPrompt="1"/>
          </p:nvPr>
        </p:nvSpPr>
        <p:spPr bwMode="gray">
          <a:xfrm>
            <a:off x="1161225" y="5294969"/>
            <a:ext cx="6393330" cy="291041"/>
          </a:xfrm>
          <a:prstGeom prst="rect">
            <a:avLst/>
          </a:prstGeom>
        </p:spPr>
        <p:txBody>
          <a:bodyPr/>
          <a:lstStyle>
            <a:lvl1pPr marL="0" indent="0">
              <a:buNone/>
              <a:defRPr i="1" baseline="0">
                <a:solidFill>
                  <a:schemeClr val="bg1"/>
                </a:solidFill>
                <a:latin typeface="Roboto" panose="02000000000000000000" pitchFamily="2" charset="0"/>
                <a:ea typeface="Roboto" panose="02000000000000000000" pitchFamily="2" charset="0"/>
              </a:defRPr>
            </a:lvl1pPr>
            <a:lvl2pPr marL="457108" indent="0">
              <a:buNone/>
              <a:defRPr/>
            </a:lvl2pPr>
            <a:lvl3pPr marL="914217" indent="0">
              <a:buNone/>
              <a:defRPr/>
            </a:lvl3pPr>
            <a:lvl4pPr marL="1371326" indent="0">
              <a:buNone/>
              <a:defRPr/>
            </a:lvl4pPr>
            <a:lvl5pPr marL="1828435" indent="0">
              <a:buNone/>
              <a:defRPr/>
            </a:lvl5pPr>
          </a:lstStyle>
          <a:p>
            <a:pPr lvl="0"/>
            <a:r>
              <a:rPr lang="en-US"/>
              <a:t>Speaker Title or Email, Roboto Italic 20 Point</a:t>
            </a:r>
          </a:p>
        </p:txBody>
      </p:sp>
      <p:sp>
        <p:nvSpPr>
          <p:cNvPr id="13" name="Right Triangle 12">
            <a:extLst>
              <a:ext uri="{FF2B5EF4-FFF2-40B4-BE49-F238E27FC236}">
                <a16:creationId xmlns:a16="http://schemas.microsoft.com/office/drawing/2014/main" id="{B216F28F-B699-D648-9BA9-91312449D3D2}"/>
              </a:ext>
            </a:extLst>
          </p:cNvPr>
          <p:cNvSpPr/>
          <p:nvPr userDrawn="1"/>
        </p:nvSpPr>
        <p:spPr>
          <a:xfrm flipV="1">
            <a:off x="-1" y="-4"/>
            <a:ext cx="1202409" cy="2703435"/>
          </a:xfrm>
          <a:prstGeom prst="rtTriangle">
            <a:avLst/>
          </a:prstGeom>
          <a:solidFill>
            <a:srgbClr val="0A0808"/>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40" name="Freeform 39">
            <a:extLst>
              <a:ext uri="{FF2B5EF4-FFF2-40B4-BE49-F238E27FC236}">
                <a16:creationId xmlns:a16="http://schemas.microsoft.com/office/drawing/2014/main" id="{CCF69367-A869-1148-948E-9FF2DF284864}"/>
              </a:ext>
            </a:extLst>
          </p:cNvPr>
          <p:cNvSpPr/>
          <p:nvPr userDrawn="1"/>
        </p:nvSpPr>
        <p:spPr>
          <a:xfrm>
            <a:off x="7727999" y="4675235"/>
            <a:ext cx="4461444" cy="2182765"/>
          </a:xfrm>
          <a:custGeom>
            <a:avLst/>
            <a:gdLst>
              <a:gd name="connsiteX0" fmla="*/ 4461444 w 4461444"/>
              <a:gd name="connsiteY0" fmla="*/ 0 h 2182765"/>
              <a:gd name="connsiteX1" fmla="*/ 4461444 w 4461444"/>
              <a:gd name="connsiteY1" fmla="*/ 2182765 h 2182765"/>
              <a:gd name="connsiteX2" fmla="*/ 0 w 4461444"/>
              <a:gd name="connsiteY2" fmla="*/ 2182765 h 2182765"/>
              <a:gd name="connsiteX3" fmla="*/ 24342 w 4461444"/>
              <a:gd name="connsiteY3" fmla="*/ 2153263 h 2182765"/>
              <a:gd name="connsiteX4" fmla="*/ 481037 w 4461444"/>
              <a:gd name="connsiteY4" fmla="*/ 1964093 h 2182765"/>
              <a:gd name="connsiteX5" fmla="*/ 732436 w 4461444"/>
              <a:gd name="connsiteY5" fmla="*/ 2014848 h 2182765"/>
              <a:gd name="connsiteX6" fmla="*/ 787285 w 4461444"/>
              <a:gd name="connsiteY6" fmla="*/ 2044619 h 2182765"/>
              <a:gd name="connsiteX7" fmla="*/ 809805 w 4461444"/>
              <a:gd name="connsiteY7" fmla="*/ 1961250 h 2182765"/>
              <a:gd name="connsiteX8" fmla="*/ 1286315 w 4461444"/>
              <a:gd name="connsiteY8" fmla="*/ 1550577 h 2182765"/>
              <a:gd name="connsiteX9" fmla="*/ 1321466 w 4461444"/>
              <a:gd name="connsiteY9" fmla="*/ 1547033 h 2182765"/>
              <a:gd name="connsiteX10" fmla="*/ 1323271 w 4461444"/>
              <a:gd name="connsiteY10" fmla="*/ 1529127 h 2182765"/>
              <a:gd name="connsiteX11" fmla="*/ 2205095 w 4461444"/>
              <a:gd name="connsiteY11" fmla="*/ 810420 h 2182765"/>
              <a:gd name="connsiteX12" fmla="*/ 2708356 w 4461444"/>
              <a:gd name="connsiteY12" fmla="*/ 964145 h 2182765"/>
              <a:gd name="connsiteX13" fmla="*/ 2798296 w 4461444"/>
              <a:gd name="connsiteY13" fmla="*/ 1038353 h 2182765"/>
              <a:gd name="connsiteX14" fmla="*/ 2868637 w 4461444"/>
              <a:gd name="connsiteY14" fmla="*/ 1020266 h 2182765"/>
              <a:gd name="connsiteX15" fmla="*/ 3050041 w 4461444"/>
              <a:gd name="connsiteY15" fmla="*/ 1001979 h 2182765"/>
              <a:gd name="connsiteX16" fmla="*/ 3231445 w 4461444"/>
              <a:gd name="connsiteY16" fmla="*/ 1020266 h 2182765"/>
              <a:gd name="connsiteX17" fmla="*/ 3245588 w 4461444"/>
              <a:gd name="connsiteY17" fmla="*/ 1023903 h 2182765"/>
              <a:gd name="connsiteX18" fmla="*/ 3297823 w 4461444"/>
              <a:gd name="connsiteY18" fmla="*/ 960592 h 2182765"/>
              <a:gd name="connsiteX19" fmla="*/ 3934298 w 4461444"/>
              <a:gd name="connsiteY19" fmla="*/ 696956 h 2182765"/>
              <a:gd name="connsiteX20" fmla="*/ 4115702 w 4461444"/>
              <a:gd name="connsiteY20" fmla="*/ 715243 h 2182765"/>
              <a:gd name="connsiteX21" fmla="*/ 4127211 w 4461444"/>
              <a:gd name="connsiteY21" fmla="*/ 718203 h 2182765"/>
              <a:gd name="connsiteX22" fmla="*/ 4126073 w 4461444"/>
              <a:gd name="connsiteY22" fmla="*/ 695661 h 2182765"/>
              <a:gd name="connsiteX23" fmla="*/ 4389709 w 4461444"/>
              <a:gd name="connsiteY23" fmla="*/ 59186 h 2182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461444" h="2182765">
                <a:moveTo>
                  <a:pt x="4461444" y="0"/>
                </a:moveTo>
                <a:lnTo>
                  <a:pt x="4461444" y="2182765"/>
                </a:lnTo>
                <a:lnTo>
                  <a:pt x="0" y="2182765"/>
                </a:lnTo>
                <a:lnTo>
                  <a:pt x="24342" y="2153263"/>
                </a:lnTo>
                <a:cubicBezTo>
                  <a:pt x="141221" y="2036384"/>
                  <a:pt x="302687" y="1964093"/>
                  <a:pt x="481037" y="1964093"/>
                </a:cubicBezTo>
                <a:cubicBezTo>
                  <a:pt x="570212" y="1964093"/>
                  <a:pt x="655166" y="1982166"/>
                  <a:pt x="732436" y="2014848"/>
                </a:cubicBezTo>
                <a:lnTo>
                  <a:pt x="787285" y="2044619"/>
                </a:lnTo>
                <a:lnTo>
                  <a:pt x="809805" y="1961250"/>
                </a:lnTo>
                <a:cubicBezTo>
                  <a:pt x="885867" y="1753515"/>
                  <a:pt x="1065582" y="1595745"/>
                  <a:pt x="1286315" y="1550577"/>
                </a:cubicBezTo>
                <a:lnTo>
                  <a:pt x="1321466" y="1547033"/>
                </a:lnTo>
                <a:lnTo>
                  <a:pt x="1323271" y="1529127"/>
                </a:lnTo>
                <a:cubicBezTo>
                  <a:pt x="1407203" y="1118962"/>
                  <a:pt x="1770117" y="810420"/>
                  <a:pt x="2205095" y="810420"/>
                </a:cubicBezTo>
                <a:cubicBezTo>
                  <a:pt x="2391514" y="810420"/>
                  <a:pt x="2564697" y="867091"/>
                  <a:pt x="2708356" y="964145"/>
                </a:cubicBezTo>
                <a:lnTo>
                  <a:pt x="2798296" y="1038353"/>
                </a:lnTo>
                <a:lnTo>
                  <a:pt x="2868637" y="1020266"/>
                </a:lnTo>
                <a:cubicBezTo>
                  <a:pt x="2927232" y="1008276"/>
                  <a:pt x="2987901" y="1001979"/>
                  <a:pt x="3050041" y="1001979"/>
                </a:cubicBezTo>
                <a:cubicBezTo>
                  <a:pt x="3112181" y="1001979"/>
                  <a:pt x="3172850" y="1008276"/>
                  <a:pt x="3231445" y="1020266"/>
                </a:cubicBezTo>
                <a:lnTo>
                  <a:pt x="3245588" y="1023903"/>
                </a:lnTo>
                <a:lnTo>
                  <a:pt x="3297823" y="960592"/>
                </a:lnTo>
                <a:cubicBezTo>
                  <a:pt x="3460711" y="797704"/>
                  <a:pt x="3685739" y="696956"/>
                  <a:pt x="3934298" y="696956"/>
                </a:cubicBezTo>
                <a:cubicBezTo>
                  <a:pt x="3996438" y="696956"/>
                  <a:pt x="4057107" y="703253"/>
                  <a:pt x="4115702" y="715243"/>
                </a:cubicBezTo>
                <a:lnTo>
                  <a:pt x="4127211" y="718203"/>
                </a:lnTo>
                <a:lnTo>
                  <a:pt x="4126073" y="695661"/>
                </a:lnTo>
                <a:cubicBezTo>
                  <a:pt x="4126073" y="447102"/>
                  <a:pt x="4226821" y="222074"/>
                  <a:pt x="4389709" y="59186"/>
                </a:cubicBezTo>
                <a:close/>
              </a:path>
            </a:pathLst>
          </a:custGeom>
          <a:solidFill>
            <a:schemeClr val="bg1"/>
          </a:solidFill>
          <a:ln>
            <a:noFill/>
          </a:ln>
          <a:effectLst>
            <a:outerShdw blurRad="279400" dist="76200" dir="13800000"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37160" tIns="91440" rIns="137160" bIns="91440" rtlCol="0" anchor="ctr">
            <a:noAutofit/>
          </a:bodyPr>
          <a:lstStyle/>
          <a:p>
            <a:pPr lvl="0" algn="ctr"/>
            <a:endParaRPr lang="en-US" sz="1600">
              <a:solidFill>
                <a:schemeClr val="bg1"/>
              </a:solidFill>
              <a:latin typeface="Roboto" panose="02000000000000000000" pitchFamily="2" charset="0"/>
              <a:ea typeface="Roboto" panose="02000000000000000000" pitchFamily="2" charset="0"/>
              <a:cs typeface="Roboto" charset="0"/>
            </a:endParaRPr>
          </a:p>
        </p:txBody>
      </p:sp>
      <p:pic>
        <p:nvPicPr>
          <p:cNvPr id="14" name="Picture 13">
            <a:extLst>
              <a:ext uri="{FF2B5EF4-FFF2-40B4-BE49-F238E27FC236}">
                <a16:creationId xmlns:a16="http://schemas.microsoft.com/office/drawing/2014/main" id="{A1640658-5166-E943-BB94-DD403AE23C38}"/>
              </a:ext>
            </a:extLst>
          </p:cNvPr>
          <p:cNvPicPr>
            <a:picLocks noChangeAspect="1"/>
          </p:cNvPicPr>
          <p:nvPr userDrawn="1"/>
        </p:nvPicPr>
        <p:blipFill>
          <a:blip r:embed="rId2"/>
          <a:stretch>
            <a:fillRect/>
          </a:stretch>
        </p:blipFill>
        <p:spPr>
          <a:xfrm>
            <a:off x="9458461" y="6007608"/>
            <a:ext cx="2478024" cy="849901"/>
          </a:xfrm>
          <a:prstGeom prst="rect">
            <a:avLst/>
          </a:prstGeom>
        </p:spPr>
      </p:pic>
      <p:sp>
        <p:nvSpPr>
          <p:cNvPr id="42" name="TextBox 41">
            <a:extLst>
              <a:ext uri="{FF2B5EF4-FFF2-40B4-BE49-F238E27FC236}">
                <a16:creationId xmlns:a16="http://schemas.microsoft.com/office/drawing/2014/main" id="{6B79F160-49C1-BE40-9B17-29BC0FEDEC1D}"/>
              </a:ext>
            </a:extLst>
          </p:cNvPr>
          <p:cNvSpPr txBox="1"/>
          <p:nvPr userDrawn="1"/>
        </p:nvSpPr>
        <p:spPr>
          <a:xfrm>
            <a:off x="12353544" y="3346704"/>
            <a:ext cx="0" cy="0"/>
          </a:xfrm>
          <a:prstGeom prst="rect">
            <a:avLst/>
          </a:prstGeom>
          <a:noFill/>
        </p:spPr>
        <p:txBody>
          <a:bodyPr wrap="none" lIns="0" tIns="0" rIns="0" bIns="0" rtlCol="0">
            <a:noAutofit/>
          </a:bodyPr>
          <a:lstStyle/>
          <a:p>
            <a:pPr algn="l">
              <a:lnSpc>
                <a:spcPct val="90000"/>
              </a:lnSpc>
              <a:spcAft>
                <a:spcPts val="1000"/>
              </a:spcAft>
            </a:pPr>
            <a:endParaRPr lang="en-US">
              <a:latin typeface="Roboto" panose="02000000000000000000" pitchFamily="2" charset="0"/>
              <a:ea typeface="Roboto" panose="02000000000000000000" pitchFamily="2" charset="0"/>
              <a:cs typeface="Roboto" charset="0"/>
            </a:endParaRPr>
          </a:p>
        </p:txBody>
      </p:sp>
      <p:cxnSp>
        <p:nvCxnSpPr>
          <p:cNvPr id="21" name="Straight Connector 20">
            <a:extLst>
              <a:ext uri="{FF2B5EF4-FFF2-40B4-BE49-F238E27FC236}">
                <a16:creationId xmlns:a16="http://schemas.microsoft.com/office/drawing/2014/main" id="{A8D9DBDD-1A8F-D041-8655-1C53D632E106}"/>
              </a:ext>
            </a:extLst>
          </p:cNvPr>
          <p:cNvCxnSpPr>
            <a:cxnSpLocks/>
          </p:cNvCxnSpPr>
          <p:nvPr userDrawn="1"/>
        </p:nvCxnSpPr>
        <p:spPr>
          <a:xfrm>
            <a:off x="1241751" y="1956269"/>
            <a:ext cx="358449"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4040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_option 2 w/ headshot">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98F7C93-3EAF-8F41-BCCE-44689F0C0324}"/>
              </a:ext>
            </a:extLst>
          </p:cNvPr>
          <p:cNvSpPr/>
          <p:nvPr userDrawn="1"/>
        </p:nvSpPr>
        <p:spPr>
          <a:xfrm>
            <a:off x="0" y="-75"/>
            <a:ext cx="12188825" cy="6857509"/>
          </a:xfrm>
          <a:prstGeom prst="rect">
            <a:avLst/>
          </a:prstGeom>
          <a:gradFill>
            <a:gsLst>
              <a:gs pos="0">
                <a:schemeClr val="accent2"/>
              </a:gs>
              <a:gs pos="76000">
                <a:srgbClr val="FF6500"/>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rIns="137160" bIns="91440" rtlCol="0" anchor="ctr">
            <a:noAutofit/>
          </a:bodyPr>
          <a:lstStyle/>
          <a:p>
            <a:pPr lvl="0"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29" name="Freeform 28">
            <a:extLst>
              <a:ext uri="{FF2B5EF4-FFF2-40B4-BE49-F238E27FC236}">
                <a16:creationId xmlns:a16="http://schemas.microsoft.com/office/drawing/2014/main" id="{C2361DA9-ED0A-9945-BFD7-FC998E37B28B}"/>
              </a:ext>
            </a:extLst>
          </p:cNvPr>
          <p:cNvSpPr/>
          <p:nvPr userDrawn="1"/>
        </p:nvSpPr>
        <p:spPr>
          <a:xfrm>
            <a:off x="7407017" y="4547198"/>
            <a:ext cx="4785372" cy="2310802"/>
          </a:xfrm>
          <a:custGeom>
            <a:avLst/>
            <a:gdLst>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16268 w 4717029"/>
              <a:gd name="connsiteY12" fmla="*/ 1924881 h 2310802"/>
              <a:gd name="connsiteX13" fmla="*/ 537304 w 4717029"/>
              <a:gd name="connsiteY13" fmla="*/ 1927002 h 2310802"/>
              <a:gd name="connsiteX14" fmla="*/ 555320 w 4717029"/>
              <a:gd name="connsiteY14" fmla="*/ 1748290 h 2310802"/>
              <a:gd name="connsiteX15" fmla="*/ 1458267 w 4717029"/>
              <a:gd name="connsiteY15" fmla="*/ 1012367 h 2310802"/>
              <a:gd name="connsiteX16" fmla="*/ 2307510 w 4717029"/>
              <a:gd name="connsiteY16" fmla="*/ 1575283 h 2310802"/>
              <a:gd name="connsiteX17" fmla="*/ 2359658 w 4717029"/>
              <a:gd name="connsiteY17" fmla="*/ 1743278 h 2310802"/>
              <a:gd name="connsiteX18" fmla="*/ 2697671 w 4717029"/>
              <a:gd name="connsiteY18" fmla="*/ 1743278 h 2310802"/>
              <a:gd name="connsiteX19" fmla="*/ 2691684 w 4717029"/>
              <a:gd name="connsiteY19" fmla="*/ 1683894 h 2310802"/>
              <a:gd name="connsiteX20" fmla="*/ 3479644 w 4717029"/>
              <a:gd name="connsiteY20" fmla="*/ 895934 h 2310802"/>
              <a:gd name="connsiteX21" fmla="*/ 3555657 w 4717029"/>
              <a:gd name="connsiteY21" fmla="*/ 899772 h 2310802"/>
              <a:gd name="connsiteX22" fmla="*/ 3556684 w 4717029"/>
              <a:gd name="connsiteY22" fmla="*/ 889585 h 2310802"/>
              <a:gd name="connsiteX23" fmla="*/ 4648168 w 4717029"/>
              <a:gd name="connsiteY23"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16268 w 4717029"/>
              <a:gd name="connsiteY12" fmla="*/ 1924881 h 2310802"/>
              <a:gd name="connsiteX13" fmla="*/ 555320 w 4717029"/>
              <a:gd name="connsiteY13" fmla="*/ 1748290 h 2310802"/>
              <a:gd name="connsiteX14" fmla="*/ 1458267 w 4717029"/>
              <a:gd name="connsiteY14" fmla="*/ 1012367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55320 w 4717029"/>
              <a:gd name="connsiteY13" fmla="*/ 1748290 h 2310802"/>
              <a:gd name="connsiteX14" fmla="*/ 1458267 w 4717029"/>
              <a:gd name="connsiteY14" fmla="*/ 1012367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55320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55320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55320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73608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73608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73608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526847 w 4717029"/>
              <a:gd name="connsiteY14" fmla="*/ 101693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479620 w 4717029"/>
              <a:gd name="connsiteY14" fmla="*/ 1020114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57416 w 4717029"/>
              <a:gd name="connsiteY12" fmla="*/ 1883733 h 2310802"/>
              <a:gd name="connsiteX13" fmla="*/ 56903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6903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48168 w 4717029"/>
              <a:gd name="connsiteY0" fmla="*/ 0 h 2310802"/>
              <a:gd name="connsiteX1" fmla="*/ 4717029 w 4717029"/>
              <a:gd name="connsiteY1" fmla="*/ 3477 h 2310802"/>
              <a:gd name="connsiteX2" fmla="*/ 4717029 w 4717029"/>
              <a:gd name="connsiteY2" fmla="*/ 2224761 h 2310802"/>
              <a:gd name="connsiteX3" fmla="*/ 4648168 w 4717029"/>
              <a:gd name="connsiteY3" fmla="*/ 2228238 h 2310802"/>
              <a:gd name="connsiteX4" fmla="*/ 4165151 w 4717029"/>
              <a:gd name="connsiteY4" fmla="*/ 2118374 h 2310802"/>
              <a:gd name="connsiteX5" fmla="*/ 4143184 w 4717029"/>
              <a:gd name="connsiteY5" fmla="*/ 2105748 h 2310802"/>
              <a:gd name="connsiteX6" fmla="*/ 4133033 w 4717029"/>
              <a:gd name="connsiteY6" fmla="*/ 2124450 h 2310802"/>
              <a:gd name="connsiteX7" fmla="*/ 4036816 w 4717029"/>
              <a:gd name="connsiteY7" fmla="*/ 2241066 h 2310802"/>
              <a:gd name="connsiteX8" fmla="*/ 3957885 w 4717029"/>
              <a:gd name="connsiteY8" fmla="*/ 2306190 h 2310802"/>
              <a:gd name="connsiteX9" fmla="*/ 3957885 w 4717029"/>
              <a:gd name="connsiteY9" fmla="*/ 2310802 h 2310802"/>
              <a:gd name="connsiteX10" fmla="*/ 0 w 4717029"/>
              <a:gd name="connsiteY10" fmla="*/ 2310802 h 2310802"/>
              <a:gd name="connsiteX11" fmla="*/ 17086 w 4717029"/>
              <a:gd name="connsiteY11" fmla="*/ 2255761 h 2310802"/>
              <a:gd name="connsiteX12" fmla="*/ 522783 w 4717029"/>
              <a:gd name="connsiteY12" fmla="*/ 1890083 h 2310802"/>
              <a:gd name="connsiteX13" fmla="*/ 546996 w 4717029"/>
              <a:gd name="connsiteY13" fmla="*/ 1748290 h 2310802"/>
              <a:gd name="connsiteX14" fmla="*/ 1476471 w 4717029"/>
              <a:gd name="connsiteY14" fmla="*/ 1035989 h 2310802"/>
              <a:gd name="connsiteX15" fmla="*/ 2307510 w 4717029"/>
              <a:gd name="connsiteY15" fmla="*/ 1575283 h 2310802"/>
              <a:gd name="connsiteX16" fmla="*/ 2359658 w 4717029"/>
              <a:gd name="connsiteY16" fmla="*/ 1743278 h 2310802"/>
              <a:gd name="connsiteX17" fmla="*/ 2697671 w 4717029"/>
              <a:gd name="connsiteY17" fmla="*/ 1743278 h 2310802"/>
              <a:gd name="connsiteX18" fmla="*/ 2691684 w 4717029"/>
              <a:gd name="connsiteY18" fmla="*/ 1683894 h 2310802"/>
              <a:gd name="connsiteX19" fmla="*/ 3479644 w 4717029"/>
              <a:gd name="connsiteY19" fmla="*/ 895934 h 2310802"/>
              <a:gd name="connsiteX20" fmla="*/ 3555657 w 4717029"/>
              <a:gd name="connsiteY20" fmla="*/ 899772 h 2310802"/>
              <a:gd name="connsiteX21" fmla="*/ 3556684 w 4717029"/>
              <a:gd name="connsiteY21" fmla="*/ 889585 h 2310802"/>
              <a:gd name="connsiteX22" fmla="*/ 4648168 w 4717029"/>
              <a:gd name="connsiteY22" fmla="*/ 0 h 2310802"/>
              <a:gd name="connsiteX0" fmla="*/ 4676504 w 4745365"/>
              <a:gd name="connsiteY0" fmla="*/ 0 h 2310802"/>
              <a:gd name="connsiteX1" fmla="*/ 4745365 w 4745365"/>
              <a:gd name="connsiteY1" fmla="*/ 3477 h 2310802"/>
              <a:gd name="connsiteX2" fmla="*/ 4745365 w 4745365"/>
              <a:gd name="connsiteY2" fmla="*/ 2224761 h 2310802"/>
              <a:gd name="connsiteX3" fmla="*/ 4676504 w 4745365"/>
              <a:gd name="connsiteY3" fmla="*/ 2228238 h 2310802"/>
              <a:gd name="connsiteX4" fmla="*/ 4193487 w 4745365"/>
              <a:gd name="connsiteY4" fmla="*/ 2118374 h 2310802"/>
              <a:gd name="connsiteX5" fmla="*/ 4171520 w 4745365"/>
              <a:gd name="connsiteY5" fmla="*/ 2105748 h 2310802"/>
              <a:gd name="connsiteX6" fmla="*/ 4161369 w 4745365"/>
              <a:gd name="connsiteY6" fmla="*/ 2124450 h 2310802"/>
              <a:gd name="connsiteX7" fmla="*/ 4065152 w 4745365"/>
              <a:gd name="connsiteY7" fmla="*/ 2241066 h 2310802"/>
              <a:gd name="connsiteX8" fmla="*/ 3986221 w 4745365"/>
              <a:gd name="connsiteY8" fmla="*/ 2306190 h 2310802"/>
              <a:gd name="connsiteX9" fmla="*/ 3986221 w 4745365"/>
              <a:gd name="connsiteY9" fmla="*/ 2310802 h 2310802"/>
              <a:gd name="connsiteX10" fmla="*/ 0 w 4745365"/>
              <a:gd name="connsiteY10" fmla="*/ 2310802 h 2310802"/>
              <a:gd name="connsiteX11" fmla="*/ 45422 w 4745365"/>
              <a:gd name="connsiteY11" fmla="*/ 2255761 h 2310802"/>
              <a:gd name="connsiteX12" fmla="*/ 551119 w 4745365"/>
              <a:gd name="connsiteY12" fmla="*/ 1890083 h 2310802"/>
              <a:gd name="connsiteX13" fmla="*/ 575332 w 4745365"/>
              <a:gd name="connsiteY13" fmla="*/ 1748290 h 2310802"/>
              <a:gd name="connsiteX14" fmla="*/ 1504807 w 4745365"/>
              <a:gd name="connsiteY14" fmla="*/ 1035989 h 2310802"/>
              <a:gd name="connsiteX15" fmla="*/ 2335846 w 4745365"/>
              <a:gd name="connsiteY15" fmla="*/ 1575283 h 2310802"/>
              <a:gd name="connsiteX16" fmla="*/ 2387994 w 4745365"/>
              <a:gd name="connsiteY16" fmla="*/ 1743278 h 2310802"/>
              <a:gd name="connsiteX17" fmla="*/ 2726007 w 4745365"/>
              <a:gd name="connsiteY17" fmla="*/ 1743278 h 2310802"/>
              <a:gd name="connsiteX18" fmla="*/ 2720020 w 4745365"/>
              <a:gd name="connsiteY18" fmla="*/ 1683894 h 2310802"/>
              <a:gd name="connsiteX19" fmla="*/ 3507980 w 4745365"/>
              <a:gd name="connsiteY19" fmla="*/ 895934 h 2310802"/>
              <a:gd name="connsiteX20" fmla="*/ 3583993 w 4745365"/>
              <a:gd name="connsiteY20" fmla="*/ 899772 h 2310802"/>
              <a:gd name="connsiteX21" fmla="*/ 3585020 w 4745365"/>
              <a:gd name="connsiteY21" fmla="*/ 889585 h 2310802"/>
              <a:gd name="connsiteX22" fmla="*/ 4676504 w 4745365"/>
              <a:gd name="connsiteY22" fmla="*/ 0 h 2310802"/>
              <a:gd name="connsiteX0" fmla="*/ 4676504 w 4745365"/>
              <a:gd name="connsiteY0" fmla="*/ 0 h 2310802"/>
              <a:gd name="connsiteX1" fmla="*/ 4745365 w 4745365"/>
              <a:gd name="connsiteY1" fmla="*/ 3477 h 2310802"/>
              <a:gd name="connsiteX2" fmla="*/ 4745365 w 4745365"/>
              <a:gd name="connsiteY2" fmla="*/ 2224761 h 2310802"/>
              <a:gd name="connsiteX3" fmla="*/ 4676504 w 4745365"/>
              <a:gd name="connsiteY3" fmla="*/ 2228238 h 2310802"/>
              <a:gd name="connsiteX4" fmla="*/ 4193487 w 4745365"/>
              <a:gd name="connsiteY4" fmla="*/ 2118374 h 2310802"/>
              <a:gd name="connsiteX5" fmla="*/ 4171520 w 4745365"/>
              <a:gd name="connsiteY5" fmla="*/ 2105748 h 2310802"/>
              <a:gd name="connsiteX6" fmla="*/ 4161369 w 4745365"/>
              <a:gd name="connsiteY6" fmla="*/ 2124450 h 2310802"/>
              <a:gd name="connsiteX7" fmla="*/ 4065152 w 4745365"/>
              <a:gd name="connsiteY7" fmla="*/ 2241066 h 2310802"/>
              <a:gd name="connsiteX8" fmla="*/ 3986221 w 4745365"/>
              <a:gd name="connsiteY8" fmla="*/ 2306190 h 2310802"/>
              <a:gd name="connsiteX9" fmla="*/ 3986221 w 4745365"/>
              <a:gd name="connsiteY9" fmla="*/ 2310802 h 2310802"/>
              <a:gd name="connsiteX10" fmla="*/ 0 w 4745365"/>
              <a:gd name="connsiteY10" fmla="*/ 2310802 h 2310802"/>
              <a:gd name="connsiteX11" fmla="*/ 35977 w 4745365"/>
              <a:gd name="connsiteY11" fmla="*/ 2249411 h 2310802"/>
              <a:gd name="connsiteX12" fmla="*/ 551119 w 4745365"/>
              <a:gd name="connsiteY12" fmla="*/ 1890083 h 2310802"/>
              <a:gd name="connsiteX13" fmla="*/ 575332 w 4745365"/>
              <a:gd name="connsiteY13" fmla="*/ 1748290 h 2310802"/>
              <a:gd name="connsiteX14" fmla="*/ 1504807 w 4745365"/>
              <a:gd name="connsiteY14" fmla="*/ 1035989 h 2310802"/>
              <a:gd name="connsiteX15" fmla="*/ 2335846 w 4745365"/>
              <a:gd name="connsiteY15" fmla="*/ 1575283 h 2310802"/>
              <a:gd name="connsiteX16" fmla="*/ 2387994 w 4745365"/>
              <a:gd name="connsiteY16" fmla="*/ 1743278 h 2310802"/>
              <a:gd name="connsiteX17" fmla="*/ 2726007 w 4745365"/>
              <a:gd name="connsiteY17" fmla="*/ 1743278 h 2310802"/>
              <a:gd name="connsiteX18" fmla="*/ 2720020 w 4745365"/>
              <a:gd name="connsiteY18" fmla="*/ 1683894 h 2310802"/>
              <a:gd name="connsiteX19" fmla="*/ 3507980 w 4745365"/>
              <a:gd name="connsiteY19" fmla="*/ 895934 h 2310802"/>
              <a:gd name="connsiteX20" fmla="*/ 3583993 w 4745365"/>
              <a:gd name="connsiteY20" fmla="*/ 899772 h 2310802"/>
              <a:gd name="connsiteX21" fmla="*/ 3585020 w 4745365"/>
              <a:gd name="connsiteY21" fmla="*/ 889585 h 2310802"/>
              <a:gd name="connsiteX22" fmla="*/ 4676504 w 4745365"/>
              <a:gd name="connsiteY22" fmla="*/ 0 h 2310802"/>
              <a:gd name="connsiteX0" fmla="*/ 4676504 w 4745365"/>
              <a:gd name="connsiteY0" fmla="*/ 0 h 2310802"/>
              <a:gd name="connsiteX1" fmla="*/ 4745365 w 4745365"/>
              <a:gd name="connsiteY1" fmla="*/ 3477 h 2310802"/>
              <a:gd name="connsiteX2" fmla="*/ 4745365 w 4745365"/>
              <a:gd name="connsiteY2" fmla="*/ 2224761 h 2310802"/>
              <a:gd name="connsiteX3" fmla="*/ 4676504 w 4745365"/>
              <a:gd name="connsiteY3" fmla="*/ 2228238 h 2310802"/>
              <a:gd name="connsiteX4" fmla="*/ 4193487 w 4745365"/>
              <a:gd name="connsiteY4" fmla="*/ 2118374 h 2310802"/>
              <a:gd name="connsiteX5" fmla="*/ 4171520 w 4745365"/>
              <a:gd name="connsiteY5" fmla="*/ 2105748 h 2310802"/>
              <a:gd name="connsiteX6" fmla="*/ 4161369 w 4745365"/>
              <a:gd name="connsiteY6" fmla="*/ 2124450 h 2310802"/>
              <a:gd name="connsiteX7" fmla="*/ 4065152 w 4745365"/>
              <a:gd name="connsiteY7" fmla="*/ 2241066 h 2310802"/>
              <a:gd name="connsiteX8" fmla="*/ 3986221 w 4745365"/>
              <a:gd name="connsiteY8" fmla="*/ 2306190 h 2310802"/>
              <a:gd name="connsiteX9" fmla="*/ 3986221 w 4745365"/>
              <a:gd name="connsiteY9" fmla="*/ 2310802 h 2310802"/>
              <a:gd name="connsiteX10" fmla="*/ 0 w 4745365"/>
              <a:gd name="connsiteY10" fmla="*/ 2310802 h 2310802"/>
              <a:gd name="connsiteX11" fmla="*/ 35977 w 4745365"/>
              <a:gd name="connsiteY11" fmla="*/ 2249411 h 2310802"/>
              <a:gd name="connsiteX12" fmla="*/ 551119 w 4745365"/>
              <a:gd name="connsiteY12" fmla="*/ 1890083 h 2310802"/>
              <a:gd name="connsiteX13" fmla="*/ 575332 w 4745365"/>
              <a:gd name="connsiteY13" fmla="*/ 1748290 h 2310802"/>
              <a:gd name="connsiteX14" fmla="*/ 1504807 w 4745365"/>
              <a:gd name="connsiteY14" fmla="*/ 1035989 h 2310802"/>
              <a:gd name="connsiteX15" fmla="*/ 2335846 w 4745365"/>
              <a:gd name="connsiteY15" fmla="*/ 1575283 h 2310802"/>
              <a:gd name="connsiteX16" fmla="*/ 2387994 w 4745365"/>
              <a:gd name="connsiteY16" fmla="*/ 1743278 h 2310802"/>
              <a:gd name="connsiteX17" fmla="*/ 2726007 w 4745365"/>
              <a:gd name="connsiteY17" fmla="*/ 1743278 h 2310802"/>
              <a:gd name="connsiteX18" fmla="*/ 2720020 w 4745365"/>
              <a:gd name="connsiteY18" fmla="*/ 1683894 h 2310802"/>
              <a:gd name="connsiteX19" fmla="*/ 3507980 w 4745365"/>
              <a:gd name="connsiteY19" fmla="*/ 895934 h 2310802"/>
              <a:gd name="connsiteX20" fmla="*/ 3583993 w 4745365"/>
              <a:gd name="connsiteY20" fmla="*/ 899772 h 2310802"/>
              <a:gd name="connsiteX21" fmla="*/ 3585020 w 4745365"/>
              <a:gd name="connsiteY21" fmla="*/ 889585 h 2310802"/>
              <a:gd name="connsiteX22" fmla="*/ 4676504 w 4745365"/>
              <a:gd name="connsiteY22" fmla="*/ 0 h 2310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45365" h="2310802">
                <a:moveTo>
                  <a:pt x="4676504" y="0"/>
                </a:moveTo>
                <a:lnTo>
                  <a:pt x="4745365" y="3477"/>
                </a:lnTo>
                <a:lnTo>
                  <a:pt x="4745365" y="2224761"/>
                </a:lnTo>
                <a:lnTo>
                  <a:pt x="4676504" y="2228238"/>
                </a:lnTo>
                <a:cubicBezTo>
                  <a:pt x="4503447" y="2228238"/>
                  <a:pt x="4339607" y="2188782"/>
                  <a:pt x="4193487" y="2118374"/>
                </a:cubicBezTo>
                <a:lnTo>
                  <a:pt x="4171520" y="2105748"/>
                </a:lnTo>
                <a:lnTo>
                  <a:pt x="4161369" y="2124450"/>
                </a:lnTo>
                <a:cubicBezTo>
                  <a:pt x="4133048" y="2166370"/>
                  <a:pt x="4100800" y="2205418"/>
                  <a:pt x="4065152" y="2241066"/>
                </a:cubicBezTo>
                <a:lnTo>
                  <a:pt x="3986221" y="2306190"/>
                </a:lnTo>
                <a:lnTo>
                  <a:pt x="3986221" y="2310802"/>
                </a:lnTo>
                <a:lnTo>
                  <a:pt x="0" y="2310802"/>
                </a:lnTo>
                <a:lnTo>
                  <a:pt x="35977" y="2249411"/>
                </a:lnTo>
                <a:cubicBezTo>
                  <a:pt x="146556" y="2054967"/>
                  <a:pt x="326716" y="1890083"/>
                  <a:pt x="551119" y="1890083"/>
                </a:cubicBezTo>
                <a:cubicBezTo>
                  <a:pt x="553569" y="1819535"/>
                  <a:pt x="576031" y="1793438"/>
                  <a:pt x="575332" y="1748290"/>
                </a:cubicBezTo>
                <a:cubicBezTo>
                  <a:pt x="699055" y="1334650"/>
                  <a:pt x="1082288" y="1035078"/>
                  <a:pt x="1504807" y="1035989"/>
                </a:cubicBezTo>
                <a:cubicBezTo>
                  <a:pt x="1865747" y="1036767"/>
                  <a:pt x="2195928" y="1244481"/>
                  <a:pt x="2335846" y="1575283"/>
                </a:cubicBezTo>
                <a:lnTo>
                  <a:pt x="2387994" y="1743278"/>
                </a:lnTo>
                <a:lnTo>
                  <a:pt x="2726007" y="1743278"/>
                </a:lnTo>
                <a:lnTo>
                  <a:pt x="2720020" y="1683894"/>
                </a:lnTo>
                <a:cubicBezTo>
                  <a:pt x="2720020" y="1248716"/>
                  <a:pt x="3072802" y="895934"/>
                  <a:pt x="3507980" y="895934"/>
                </a:cubicBezTo>
                <a:lnTo>
                  <a:pt x="3583993" y="899772"/>
                </a:lnTo>
                <a:cubicBezTo>
                  <a:pt x="3584335" y="896376"/>
                  <a:pt x="3584678" y="892981"/>
                  <a:pt x="3585020" y="889585"/>
                </a:cubicBezTo>
                <a:cubicBezTo>
                  <a:pt x="3688907" y="381900"/>
                  <a:pt x="4138107" y="0"/>
                  <a:pt x="467650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rIns="137160" bIns="91440" rtlCol="0" anchor="ctr">
            <a:noAutofit/>
          </a:bodyP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9" name="Text Placeholder 16">
            <a:extLst>
              <a:ext uri="{FF2B5EF4-FFF2-40B4-BE49-F238E27FC236}">
                <a16:creationId xmlns:a16="http://schemas.microsoft.com/office/drawing/2014/main" id="{4B172E08-CDCC-2845-9F3E-1B39286DEDFF}"/>
              </a:ext>
            </a:extLst>
          </p:cNvPr>
          <p:cNvSpPr>
            <a:spLocks noGrp="1"/>
          </p:cNvSpPr>
          <p:nvPr>
            <p:ph type="body" sz="quarter" idx="10" hasCustomPrompt="1"/>
          </p:nvPr>
        </p:nvSpPr>
        <p:spPr bwMode="gray">
          <a:xfrm>
            <a:off x="1161225" y="1251522"/>
            <a:ext cx="6369780" cy="648398"/>
          </a:xfrm>
          <a:prstGeom prst="rect">
            <a:avLst/>
          </a:prstGeom>
        </p:spPr>
        <p:txBody>
          <a:bodyPr anchor="b" anchorCtr="0"/>
          <a:lstStyle>
            <a:lvl1pPr marL="0" indent="0">
              <a:lnSpc>
                <a:spcPct val="95000"/>
              </a:lnSpc>
              <a:spcBef>
                <a:spcPts val="0"/>
              </a:spcBef>
              <a:spcAft>
                <a:spcPts val="0"/>
              </a:spcAft>
              <a:buNone/>
              <a:defRPr sz="2400" b="0" i="0">
                <a:solidFill>
                  <a:schemeClr val="bg1"/>
                </a:solidFill>
                <a:latin typeface="+mj-lt"/>
                <a:ea typeface="Roboto" panose="02000000000000000000" pitchFamily="2" charset="0"/>
                <a:cs typeface="Roboto" panose="02000000000000000000" pitchFamily="2" charset="0"/>
              </a:defRPr>
            </a:lvl1pPr>
            <a:lvl2pPr marL="457108" indent="0">
              <a:buNone/>
              <a:defRPr/>
            </a:lvl2pPr>
            <a:lvl3pPr marL="914217" indent="0">
              <a:buNone/>
              <a:defRPr/>
            </a:lvl3pPr>
            <a:lvl4pPr marL="1371326" indent="0">
              <a:buNone/>
              <a:defRPr/>
            </a:lvl4pPr>
            <a:lvl5pPr marL="1828435" indent="0">
              <a:buNone/>
              <a:defRPr/>
            </a:lvl5pPr>
          </a:lstStyle>
          <a:p>
            <a:pPr lvl="0"/>
            <a:r>
              <a:rPr lang="en-US"/>
              <a:t>Date Roboto Light 20 Point</a:t>
            </a:r>
          </a:p>
        </p:txBody>
      </p:sp>
      <p:sp>
        <p:nvSpPr>
          <p:cNvPr id="15" name="Text Placeholder 23">
            <a:extLst>
              <a:ext uri="{FF2B5EF4-FFF2-40B4-BE49-F238E27FC236}">
                <a16:creationId xmlns:a16="http://schemas.microsoft.com/office/drawing/2014/main" id="{72E6729F-10D3-874C-B648-888F614371EF}"/>
              </a:ext>
            </a:extLst>
          </p:cNvPr>
          <p:cNvSpPr>
            <a:spLocks noGrp="1"/>
          </p:cNvSpPr>
          <p:nvPr>
            <p:ph type="body" sz="quarter" idx="11" hasCustomPrompt="1"/>
          </p:nvPr>
        </p:nvSpPr>
        <p:spPr bwMode="gray">
          <a:xfrm>
            <a:off x="1161224" y="2629671"/>
            <a:ext cx="7039701" cy="2102713"/>
          </a:xfrm>
          <a:prstGeom prst="rect">
            <a:avLst/>
          </a:prstGeom>
        </p:spPr>
        <p:txBody>
          <a:bodyPr anchor="ctr" anchorCtr="0"/>
          <a:lstStyle>
            <a:lvl1pPr marL="0" indent="0">
              <a:spcBef>
                <a:spcPts val="600"/>
              </a:spcBef>
              <a:buNone/>
              <a:defRPr sz="5400" b="0" i="0">
                <a:solidFill>
                  <a:schemeClr val="bg1"/>
                </a:solidFill>
                <a:latin typeface="+mj-lt"/>
                <a:ea typeface="Roboto Light" panose="02000000000000000000" pitchFamily="2" charset="0"/>
                <a:cs typeface="Roboto Light" panose="02000000000000000000" pitchFamily="2" charset="0"/>
              </a:defRPr>
            </a:lvl1pPr>
            <a:lvl2pPr marL="457108" indent="0">
              <a:buNone/>
              <a:defRPr/>
            </a:lvl2pPr>
            <a:lvl3pPr marL="914217" indent="0">
              <a:buNone/>
              <a:defRPr/>
            </a:lvl3pPr>
            <a:lvl4pPr marL="1371326" indent="0">
              <a:buNone/>
              <a:defRPr/>
            </a:lvl4pPr>
            <a:lvl5pPr marL="1828435" indent="0">
              <a:buNone/>
              <a:defRPr/>
            </a:lvl5pPr>
          </a:lstStyle>
          <a:p>
            <a:r>
              <a:rPr lang="en-US"/>
              <a:t>Title Goes Here Roboto Light 54 Point</a:t>
            </a:r>
          </a:p>
        </p:txBody>
      </p:sp>
      <p:sp>
        <p:nvSpPr>
          <p:cNvPr id="16" name="Text Placeholder 25">
            <a:extLst>
              <a:ext uri="{FF2B5EF4-FFF2-40B4-BE49-F238E27FC236}">
                <a16:creationId xmlns:a16="http://schemas.microsoft.com/office/drawing/2014/main" id="{646CD88F-0893-474C-8B77-C007ECB6A676}"/>
              </a:ext>
            </a:extLst>
          </p:cNvPr>
          <p:cNvSpPr>
            <a:spLocks noGrp="1"/>
          </p:cNvSpPr>
          <p:nvPr>
            <p:ph type="body" sz="quarter" idx="12" hasCustomPrompt="1"/>
          </p:nvPr>
        </p:nvSpPr>
        <p:spPr bwMode="gray">
          <a:xfrm>
            <a:off x="1161225" y="4908299"/>
            <a:ext cx="6393330" cy="289576"/>
          </a:xfrm>
          <a:prstGeom prst="rect">
            <a:avLst/>
          </a:prstGeom>
        </p:spPr>
        <p:txBody>
          <a:bodyPr/>
          <a:lstStyle>
            <a:lvl1pPr marL="0" indent="0">
              <a:buNone/>
              <a:defRPr b="0" i="0" baseline="0">
                <a:solidFill>
                  <a:schemeClr val="bg1"/>
                </a:solidFill>
                <a:latin typeface="Roboto" panose="02000000000000000000" pitchFamily="2" charset="0"/>
                <a:ea typeface="Roboto" panose="02000000000000000000" pitchFamily="2" charset="0"/>
                <a:cs typeface="Roboto" panose="02000000000000000000" pitchFamily="2" charset="0"/>
              </a:defRPr>
            </a:lvl1pPr>
            <a:lvl2pPr marL="457108" indent="0">
              <a:buNone/>
              <a:defRPr/>
            </a:lvl2pPr>
            <a:lvl3pPr marL="914217" indent="0">
              <a:buNone/>
              <a:defRPr/>
            </a:lvl3pPr>
            <a:lvl4pPr marL="1371326" indent="0">
              <a:buNone/>
              <a:defRPr/>
            </a:lvl4pPr>
            <a:lvl5pPr marL="1828435" indent="0">
              <a:buNone/>
              <a:defRPr/>
            </a:lvl5pPr>
          </a:lstStyle>
          <a:p>
            <a:pPr lvl="0"/>
            <a:r>
              <a:rPr lang="en-US"/>
              <a:t>Speaker Name, Roboto Regular 20 Point</a:t>
            </a:r>
          </a:p>
        </p:txBody>
      </p:sp>
      <p:sp>
        <p:nvSpPr>
          <p:cNvPr id="17" name="Text Placeholder 27">
            <a:extLst>
              <a:ext uri="{FF2B5EF4-FFF2-40B4-BE49-F238E27FC236}">
                <a16:creationId xmlns:a16="http://schemas.microsoft.com/office/drawing/2014/main" id="{2FE02546-0BBB-5E4F-8595-0FEDF2169431}"/>
              </a:ext>
            </a:extLst>
          </p:cNvPr>
          <p:cNvSpPr>
            <a:spLocks noGrp="1"/>
          </p:cNvSpPr>
          <p:nvPr>
            <p:ph type="body" sz="quarter" idx="13" hasCustomPrompt="1"/>
          </p:nvPr>
        </p:nvSpPr>
        <p:spPr bwMode="gray">
          <a:xfrm>
            <a:off x="1161225" y="5294969"/>
            <a:ext cx="6393330" cy="291041"/>
          </a:xfrm>
          <a:prstGeom prst="rect">
            <a:avLst/>
          </a:prstGeom>
        </p:spPr>
        <p:txBody>
          <a:bodyPr/>
          <a:lstStyle>
            <a:lvl1pPr marL="0" indent="0">
              <a:buNone/>
              <a:defRPr i="1" baseline="0">
                <a:solidFill>
                  <a:schemeClr val="bg1"/>
                </a:solidFill>
                <a:latin typeface="Roboto" panose="02000000000000000000" pitchFamily="2" charset="0"/>
                <a:ea typeface="Roboto" panose="02000000000000000000" pitchFamily="2" charset="0"/>
              </a:defRPr>
            </a:lvl1pPr>
            <a:lvl2pPr marL="457108" indent="0">
              <a:buNone/>
              <a:defRPr/>
            </a:lvl2pPr>
            <a:lvl3pPr marL="914217" indent="0">
              <a:buNone/>
              <a:defRPr/>
            </a:lvl3pPr>
            <a:lvl4pPr marL="1371326" indent="0">
              <a:buNone/>
              <a:defRPr/>
            </a:lvl4pPr>
            <a:lvl5pPr marL="1828435" indent="0">
              <a:buNone/>
              <a:defRPr/>
            </a:lvl5pPr>
          </a:lstStyle>
          <a:p>
            <a:pPr lvl="0"/>
            <a:r>
              <a:rPr lang="en-US"/>
              <a:t>Speaker Title or Email, Roboto Italic 20 Point</a:t>
            </a:r>
          </a:p>
        </p:txBody>
      </p:sp>
      <p:sp>
        <p:nvSpPr>
          <p:cNvPr id="13" name="Right Triangle 12">
            <a:extLst>
              <a:ext uri="{FF2B5EF4-FFF2-40B4-BE49-F238E27FC236}">
                <a16:creationId xmlns:a16="http://schemas.microsoft.com/office/drawing/2014/main" id="{B216F28F-B699-D648-9BA9-91312449D3D2}"/>
              </a:ext>
            </a:extLst>
          </p:cNvPr>
          <p:cNvSpPr/>
          <p:nvPr userDrawn="1"/>
        </p:nvSpPr>
        <p:spPr>
          <a:xfrm flipV="1">
            <a:off x="-1" y="-4"/>
            <a:ext cx="1202409" cy="2703435"/>
          </a:xfrm>
          <a:prstGeom prst="rtTriangle">
            <a:avLst/>
          </a:prstGeom>
          <a:solidFill>
            <a:srgbClr val="0A0808"/>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40" name="Freeform 39">
            <a:extLst>
              <a:ext uri="{FF2B5EF4-FFF2-40B4-BE49-F238E27FC236}">
                <a16:creationId xmlns:a16="http://schemas.microsoft.com/office/drawing/2014/main" id="{CCF69367-A869-1148-948E-9FF2DF284864}"/>
              </a:ext>
            </a:extLst>
          </p:cNvPr>
          <p:cNvSpPr/>
          <p:nvPr userDrawn="1"/>
        </p:nvSpPr>
        <p:spPr>
          <a:xfrm>
            <a:off x="7727999" y="4675235"/>
            <a:ext cx="4461444" cy="2182765"/>
          </a:xfrm>
          <a:custGeom>
            <a:avLst/>
            <a:gdLst>
              <a:gd name="connsiteX0" fmla="*/ 4461444 w 4461444"/>
              <a:gd name="connsiteY0" fmla="*/ 0 h 2182765"/>
              <a:gd name="connsiteX1" fmla="*/ 4461444 w 4461444"/>
              <a:gd name="connsiteY1" fmla="*/ 2182765 h 2182765"/>
              <a:gd name="connsiteX2" fmla="*/ 0 w 4461444"/>
              <a:gd name="connsiteY2" fmla="*/ 2182765 h 2182765"/>
              <a:gd name="connsiteX3" fmla="*/ 24342 w 4461444"/>
              <a:gd name="connsiteY3" fmla="*/ 2153263 h 2182765"/>
              <a:gd name="connsiteX4" fmla="*/ 481037 w 4461444"/>
              <a:gd name="connsiteY4" fmla="*/ 1964093 h 2182765"/>
              <a:gd name="connsiteX5" fmla="*/ 732436 w 4461444"/>
              <a:gd name="connsiteY5" fmla="*/ 2014848 h 2182765"/>
              <a:gd name="connsiteX6" fmla="*/ 787285 w 4461444"/>
              <a:gd name="connsiteY6" fmla="*/ 2044619 h 2182765"/>
              <a:gd name="connsiteX7" fmla="*/ 809805 w 4461444"/>
              <a:gd name="connsiteY7" fmla="*/ 1961250 h 2182765"/>
              <a:gd name="connsiteX8" fmla="*/ 1286315 w 4461444"/>
              <a:gd name="connsiteY8" fmla="*/ 1550577 h 2182765"/>
              <a:gd name="connsiteX9" fmla="*/ 1321466 w 4461444"/>
              <a:gd name="connsiteY9" fmla="*/ 1547033 h 2182765"/>
              <a:gd name="connsiteX10" fmla="*/ 1323271 w 4461444"/>
              <a:gd name="connsiteY10" fmla="*/ 1529127 h 2182765"/>
              <a:gd name="connsiteX11" fmla="*/ 2205095 w 4461444"/>
              <a:gd name="connsiteY11" fmla="*/ 810420 h 2182765"/>
              <a:gd name="connsiteX12" fmla="*/ 2708356 w 4461444"/>
              <a:gd name="connsiteY12" fmla="*/ 964145 h 2182765"/>
              <a:gd name="connsiteX13" fmla="*/ 2798296 w 4461444"/>
              <a:gd name="connsiteY13" fmla="*/ 1038353 h 2182765"/>
              <a:gd name="connsiteX14" fmla="*/ 2868637 w 4461444"/>
              <a:gd name="connsiteY14" fmla="*/ 1020266 h 2182765"/>
              <a:gd name="connsiteX15" fmla="*/ 3050041 w 4461444"/>
              <a:gd name="connsiteY15" fmla="*/ 1001979 h 2182765"/>
              <a:gd name="connsiteX16" fmla="*/ 3231445 w 4461444"/>
              <a:gd name="connsiteY16" fmla="*/ 1020266 h 2182765"/>
              <a:gd name="connsiteX17" fmla="*/ 3245588 w 4461444"/>
              <a:gd name="connsiteY17" fmla="*/ 1023903 h 2182765"/>
              <a:gd name="connsiteX18" fmla="*/ 3297823 w 4461444"/>
              <a:gd name="connsiteY18" fmla="*/ 960592 h 2182765"/>
              <a:gd name="connsiteX19" fmla="*/ 3934298 w 4461444"/>
              <a:gd name="connsiteY19" fmla="*/ 696956 h 2182765"/>
              <a:gd name="connsiteX20" fmla="*/ 4115702 w 4461444"/>
              <a:gd name="connsiteY20" fmla="*/ 715243 h 2182765"/>
              <a:gd name="connsiteX21" fmla="*/ 4127211 w 4461444"/>
              <a:gd name="connsiteY21" fmla="*/ 718203 h 2182765"/>
              <a:gd name="connsiteX22" fmla="*/ 4126073 w 4461444"/>
              <a:gd name="connsiteY22" fmla="*/ 695661 h 2182765"/>
              <a:gd name="connsiteX23" fmla="*/ 4389709 w 4461444"/>
              <a:gd name="connsiteY23" fmla="*/ 59186 h 2182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461444" h="2182765">
                <a:moveTo>
                  <a:pt x="4461444" y="0"/>
                </a:moveTo>
                <a:lnTo>
                  <a:pt x="4461444" y="2182765"/>
                </a:lnTo>
                <a:lnTo>
                  <a:pt x="0" y="2182765"/>
                </a:lnTo>
                <a:lnTo>
                  <a:pt x="24342" y="2153263"/>
                </a:lnTo>
                <a:cubicBezTo>
                  <a:pt x="141221" y="2036384"/>
                  <a:pt x="302687" y="1964093"/>
                  <a:pt x="481037" y="1964093"/>
                </a:cubicBezTo>
                <a:cubicBezTo>
                  <a:pt x="570212" y="1964093"/>
                  <a:pt x="655166" y="1982166"/>
                  <a:pt x="732436" y="2014848"/>
                </a:cubicBezTo>
                <a:lnTo>
                  <a:pt x="787285" y="2044619"/>
                </a:lnTo>
                <a:lnTo>
                  <a:pt x="809805" y="1961250"/>
                </a:lnTo>
                <a:cubicBezTo>
                  <a:pt x="885867" y="1753515"/>
                  <a:pt x="1065582" y="1595745"/>
                  <a:pt x="1286315" y="1550577"/>
                </a:cubicBezTo>
                <a:lnTo>
                  <a:pt x="1321466" y="1547033"/>
                </a:lnTo>
                <a:lnTo>
                  <a:pt x="1323271" y="1529127"/>
                </a:lnTo>
                <a:cubicBezTo>
                  <a:pt x="1407203" y="1118962"/>
                  <a:pt x="1770117" y="810420"/>
                  <a:pt x="2205095" y="810420"/>
                </a:cubicBezTo>
                <a:cubicBezTo>
                  <a:pt x="2391514" y="810420"/>
                  <a:pt x="2564697" y="867091"/>
                  <a:pt x="2708356" y="964145"/>
                </a:cubicBezTo>
                <a:lnTo>
                  <a:pt x="2798296" y="1038353"/>
                </a:lnTo>
                <a:lnTo>
                  <a:pt x="2868637" y="1020266"/>
                </a:lnTo>
                <a:cubicBezTo>
                  <a:pt x="2927232" y="1008276"/>
                  <a:pt x="2987901" y="1001979"/>
                  <a:pt x="3050041" y="1001979"/>
                </a:cubicBezTo>
                <a:cubicBezTo>
                  <a:pt x="3112181" y="1001979"/>
                  <a:pt x="3172850" y="1008276"/>
                  <a:pt x="3231445" y="1020266"/>
                </a:cubicBezTo>
                <a:lnTo>
                  <a:pt x="3245588" y="1023903"/>
                </a:lnTo>
                <a:lnTo>
                  <a:pt x="3297823" y="960592"/>
                </a:lnTo>
                <a:cubicBezTo>
                  <a:pt x="3460711" y="797704"/>
                  <a:pt x="3685739" y="696956"/>
                  <a:pt x="3934298" y="696956"/>
                </a:cubicBezTo>
                <a:cubicBezTo>
                  <a:pt x="3996438" y="696956"/>
                  <a:pt x="4057107" y="703253"/>
                  <a:pt x="4115702" y="715243"/>
                </a:cubicBezTo>
                <a:lnTo>
                  <a:pt x="4127211" y="718203"/>
                </a:lnTo>
                <a:lnTo>
                  <a:pt x="4126073" y="695661"/>
                </a:lnTo>
                <a:cubicBezTo>
                  <a:pt x="4126073" y="447102"/>
                  <a:pt x="4226821" y="222074"/>
                  <a:pt x="4389709" y="59186"/>
                </a:cubicBezTo>
                <a:close/>
              </a:path>
            </a:pathLst>
          </a:custGeom>
          <a:solidFill>
            <a:schemeClr val="bg1"/>
          </a:solidFill>
          <a:ln>
            <a:noFill/>
          </a:ln>
          <a:effectLst>
            <a:outerShdw blurRad="279400" dist="76200" dir="13800000"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37160" tIns="91440" rIns="137160" bIns="91440" rtlCol="0" anchor="ctr">
            <a:noAutofit/>
          </a:bodyPr>
          <a:lstStyle/>
          <a:p>
            <a:pPr lvl="0" algn="ctr"/>
            <a:endParaRPr lang="en-US" sz="1600">
              <a:solidFill>
                <a:schemeClr val="bg1"/>
              </a:solidFill>
              <a:latin typeface="Roboto" panose="02000000000000000000" pitchFamily="2" charset="0"/>
              <a:ea typeface="Roboto" panose="02000000000000000000" pitchFamily="2" charset="0"/>
              <a:cs typeface="Roboto" charset="0"/>
            </a:endParaRPr>
          </a:p>
        </p:txBody>
      </p:sp>
      <p:pic>
        <p:nvPicPr>
          <p:cNvPr id="14" name="Picture 13">
            <a:extLst>
              <a:ext uri="{FF2B5EF4-FFF2-40B4-BE49-F238E27FC236}">
                <a16:creationId xmlns:a16="http://schemas.microsoft.com/office/drawing/2014/main" id="{A1640658-5166-E943-BB94-DD403AE23C38}"/>
              </a:ext>
            </a:extLst>
          </p:cNvPr>
          <p:cNvPicPr>
            <a:picLocks noChangeAspect="1"/>
          </p:cNvPicPr>
          <p:nvPr userDrawn="1"/>
        </p:nvPicPr>
        <p:blipFill>
          <a:blip r:embed="rId2"/>
          <a:stretch>
            <a:fillRect/>
          </a:stretch>
        </p:blipFill>
        <p:spPr>
          <a:xfrm>
            <a:off x="9458461" y="6007608"/>
            <a:ext cx="2478024" cy="849901"/>
          </a:xfrm>
          <a:prstGeom prst="rect">
            <a:avLst/>
          </a:prstGeom>
        </p:spPr>
      </p:pic>
      <p:sp>
        <p:nvSpPr>
          <p:cNvPr id="42" name="TextBox 41">
            <a:extLst>
              <a:ext uri="{FF2B5EF4-FFF2-40B4-BE49-F238E27FC236}">
                <a16:creationId xmlns:a16="http://schemas.microsoft.com/office/drawing/2014/main" id="{6B79F160-49C1-BE40-9B17-29BC0FEDEC1D}"/>
              </a:ext>
            </a:extLst>
          </p:cNvPr>
          <p:cNvSpPr txBox="1"/>
          <p:nvPr userDrawn="1"/>
        </p:nvSpPr>
        <p:spPr>
          <a:xfrm>
            <a:off x="12353544" y="3346704"/>
            <a:ext cx="0" cy="0"/>
          </a:xfrm>
          <a:prstGeom prst="rect">
            <a:avLst/>
          </a:prstGeom>
          <a:noFill/>
        </p:spPr>
        <p:txBody>
          <a:bodyPr wrap="none" lIns="0" tIns="0" rIns="0" bIns="0" rtlCol="0">
            <a:noAutofit/>
          </a:bodyPr>
          <a:lstStyle/>
          <a:p>
            <a:pPr algn="l">
              <a:lnSpc>
                <a:spcPct val="90000"/>
              </a:lnSpc>
              <a:spcAft>
                <a:spcPts val="1000"/>
              </a:spcAft>
            </a:pPr>
            <a:endParaRPr lang="en-US">
              <a:latin typeface="Roboto" panose="02000000000000000000" pitchFamily="2" charset="0"/>
              <a:ea typeface="Roboto" panose="02000000000000000000" pitchFamily="2" charset="0"/>
              <a:cs typeface="Roboto" charset="0"/>
            </a:endParaRPr>
          </a:p>
        </p:txBody>
      </p:sp>
      <p:cxnSp>
        <p:nvCxnSpPr>
          <p:cNvPr id="21" name="Straight Connector 20">
            <a:extLst>
              <a:ext uri="{FF2B5EF4-FFF2-40B4-BE49-F238E27FC236}">
                <a16:creationId xmlns:a16="http://schemas.microsoft.com/office/drawing/2014/main" id="{A8D9DBDD-1A8F-D041-8655-1C53D632E106}"/>
              </a:ext>
            </a:extLst>
          </p:cNvPr>
          <p:cNvCxnSpPr>
            <a:cxnSpLocks/>
          </p:cNvCxnSpPr>
          <p:nvPr userDrawn="1"/>
        </p:nvCxnSpPr>
        <p:spPr>
          <a:xfrm>
            <a:off x="1241751" y="1956269"/>
            <a:ext cx="358449"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Diamond 17">
            <a:extLst>
              <a:ext uri="{FF2B5EF4-FFF2-40B4-BE49-F238E27FC236}">
                <a16:creationId xmlns:a16="http://schemas.microsoft.com/office/drawing/2014/main" id="{22291FCB-13B8-DF4C-BE04-ED5865D9155F}"/>
              </a:ext>
            </a:extLst>
          </p:cNvPr>
          <p:cNvSpPr/>
          <p:nvPr userDrawn="1"/>
        </p:nvSpPr>
        <p:spPr>
          <a:xfrm>
            <a:off x="8747094" y="732346"/>
            <a:ext cx="2909484" cy="2909484"/>
          </a:xfrm>
          <a:prstGeom prst="diamond">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algn="ctr"/>
            <a:endParaRPr lang="en-US">
              <a:latin typeface="Roboto" panose="02000000000000000000" pitchFamily="2" charset="0"/>
              <a:ea typeface="Roboto" panose="02000000000000000000" pitchFamily="2" charset="0"/>
              <a:cs typeface="Roboto" charset="0"/>
            </a:endParaRPr>
          </a:p>
        </p:txBody>
      </p:sp>
      <p:sp>
        <p:nvSpPr>
          <p:cNvPr id="20" name="Picture Placeholder 6">
            <a:extLst>
              <a:ext uri="{FF2B5EF4-FFF2-40B4-BE49-F238E27FC236}">
                <a16:creationId xmlns:a16="http://schemas.microsoft.com/office/drawing/2014/main" id="{7603D8C8-3BD3-884E-98BF-50C856DE6406}"/>
              </a:ext>
            </a:extLst>
          </p:cNvPr>
          <p:cNvSpPr>
            <a:spLocks noGrp="1"/>
          </p:cNvSpPr>
          <p:nvPr>
            <p:ph type="pic" sz="quarter" idx="15" hasCustomPrompt="1"/>
          </p:nvPr>
        </p:nvSpPr>
        <p:spPr>
          <a:xfrm>
            <a:off x="8753599" y="558610"/>
            <a:ext cx="2889058" cy="2887103"/>
          </a:xfrm>
          <a:prstGeom prst="diamond">
            <a:avLst/>
          </a:prstGeom>
          <a:solidFill>
            <a:schemeClr val="bg1">
              <a:lumMod val="95000"/>
            </a:schemeClr>
          </a:solidFill>
          <a:ln w="38100">
            <a:solidFill>
              <a:schemeClr val="bg1"/>
            </a:solidFill>
          </a:ln>
        </p:spPr>
        <p:txBody>
          <a:bodyPr vert="horz" lIns="0" tIns="0" rIns="0" bIns="0" rtlCol="0" anchor="ctr">
            <a:noAutofit/>
          </a:bodyPr>
          <a:lstStyle>
            <a:lvl1pPr>
              <a:defRPr lang="en-US" dirty="0">
                <a:latin typeface="Roboto" panose="02000000000000000000" pitchFamily="2" charset="0"/>
                <a:ea typeface="Roboto" panose="02000000000000000000" pitchFamily="2" charset="0"/>
              </a:defRPr>
            </a:lvl1pPr>
          </a:lstStyle>
          <a:p>
            <a:pPr marL="0" lvl="0" indent="0" algn="ctr">
              <a:buNone/>
            </a:pPr>
            <a:r>
              <a:rPr lang="en-US"/>
              <a:t>CLICK TO INSERT IMAGE</a:t>
            </a:r>
          </a:p>
        </p:txBody>
      </p:sp>
    </p:spTree>
    <p:extLst>
      <p:ext uri="{BB962C8B-B14F-4D97-AF65-F5344CB8AC3E}">
        <p14:creationId xmlns:p14="http://schemas.microsoft.com/office/powerpoint/2010/main" val="267533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_Blank+Logo">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D625EBE-6EFB-4A48-B9E9-BB18863DFEC3}"/>
              </a:ext>
            </a:extLst>
          </p:cNvPr>
          <p:cNvSpPr txBox="1"/>
          <p:nvPr userDrawn="1"/>
        </p:nvSpPr>
        <p:spPr>
          <a:xfrm>
            <a:off x="176868" y="6365106"/>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900" b="0" i="0" kern="1200" smtClean="0">
                <a:solidFill>
                  <a:schemeClr val="tx1"/>
                </a:solidFill>
                <a:latin typeface="Roboto" charset="0"/>
                <a:ea typeface="Roboto" charset="0"/>
                <a:cs typeface="Roboto" charset="0"/>
              </a:rPr>
              <a:pPr marL="0" lvl="0" algn="ctr" defTabSz="457200" rtl="0" eaLnBrk="1" latinLnBrk="0" hangingPunct="1"/>
              <a:t>‹#›</a:t>
            </a:fld>
            <a:endParaRPr lang="en-US" sz="900" b="0" i="0" kern="1200" dirty="0">
              <a:solidFill>
                <a:schemeClr val="tx1"/>
              </a:solidFill>
              <a:latin typeface="Roboto" charset="0"/>
              <a:ea typeface="Roboto" charset="0"/>
              <a:cs typeface="Roboto" charset="0"/>
            </a:endParaRPr>
          </a:p>
        </p:txBody>
      </p:sp>
      <p:sp>
        <p:nvSpPr>
          <p:cNvPr id="2" name="Title 1"/>
          <p:cNvSpPr>
            <a:spLocks noGrp="1"/>
          </p:cNvSpPr>
          <p:nvPr userDrawn="1">
            <p:ph type="title" hasCustomPrompt="1"/>
          </p:nvPr>
        </p:nvSpPr>
        <p:spPr>
          <a:xfrm>
            <a:off x="488950" y="482602"/>
            <a:ext cx="11188699" cy="1066798"/>
          </a:xfrm>
          <a:prstGeom prst="rect">
            <a:avLst/>
          </a:prstGeom>
        </p:spPr>
        <p:txBody>
          <a:bodyPr lIns="0"/>
          <a:lstStyle>
            <a:lvl1pPr>
              <a:defRPr baseline="0">
                <a:solidFill>
                  <a:schemeClr val="tx1"/>
                </a:solidFill>
              </a:defRPr>
            </a:lvl1pPr>
          </a:lstStyle>
          <a:p>
            <a:r>
              <a:rPr lang="en-US" dirty="0"/>
              <a:t>Headline Goes Here, Roboto Light, 36 Points, Can Span 2 Lines</a:t>
            </a:r>
          </a:p>
        </p:txBody>
      </p:sp>
      <p:sp>
        <p:nvSpPr>
          <p:cNvPr id="3" name="TextBox 2">
            <a:extLst>
              <a:ext uri="{FF2B5EF4-FFF2-40B4-BE49-F238E27FC236}">
                <a16:creationId xmlns:a16="http://schemas.microsoft.com/office/drawing/2014/main" id="{9E4B4709-7C2B-4FD8-9933-DAF4E15383F8}"/>
              </a:ext>
            </a:extLst>
          </p:cNvPr>
          <p:cNvSpPr txBox="1"/>
          <p:nvPr userDrawn="1"/>
        </p:nvSpPr>
        <p:spPr>
          <a:xfrm>
            <a:off x="1023708"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dirty="0">
                <a:solidFill>
                  <a:schemeClr val="tx1"/>
                </a:solidFill>
                <a:latin typeface="Roboto" charset="0"/>
                <a:ea typeface="Roboto" charset="0"/>
                <a:cs typeface="Roboto" charset="0"/>
              </a:rPr>
              <a:t>© Informatica. Proprietary and Confidential.</a:t>
            </a:r>
          </a:p>
        </p:txBody>
      </p:sp>
      <p:pic>
        <p:nvPicPr>
          <p:cNvPr id="6" name="Picture 5">
            <a:extLst>
              <a:ext uri="{FF2B5EF4-FFF2-40B4-BE49-F238E27FC236}">
                <a16:creationId xmlns:a16="http://schemas.microsoft.com/office/drawing/2014/main" id="{42DCFB4A-E60D-D446-BD45-2C3B97F41DB4}"/>
              </a:ext>
            </a:extLst>
          </p:cNvPr>
          <p:cNvPicPr>
            <a:picLocks noChangeAspect="1"/>
          </p:cNvPicPr>
          <p:nvPr userDrawn="1"/>
        </p:nvPicPr>
        <p:blipFill>
          <a:blip r:embed="rId2"/>
          <a:stretch>
            <a:fillRect/>
          </a:stretch>
        </p:blipFill>
        <p:spPr>
          <a:xfrm>
            <a:off x="9743687" y="6098796"/>
            <a:ext cx="2040934" cy="699990"/>
          </a:xfrm>
          <a:prstGeom prst="rect">
            <a:avLst/>
          </a:prstGeom>
        </p:spPr>
      </p:pic>
    </p:spTree>
    <p:extLst>
      <p:ext uri="{BB962C8B-B14F-4D97-AF65-F5344CB8AC3E}">
        <p14:creationId xmlns:p14="http://schemas.microsoft.com/office/powerpoint/2010/main" val="523954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_With Image_Custom">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Picture Placeholder 6">
            <a:extLst>
              <a:ext uri="{FF2B5EF4-FFF2-40B4-BE49-F238E27FC236}">
                <a16:creationId xmlns:a16="http://schemas.microsoft.com/office/drawing/2014/main" id="{B649F28F-3FD3-40E3-A545-D17891D161A2}"/>
              </a:ext>
            </a:extLst>
          </p:cNvPr>
          <p:cNvSpPr>
            <a:spLocks noGrp="1"/>
          </p:cNvSpPr>
          <p:nvPr>
            <p:ph type="pic" sz="quarter" idx="17" hasCustomPrompt="1"/>
          </p:nvPr>
        </p:nvSpPr>
        <p:spPr>
          <a:xfrm>
            <a:off x="3899140" y="7388"/>
            <a:ext cx="8289684" cy="6850612"/>
          </a:xfrm>
          <a:prstGeom prst="rect">
            <a:avLst/>
          </a:prstGeom>
          <a:solidFill>
            <a:schemeClr val="bg1">
              <a:lumMod val="95000"/>
            </a:schemeClr>
          </a:solidFill>
        </p:spPr>
        <p:txBody>
          <a:bodyPr anchor="ctr"/>
          <a:lstStyle>
            <a:lvl1pPr marL="0" indent="0" algn="ctr">
              <a:buNone/>
              <a:defRPr>
                <a:latin typeface="Roboto" panose="02000000000000000000" pitchFamily="2" charset="0"/>
                <a:ea typeface="Roboto" panose="02000000000000000000" pitchFamily="2" charset="0"/>
              </a:defRPr>
            </a:lvl1pPr>
          </a:lstStyle>
          <a:p>
            <a:r>
              <a:rPr lang="en-US"/>
              <a:t>                                                    CLICK TO INSERT IMAGE</a:t>
            </a:r>
          </a:p>
        </p:txBody>
      </p:sp>
      <p:grpSp>
        <p:nvGrpSpPr>
          <p:cNvPr id="7" name="Group 6">
            <a:extLst>
              <a:ext uri="{FF2B5EF4-FFF2-40B4-BE49-F238E27FC236}">
                <a16:creationId xmlns:a16="http://schemas.microsoft.com/office/drawing/2014/main" id="{AA3A0859-3A61-4F2D-A9CE-F6EEDDF64779}"/>
              </a:ext>
            </a:extLst>
          </p:cNvPr>
          <p:cNvGrpSpPr/>
          <p:nvPr userDrawn="1"/>
        </p:nvGrpSpPr>
        <p:grpSpPr>
          <a:xfrm>
            <a:off x="0" y="0"/>
            <a:ext cx="11635865" cy="6858000"/>
            <a:chOff x="0" y="0"/>
            <a:chExt cx="10367594" cy="6858000"/>
          </a:xfrm>
        </p:grpSpPr>
        <p:sp>
          <p:nvSpPr>
            <p:cNvPr id="8" name="Freeform 19">
              <a:extLst>
                <a:ext uri="{FF2B5EF4-FFF2-40B4-BE49-F238E27FC236}">
                  <a16:creationId xmlns:a16="http://schemas.microsoft.com/office/drawing/2014/main" id="{89A44110-75C9-4AC3-AC47-BDA012664C3E}"/>
                </a:ext>
              </a:extLst>
            </p:cNvPr>
            <p:cNvSpPr/>
            <p:nvPr/>
          </p:nvSpPr>
          <p:spPr>
            <a:xfrm>
              <a:off x="0" y="0"/>
              <a:ext cx="10367594" cy="6858000"/>
            </a:xfrm>
            <a:custGeom>
              <a:avLst/>
              <a:gdLst>
                <a:gd name="connsiteX0" fmla="*/ 0 w 10367594"/>
                <a:gd name="connsiteY0" fmla="*/ 0 h 6858000"/>
                <a:gd name="connsiteX1" fmla="*/ 10367594 w 10367594"/>
                <a:gd name="connsiteY1" fmla="*/ 0 h 6858000"/>
                <a:gd name="connsiteX2" fmla="*/ 3509594 w 10367594"/>
                <a:gd name="connsiteY2" fmla="*/ 6858000 h 6858000"/>
                <a:gd name="connsiteX3" fmla="*/ 1520714 w 10367594"/>
                <a:gd name="connsiteY3" fmla="*/ 6858000 h 6858000"/>
                <a:gd name="connsiteX4" fmla="*/ 0 w 10367594"/>
                <a:gd name="connsiteY4" fmla="*/ 5544428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67594" h="6858000">
                  <a:moveTo>
                    <a:pt x="0" y="0"/>
                  </a:moveTo>
                  <a:lnTo>
                    <a:pt x="10367594" y="0"/>
                  </a:lnTo>
                  <a:lnTo>
                    <a:pt x="3509594" y="6858000"/>
                  </a:lnTo>
                  <a:lnTo>
                    <a:pt x="1520714" y="6858000"/>
                  </a:lnTo>
                  <a:lnTo>
                    <a:pt x="0" y="5544428"/>
                  </a:lnTo>
                  <a:close/>
                </a:path>
              </a:pathLst>
            </a:custGeom>
            <a:gradFill>
              <a:gsLst>
                <a:gs pos="0">
                  <a:schemeClr val="accent2"/>
                </a:gs>
                <a:gs pos="76000">
                  <a:srgbClr val="FF6500"/>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rIns="137160" bIns="91440" rtlCol="0" anchor="ctr">
              <a:noAutofit/>
            </a:bodyPr>
            <a:lstStyle/>
            <a:p>
              <a:pPr lvl="0" algn="ctr"/>
              <a:endParaRPr lang="en-US" sz="1600">
                <a:solidFill>
                  <a:schemeClr val="bg1"/>
                </a:solidFill>
                <a:latin typeface="Roboto" panose="02000000000000000000" pitchFamily="2" charset="0"/>
                <a:ea typeface="Roboto" panose="02000000000000000000" pitchFamily="2" charset="0"/>
              </a:endParaRPr>
            </a:p>
          </p:txBody>
        </p:sp>
        <p:sp>
          <p:nvSpPr>
            <p:cNvPr id="9" name="Freeform 20">
              <a:extLst>
                <a:ext uri="{FF2B5EF4-FFF2-40B4-BE49-F238E27FC236}">
                  <a16:creationId xmlns:a16="http://schemas.microsoft.com/office/drawing/2014/main" id="{B5062EF4-1C43-4AC0-BB60-08C00AB6C068}"/>
                </a:ext>
              </a:extLst>
            </p:cNvPr>
            <p:cNvSpPr/>
            <p:nvPr userDrawn="1"/>
          </p:nvSpPr>
          <p:spPr>
            <a:xfrm>
              <a:off x="0" y="5544428"/>
              <a:ext cx="1523890" cy="1313572"/>
            </a:xfrm>
            <a:custGeom>
              <a:avLst/>
              <a:gdLst>
                <a:gd name="connsiteX0" fmla="*/ 3176 w 1523890"/>
                <a:gd name="connsiteY0" fmla="*/ 0 h 1313572"/>
                <a:gd name="connsiteX1" fmla="*/ 1523890 w 1523890"/>
                <a:gd name="connsiteY1" fmla="*/ 1313572 h 1313572"/>
                <a:gd name="connsiteX2" fmla="*/ 0 w 1523890"/>
                <a:gd name="connsiteY2" fmla="*/ 420643 h 1313572"/>
                <a:gd name="connsiteX3" fmla="*/ 0 w 1523890"/>
                <a:gd name="connsiteY3" fmla="*/ 17461 h 1313572"/>
              </a:gdLst>
              <a:ahLst/>
              <a:cxnLst>
                <a:cxn ang="0">
                  <a:pos x="connsiteX0" y="connsiteY0"/>
                </a:cxn>
                <a:cxn ang="0">
                  <a:pos x="connsiteX1" y="connsiteY1"/>
                </a:cxn>
                <a:cxn ang="0">
                  <a:pos x="connsiteX2" y="connsiteY2"/>
                </a:cxn>
                <a:cxn ang="0">
                  <a:pos x="connsiteX3" y="connsiteY3"/>
                </a:cxn>
              </a:cxnLst>
              <a:rect l="l" t="t" r="r" b="b"/>
              <a:pathLst>
                <a:path w="1523890" h="1313572">
                  <a:moveTo>
                    <a:pt x="3176" y="0"/>
                  </a:moveTo>
                  <a:lnTo>
                    <a:pt x="1523890" y="1313572"/>
                  </a:lnTo>
                  <a:lnTo>
                    <a:pt x="0" y="420643"/>
                  </a:lnTo>
                  <a:lnTo>
                    <a:pt x="0" y="17461"/>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rIns="137160" bIns="91440" rtlCol="0" anchor="ctr">
              <a:noAutofit/>
            </a:bodyPr>
            <a:lstStyle/>
            <a:p>
              <a:pPr lvl="0" algn="ctr"/>
              <a:endParaRPr lang="en-US" sz="1600">
                <a:solidFill>
                  <a:schemeClr val="bg1"/>
                </a:solidFill>
                <a:latin typeface="Roboto" panose="02000000000000000000" pitchFamily="2" charset="0"/>
                <a:ea typeface="Roboto" panose="02000000000000000000" pitchFamily="2" charset="0"/>
              </a:endParaRPr>
            </a:p>
          </p:txBody>
        </p:sp>
      </p:grpSp>
      <p:sp>
        <p:nvSpPr>
          <p:cNvPr id="10" name="Right Triangle 9">
            <a:extLst>
              <a:ext uri="{FF2B5EF4-FFF2-40B4-BE49-F238E27FC236}">
                <a16:creationId xmlns:a16="http://schemas.microsoft.com/office/drawing/2014/main" id="{9BEE8FDF-E5E9-4E90-BB11-9AACB3A185CF}"/>
              </a:ext>
            </a:extLst>
          </p:cNvPr>
          <p:cNvSpPr/>
          <p:nvPr userDrawn="1"/>
        </p:nvSpPr>
        <p:spPr>
          <a:xfrm rot="10800000">
            <a:off x="9585960" y="0"/>
            <a:ext cx="2602865" cy="2217420"/>
          </a:xfrm>
          <a:prstGeom prst="rtTriangle">
            <a:avLst/>
          </a:prstGeom>
          <a:solidFill>
            <a:srgbClr val="FF4D00">
              <a:alpha val="8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Roboto" panose="02000000000000000000" pitchFamily="2" charset="0"/>
            </a:endParaRPr>
          </a:p>
        </p:txBody>
      </p:sp>
      <p:sp>
        <p:nvSpPr>
          <p:cNvPr id="13" name="Text Placeholder 16">
            <a:extLst>
              <a:ext uri="{FF2B5EF4-FFF2-40B4-BE49-F238E27FC236}">
                <a16:creationId xmlns:a16="http://schemas.microsoft.com/office/drawing/2014/main" id="{8A742799-E7EE-B249-B855-6E66A99BEF43}"/>
              </a:ext>
            </a:extLst>
          </p:cNvPr>
          <p:cNvSpPr>
            <a:spLocks noGrp="1"/>
          </p:cNvSpPr>
          <p:nvPr>
            <p:ph type="body" sz="quarter" idx="10" hasCustomPrompt="1"/>
          </p:nvPr>
        </p:nvSpPr>
        <p:spPr bwMode="gray">
          <a:xfrm>
            <a:off x="1161225" y="1251522"/>
            <a:ext cx="6369780" cy="648398"/>
          </a:xfrm>
          <a:prstGeom prst="rect">
            <a:avLst/>
          </a:prstGeom>
        </p:spPr>
        <p:txBody>
          <a:bodyPr anchor="b" anchorCtr="0"/>
          <a:lstStyle>
            <a:lvl1pPr marL="0" indent="0">
              <a:lnSpc>
                <a:spcPct val="95000"/>
              </a:lnSpc>
              <a:spcBef>
                <a:spcPts val="0"/>
              </a:spcBef>
              <a:spcAft>
                <a:spcPts val="0"/>
              </a:spcAft>
              <a:buNone/>
              <a:defRPr sz="2400" b="0" i="0">
                <a:solidFill>
                  <a:schemeClr val="bg1"/>
                </a:solidFill>
                <a:latin typeface="+mj-lt"/>
                <a:ea typeface="Roboto" panose="02000000000000000000" pitchFamily="2" charset="0"/>
                <a:cs typeface="Roboto" panose="02000000000000000000" pitchFamily="2" charset="0"/>
              </a:defRPr>
            </a:lvl1pPr>
            <a:lvl2pPr marL="457108" indent="0">
              <a:buNone/>
              <a:defRPr/>
            </a:lvl2pPr>
            <a:lvl3pPr marL="914217" indent="0">
              <a:buNone/>
              <a:defRPr/>
            </a:lvl3pPr>
            <a:lvl4pPr marL="1371326" indent="0">
              <a:buNone/>
              <a:defRPr/>
            </a:lvl4pPr>
            <a:lvl5pPr marL="1828435" indent="0">
              <a:buNone/>
              <a:defRPr/>
            </a:lvl5pPr>
          </a:lstStyle>
          <a:p>
            <a:pPr lvl="0"/>
            <a:r>
              <a:rPr lang="en-US"/>
              <a:t>Date Roboto Light 20 Point</a:t>
            </a:r>
          </a:p>
        </p:txBody>
      </p:sp>
      <p:sp>
        <p:nvSpPr>
          <p:cNvPr id="14" name="Text Placeholder 23">
            <a:extLst>
              <a:ext uri="{FF2B5EF4-FFF2-40B4-BE49-F238E27FC236}">
                <a16:creationId xmlns:a16="http://schemas.microsoft.com/office/drawing/2014/main" id="{A4D87C16-E3D4-4E46-862C-5B297107DAA7}"/>
              </a:ext>
            </a:extLst>
          </p:cNvPr>
          <p:cNvSpPr>
            <a:spLocks noGrp="1"/>
          </p:cNvSpPr>
          <p:nvPr>
            <p:ph type="body" sz="quarter" idx="11" hasCustomPrompt="1"/>
          </p:nvPr>
        </p:nvSpPr>
        <p:spPr bwMode="gray">
          <a:xfrm>
            <a:off x="1161225" y="2629671"/>
            <a:ext cx="5148136" cy="2102713"/>
          </a:xfrm>
          <a:prstGeom prst="rect">
            <a:avLst/>
          </a:prstGeom>
        </p:spPr>
        <p:txBody>
          <a:bodyPr anchor="ctr" anchorCtr="0"/>
          <a:lstStyle>
            <a:lvl1pPr marL="0" indent="0">
              <a:spcBef>
                <a:spcPts val="600"/>
              </a:spcBef>
              <a:buNone/>
              <a:defRPr sz="5400" b="0" i="0">
                <a:solidFill>
                  <a:schemeClr val="bg1"/>
                </a:solidFill>
                <a:latin typeface="+mj-lt"/>
                <a:ea typeface="Roboto Light" panose="02000000000000000000" pitchFamily="2" charset="0"/>
                <a:cs typeface="Roboto Light" panose="02000000000000000000" pitchFamily="2" charset="0"/>
              </a:defRPr>
            </a:lvl1pPr>
            <a:lvl2pPr marL="457108" indent="0">
              <a:buNone/>
              <a:defRPr/>
            </a:lvl2pPr>
            <a:lvl3pPr marL="914217" indent="0">
              <a:buNone/>
              <a:defRPr/>
            </a:lvl3pPr>
            <a:lvl4pPr marL="1371326" indent="0">
              <a:buNone/>
              <a:defRPr/>
            </a:lvl4pPr>
            <a:lvl5pPr marL="1828435" indent="0">
              <a:buNone/>
              <a:defRPr/>
            </a:lvl5pPr>
          </a:lstStyle>
          <a:p>
            <a:r>
              <a:rPr lang="en-US"/>
              <a:t>Title Goes Here Roboto Light 54 Point</a:t>
            </a:r>
          </a:p>
        </p:txBody>
      </p:sp>
      <p:sp>
        <p:nvSpPr>
          <p:cNvPr id="15" name="Text Placeholder 25">
            <a:extLst>
              <a:ext uri="{FF2B5EF4-FFF2-40B4-BE49-F238E27FC236}">
                <a16:creationId xmlns:a16="http://schemas.microsoft.com/office/drawing/2014/main" id="{7079C3FF-9D8D-8246-A054-D86497FCC529}"/>
              </a:ext>
            </a:extLst>
          </p:cNvPr>
          <p:cNvSpPr>
            <a:spLocks noGrp="1"/>
          </p:cNvSpPr>
          <p:nvPr>
            <p:ph type="body" sz="quarter" idx="12" hasCustomPrompt="1"/>
          </p:nvPr>
        </p:nvSpPr>
        <p:spPr bwMode="gray">
          <a:xfrm>
            <a:off x="1161225" y="4908299"/>
            <a:ext cx="4933187" cy="289576"/>
          </a:xfrm>
          <a:prstGeom prst="rect">
            <a:avLst/>
          </a:prstGeom>
        </p:spPr>
        <p:txBody>
          <a:bodyPr/>
          <a:lstStyle>
            <a:lvl1pPr marL="0" indent="0">
              <a:buNone/>
              <a:defRPr b="0" i="0" baseline="0">
                <a:solidFill>
                  <a:schemeClr val="bg1"/>
                </a:solidFill>
                <a:latin typeface="Roboto" panose="02000000000000000000" pitchFamily="2" charset="0"/>
                <a:ea typeface="Roboto" panose="02000000000000000000" pitchFamily="2" charset="0"/>
                <a:cs typeface="Roboto" panose="02000000000000000000" pitchFamily="2" charset="0"/>
              </a:defRPr>
            </a:lvl1pPr>
            <a:lvl2pPr marL="457108" indent="0">
              <a:buNone/>
              <a:defRPr/>
            </a:lvl2pPr>
            <a:lvl3pPr marL="914217" indent="0">
              <a:buNone/>
              <a:defRPr/>
            </a:lvl3pPr>
            <a:lvl4pPr marL="1371326" indent="0">
              <a:buNone/>
              <a:defRPr/>
            </a:lvl4pPr>
            <a:lvl5pPr marL="1828435" indent="0">
              <a:buNone/>
              <a:defRPr/>
            </a:lvl5pPr>
          </a:lstStyle>
          <a:p>
            <a:pPr lvl="0"/>
            <a:r>
              <a:rPr lang="en-US"/>
              <a:t>Speaker Name, Roboto Regular 20 Point</a:t>
            </a:r>
          </a:p>
        </p:txBody>
      </p:sp>
      <p:sp>
        <p:nvSpPr>
          <p:cNvPr id="22" name="Text Placeholder 27">
            <a:extLst>
              <a:ext uri="{FF2B5EF4-FFF2-40B4-BE49-F238E27FC236}">
                <a16:creationId xmlns:a16="http://schemas.microsoft.com/office/drawing/2014/main" id="{12E9ED7C-F9A0-8D40-86E4-EE84DC932C73}"/>
              </a:ext>
            </a:extLst>
          </p:cNvPr>
          <p:cNvSpPr>
            <a:spLocks noGrp="1"/>
          </p:cNvSpPr>
          <p:nvPr>
            <p:ph type="body" sz="quarter" idx="13" hasCustomPrompt="1"/>
          </p:nvPr>
        </p:nvSpPr>
        <p:spPr bwMode="gray">
          <a:xfrm>
            <a:off x="1161225" y="5294969"/>
            <a:ext cx="4121975" cy="291041"/>
          </a:xfrm>
          <a:prstGeom prst="rect">
            <a:avLst/>
          </a:prstGeom>
        </p:spPr>
        <p:txBody>
          <a:bodyPr/>
          <a:lstStyle>
            <a:lvl1pPr marL="0" indent="0">
              <a:buNone/>
              <a:defRPr i="1" baseline="0">
                <a:solidFill>
                  <a:schemeClr val="bg1"/>
                </a:solidFill>
                <a:latin typeface="Roboto" panose="02000000000000000000" pitchFamily="2" charset="0"/>
                <a:ea typeface="Roboto" panose="02000000000000000000" pitchFamily="2" charset="0"/>
              </a:defRPr>
            </a:lvl1pPr>
            <a:lvl2pPr marL="457108" indent="0">
              <a:buNone/>
              <a:defRPr/>
            </a:lvl2pPr>
            <a:lvl3pPr marL="914217" indent="0">
              <a:buNone/>
              <a:defRPr/>
            </a:lvl3pPr>
            <a:lvl4pPr marL="1371326" indent="0">
              <a:buNone/>
              <a:defRPr/>
            </a:lvl4pPr>
            <a:lvl5pPr marL="1828435" indent="0">
              <a:buNone/>
              <a:defRPr/>
            </a:lvl5pPr>
          </a:lstStyle>
          <a:p>
            <a:pPr lvl="0"/>
            <a:r>
              <a:rPr lang="en-US"/>
              <a:t>Speaker Title or Email, Roboto Italic 20 Point</a:t>
            </a:r>
          </a:p>
        </p:txBody>
      </p:sp>
      <p:pic>
        <p:nvPicPr>
          <p:cNvPr id="17" name="Picture 16">
            <a:extLst>
              <a:ext uri="{FF2B5EF4-FFF2-40B4-BE49-F238E27FC236}">
                <a16:creationId xmlns:a16="http://schemas.microsoft.com/office/drawing/2014/main" id="{01572B8A-3E9A-9F41-B79E-0463DD4D0655}"/>
              </a:ext>
            </a:extLst>
          </p:cNvPr>
          <p:cNvPicPr>
            <a:picLocks noChangeAspect="1"/>
          </p:cNvPicPr>
          <p:nvPr userDrawn="1"/>
        </p:nvPicPr>
        <p:blipFill>
          <a:blip r:embed="rId3"/>
          <a:stretch>
            <a:fillRect/>
          </a:stretch>
        </p:blipFill>
        <p:spPr>
          <a:xfrm>
            <a:off x="9458461" y="6007608"/>
            <a:ext cx="2478024" cy="849901"/>
          </a:xfrm>
          <a:prstGeom prst="rect">
            <a:avLst/>
          </a:prstGeom>
        </p:spPr>
      </p:pic>
      <p:cxnSp>
        <p:nvCxnSpPr>
          <p:cNvPr id="16" name="Straight Connector 15">
            <a:extLst>
              <a:ext uri="{FF2B5EF4-FFF2-40B4-BE49-F238E27FC236}">
                <a16:creationId xmlns:a16="http://schemas.microsoft.com/office/drawing/2014/main" id="{AC27FE5D-2C9B-1C42-89ED-25032BF17A07}"/>
              </a:ext>
            </a:extLst>
          </p:cNvPr>
          <p:cNvCxnSpPr>
            <a:cxnSpLocks/>
          </p:cNvCxnSpPr>
          <p:nvPr userDrawn="1"/>
        </p:nvCxnSpPr>
        <p:spPr>
          <a:xfrm>
            <a:off x="1241751" y="1956269"/>
            <a:ext cx="358449"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1773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Subtitle">
    <p:spTree>
      <p:nvGrpSpPr>
        <p:cNvPr id="1" name=""/>
        <p:cNvGrpSpPr/>
        <p:nvPr/>
      </p:nvGrpSpPr>
      <p:grpSpPr>
        <a:xfrm>
          <a:off x="0" y="0"/>
          <a:ext cx="0" cy="0"/>
          <a:chOff x="0" y="0"/>
          <a:chExt cx="0" cy="0"/>
        </a:xfrm>
      </p:grpSpPr>
      <p:sp>
        <p:nvSpPr>
          <p:cNvPr id="12" name="Right Triangle 11">
            <a:extLst>
              <a:ext uri="{FF2B5EF4-FFF2-40B4-BE49-F238E27FC236}">
                <a16:creationId xmlns:a16="http://schemas.microsoft.com/office/drawing/2014/main" id="{12049EA9-905E-A64E-B171-8585662FA12C}"/>
              </a:ext>
            </a:extLst>
          </p:cNvPr>
          <p:cNvSpPr/>
          <p:nvPr userDrawn="1"/>
        </p:nvSpPr>
        <p:spPr>
          <a:xfrm>
            <a:off x="0" y="2761950"/>
            <a:ext cx="702453" cy="4096050"/>
          </a:xfrm>
          <a:prstGeom prst="r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95" name="Title 1">
            <a:extLst>
              <a:ext uri="{FF2B5EF4-FFF2-40B4-BE49-F238E27FC236}">
                <a16:creationId xmlns:a16="http://schemas.microsoft.com/office/drawing/2014/main" id="{48E5717B-9E58-49D2-9749-1479F91EEFDC}"/>
              </a:ext>
            </a:extLst>
          </p:cNvPr>
          <p:cNvSpPr>
            <a:spLocks noGrp="1"/>
          </p:cNvSpPr>
          <p:nvPr userDrawn="1">
            <p:ph type="title" hasCustomPrompt="1"/>
          </p:nvPr>
        </p:nvSpPr>
        <p:spPr>
          <a:xfrm>
            <a:off x="493714" y="482602"/>
            <a:ext cx="11188532" cy="562427"/>
          </a:xfrm>
          <a:prstGeom prst="rect">
            <a:avLst/>
          </a:prstGeom>
        </p:spPr>
        <p:txBody>
          <a:bodyPr lIns="0"/>
          <a:lstStyle>
            <a:lvl1pPr>
              <a:defRPr baseline="0">
                <a:solidFill>
                  <a:schemeClr val="bg1"/>
                </a:solidFill>
              </a:defRPr>
            </a:lvl1pPr>
          </a:lstStyle>
          <a:p>
            <a:r>
              <a:rPr lang="en-US"/>
              <a:t>Roboto Light, 36 Points, 1 Line</a:t>
            </a:r>
          </a:p>
        </p:txBody>
      </p:sp>
      <p:sp>
        <p:nvSpPr>
          <p:cNvPr id="2" name="TextBox 1">
            <a:extLst>
              <a:ext uri="{FF2B5EF4-FFF2-40B4-BE49-F238E27FC236}">
                <a16:creationId xmlns:a16="http://schemas.microsoft.com/office/drawing/2014/main" id="{23179817-899D-4A7E-B58B-236E81BA41DD}"/>
              </a:ext>
            </a:extLst>
          </p:cNvPr>
          <p:cNvSpPr txBox="1"/>
          <p:nvPr userDrawn="1"/>
        </p:nvSpPr>
        <p:spPr>
          <a:xfrm>
            <a:off x="1023708"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a:solidFill>
                  <a:schemeClr val="tx1">
                    <a:lumMod val="60000"/>
                    <a:lumOff val="40000"/>
                  </a:schemeClr>
                </a:solidFill>
                <a:latin typeface="Roboto" panose="02000000000000000000" pitchFamily="2" charset="0"/>
                <a:ea typeface="Roboto" panose="02000000000000000000" pitchFamily="2" charset="0"/>
                <a:cs typeface="Roboto" charset="0"/>
              </a:rPr>
              <a:t>© Informatica. Proprietary and Confidential.</a:t>
            </a:r>
          </a:p>
        </p:txBody>
      </p:sp>
      <p:pic>
        <p:nvPicPr>
          <p:cNvPr id="14" name="Picture 13">
            <a:extLst>
              <a:ext uri="{FF2B5EF4-FFF2-40B4-BE49-F238E27FC236}">
                <a16:creationId xmlns:a16="http://schemas.microsoft.com/office/drawing/2014/main" id="{E3830A18-1BA6-A441-91F2-379D124B21D2}"/>
              </a:ext>
            </a:extLst>
          </p:cNvPr>
          <p:cNvPicPr>
            <a:picLocks noChangeAspect="1"/>
          </p:cNvPicPr>
          <p:nvPr userDrawn="1"/>
        </p:nvPicPr>
        <p:blipFill>
          <a:blip r:embed="rId2"/>
          <a:srcRect/>
          <a:stretch/>
        </p:blipFill>
        <p:spPr>
          <a:xfrm>
            <a:off x="9744604" y="6098796"/>
            <a:ext cx="2039100" cy="699990"/>
          </a:xfrm>
          <a:prstGeom prst="rect">
            <a:avLst/>
          </a:prstGeom>
        </p:spPr>
      </p:pic>
      <p:sp>
        <p:nvSpPr>
          <p:cNvPr id="15" name="Right Triangle 14">
            <a:extLst>
              <a:ext uri="{FF2B5EF4-FFF2-40B4-BE49-F238E27FC236}">
                <a16:creationId xmlns:a16="http://schemas.microsoft.com/office/drawing/2014/main" id="{8B066616-86C1-FB43-B05B-46516410BE2C}"/>
              </a:ext>
            </a:extLst>
          </p:cNvPr>
          <p:cNvSpPr/>
          <p:nvPr userDrawn="1"/>
        </p:nvSpPr>
        <p:spPr>
          <a:xfrm>
            <a:off x="1" y="2761950"/>
            <a:ext cx="590764" cy="4096050"/>
          </a:xfrm>
          <a:prstGeom prst="rtTriangle">
            <a:avLst/>
          </a:prstGeom>
          <a:gradFill>
            <a:gsLst>
              <a:gs pos="0">
                <a:schemeClr val="accent2"/>
              </a:gs>
              <a:gs pos="76000">
                <a:srgbClr val="FF6500"/>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rIns="137160" bIns="91440" rtlCol="0" anchor="ctr">
            <a:noAutofit/>
          </a:bodyPr>
          <a:lstStyle/>
          <a:p>
            <a:pPr lvl="0"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5" name="TextBox 4">
            <a:extLst>
              <a:ext uri="{FF2B5EF4-FFF2-40B4-BE49-F238E27FC236}">
                <a16:creationId xmlns:a16="http://schemas.microsoft.com/office/drawing/2014/main" id="{8FA70B36-FD85-46EB-9073-620538C6248E}"/>
              </a:ext>
            </a:extLst>
          </p:cNvPr>
          <p:cNvSpPr txBox="1"/>
          <p:nvPr userDrawn="1"/>
        </p:nvSpPr>
        <p:spPr>
          <a:xfrm>
            <a:off x="176868" y="6365106"/>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900" b="0" i="0" kern="1200" smtClean="0">
                <a:solidFill>
                  <a:schemeClr val="bg1"/>
                </a:solidFill>
                <a:latin typeface="Roboto" panose="02000000000000000000" pitchFamily="2" charset="0"/>
                <a:ea typeface="Roboto" panose="02000000000000000000" pitchFamily="2" charset="0"/>
                <a:cs typeface="Roboto" charset="0"/>
              </a:rPr>
              <a:pPr marL="0" lvl="0" algn="ctr" defTabSz="457200" rtl="0" eaLnBrk="1" latinLnBrk="0" hangingPunct="1"/>
              <a:t>‹#›</a:t>
            </a:fld>
            <a:endParaRPr lang="en-US" sz="900" b="0" i="0" kern="1200">
              <a:solidFill>
                <a:schemeClr val="bg1"/>
              </a:solidFill>
              <a:latin typeface="Roboto" panose="02000000000000000000" pitchFamily="2" charset="0"/>
              <a:ea typeface="Roboto" panose="02000000000000000000" pitchFamily="2" charset="0"/>
              <a:cs typeface="Roboto" charset="0"/>
            </a:endParaRPr>
          </a:p>
        </p:txBody>
      </p:sp>
      <p:sp>
        <p:nvSpPr>
          <p:cNvPr id="13" name="Text Placeholder 4">
            <a:extLst>
              <a:ext uri="{FF2B5EF4-FFF2-40B4-BE49-F238E27FC236}">
                <a16:creationId xmlns:a16="http://schemas.microsoft.com/office/drawing/2014/main" id="{BA1994A4-FF51-E44C-81EF-6626F8AE75F5}"/>
              </a:ext>
            </a:extLst>
          </p:cNvPr>
          <p:cNvSpPr>
            <a:spLocks noGrp="1"/>
          </p:cNvSpPr>
          <p:nvPr>
            <p:ph type="body" sz="quarter" idx="13" hasCustomPrompt="1"/>
          </p:nvPr>
        </p:nvSpPr>
        <p:spPr>
          <a:xfrm>
            <a:off x="493714" y="1058899"/>
            <a:ext cx="11188532" cy="331601"/>
          </a:xfrm>
          <a:prstGeom prst="rect">
            <a:avLst/>
          </a:prstGeom>
        </p:spPr>
        <p:txBody>
          <a:bodyPr lIns="0" anchor="t"/>
          <a:lstStyle>
            <a:lvl1pPr marL="0" indent="0">
              <a:buNone/>
              <a:defRPr sz="2400" i="0">
                <a:solidFill>
                  <a:schemeClr val="bg1"/>
                </a:solidFill>
                <a:latin typeface="Roboto" panose="02000000000000000000" pitchFamily="2" charset="0"/>
                <a:ea typeface="Roboto" panose="02000000000000000000" pitchFamily="2" charset="0"/>
              </a:defRPr>
            </a:lvl1pPr>
            <a:lvl2pPr marL="169863" indent="0">
              <a:buNone/>
              <a:defRPr/>
            </a:lvl2pPr>
            <a:lvl3pPr marL="344487" indent="0">
              <a:buNone/>
              <a:defRPr/>
            </a:lvl3pPr>
            <a:lvl4pPr marL="458788" indent="0">
              <a:buNone/>
              <a:defRPr/>
            </a:lvl4pPr>
            <a:lvl5pPr marL="630237" indent="0">
              <a:buNone/>
              <a:defRPr/>
            </a:lvl5pPr>
          </a:lstStyle>
          <a:p>
            <a:pPr lvl="0"/>
            <a:r>
              <a:rPr lang="en-US"/>
              <a:t>Subtitle goes here, </a:t>
            </a:r>
            <a:r>
              <a:rPr lang="en-US" err="1"/>
              <a:t>Roboto</a:t>
            </a:r>
            <a:r>
              <a:rPr lang="en-US"/>
              <a:t> Regular 24 point, no longer than one line</a:t>
            </a:r>
          </a:p>
        </p:txBody>
      </p:sp>
    </p:spTree>
    <p:extLst>
      <p:ext uri="{BB962C8B-B14F-4D97-AF65-F5344CB8AC3E}">
        <p14:creationId xmlns:p14="http://schemas.microsoft.com/office/powerpoint/2010/main" val="1940002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Subtitle_Blank">
    <p:spTree>
      <p:nvGrpSpPr>
        <p:cNvPr id="1" name=""/>
        <p:cNvGrpSpPr/>
        <p:nvPr/>
      </p:nvGrpSpPr>
      <p:grpSpPr>
        <a:xfrm>
          <a:off x="0" y="0"/>
          <a:ext cx="0" cy="0"/>
          <a:chOff x="0" y="0"/>
          <a:chExt cx="0" cy="0"/>
        </a:xfrm>
      </p:grpSpPr>
      <p:sp>
        <p:nvSpPr>
          <p:cNvPr id="95" name="Title 1">
            <a:extLst>
              <a:ext uri="{FF2B5EF4-FFF2-40B4-BE49-F238E27FC236}">
                <a16:creationId xmlns:a16="http://schemas.microsoft.com/office/drawing/2014/main" id="{48E5717B-9E58-49D2-9749-1479F91EEFDC}"/>
              </a:ext>
            </a:extLst>
          </p:cNvPr>
          <p:cNvSpPr>
            <a:spLocks noGrp="1"/>
          </p:cNvSpPr>
          <p:nvPr userDrawn="1">
            <p:ph type="title" hasCustomPrompt="1"/>
          </p:nvPr>
        </p:nvSpPr>
        <p:spPr>
          <a:xfrm>
            <a:off x="493714" y="482602"/>
            <a:ext cx="11188532" cy="562427"/>
          </a:xfrm>
          <a:prstGeom prst="rect">
            <a:avLst/>
          </a:prstGeom>
        </p:spPr>
        <p:txBody>
          <a:bodyPr lIns="0"/>
          <a:lstStyle>
            <a:lvl1pPr>
              <a:defRPr baseline="0">
                <a:solidFill>
                  <a:schemeClr val="bg1"/>
                </a:solidFill>
              </a:defRPr>
            </a:lvl1pPr>
          </a:lstStyle>
          <a:p>
            <a:r>
              <a:rPr lang="en-US"/>
              <a:t>Roboto Light, 36 Points, 1 Line</a:t>
            </a:r>
          </a:p>
        </p:txBody>
      </p:sp>
      <p:sp>
        <p:nvSpPr>
          <p:cNvPr id="4" name="TextBox 3">
            <a:extLst>
              <a:ext uri="{FF2B5EF4-FFF2-40B4-BE49-F238E27FC236}">
                <a16:creationId xmlns:a16="http://schemas.microsoft.com/office/drawing/2014/main" id="{47A81E79-1835-49D7-B14C-AAB7A90FD00F}"/>
              </a:ext>
            </a:extLst>
          </p:cNvPr>
          <p:cNvSpPr txBox="1"/>
          <p:nvPr userDrawn="1"/>
        </p:nvSpPr>
        <p:spPr>
          <a:xfrm>
            <a:off x="176868" y="6365106"/>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900" b="0" i="0" kern="1200" smtClean="0">
                <a:solidFill>
                  <a:schemeClr val="tx1">
                    <a:lumMod val="20000"/>
                    <a:lumOff val="80000"/>
                  </a:schemeClr>
                </a:solidFill>
                <a:latin typeface="Roboto" panose="02000000000000000000" pitchFamily="2" charset="0"/>
                <a:ea typeface="Roboto" panose="02000000000000000000" pitchFamily="2" charset="0"/>
                <a:cs typeface="Roboto" charset="0"/>
              </a:rPr>
              <a:pPr marL="0" lvl="0" algn="ctr" defTabSz="457200" rtl="0" eaLnBrk="1" latinLnBrk="0" hangingPunct="1"/>
              <a:t>‹#›</a:t>
            </a:fld>
            <a:endParaRPr lang="en-US" sz="900" b="0" i="0" kern="1200">
              <a:solidFill>
                <a:schemeClr val="tx1">
                  <a:lumMod val="20000"/>
                  <a:lumOff val="80000"/>
                </a:schemeClr>
              </a:solidFill>
              <a:latin typeface="Roboto" panose="02000000000000000000" pitchFamily="2" charset="0"/>
              <a:ea typeface="Roboto" panose="02000000000000000000" pitchFamily="2" charset="0"/>
              <a:cs typeface="Roboto" charset="0"/>
            </a:endParaRPr>
          </a:p>
        </p:txBody>
      </p:sp>
      <p:sp>
        <p:nvSpPr>
          <p:cNvPr id="5" name="TextBox 4">
            <a:extLst>
              <a:ext uri="{FF2B5EF4-FFF2-40B4-BE49-F238E27FC236}">
                <a16:creationId xmlns:a16="http://schemas.microsoft.com/office/drawing/2014/main" id="{7D5BD8C4-D207-44D5-AD0F-37CEB10A287C}"/>
              </a:ext>
            </a:extLst>
          </p:cNvPr>
          <p:cNvSpPr txBox="1"/>
          <p:nvPr userDrawn="1"/>
        </p:nvSpPr>
        <p:spPr>
          <a:xfrm>
            <a:off x="1023708"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a:solidFill>
                  <a:schemeClr val="tx1">
                    <a:lumMod val="60000"/>
                    <a:lumOff val="40000"/>
                  </a:schemeClr>
                </a:solidFill>
                <a:latin typeface="Roboto" panose="02000000000000000000" pitchFamily="2" charset="0"/>
                <a:ea typeface="Roboto" panose="02000000000000000000" pitchFamily="2" charset="0"/>
                <a:cs typeface="Roboto" charset="0"/>
              </a:rPr>
              <a:t>© Informatica. Proprietary and Confidential.</a:t>
            </a:r>
          </a:p>
        </p:txBody>
      </p:sp>
      <p:sp>
        <p:nvSpPr>
          <p:cNvPr id="8" name="Text Placeholder 4">
            <a:extLst>
              <a:ext uri="{FF2B5EF4-FFF2-40B4-BE49-F238E27FC236}">
                <a16:creationId xmlns:a16="http://schemas.microsoft.com/office/drawing/2014/main" id="{56B65957-0EEE-1643-8EDF-9C65E4BE4C26}"/>
              </a:ext>
            </a:extLst>
          </p:cNvPr>
          <p:cNvSpPr>
            <a:spLocks noGrp="1"/>
          </p:cNvSpPr>
          <p:nvPr>
            <p:ph type="body" sz="quarter" idx="13" hasCustomPrompt="1"/>
          </p:nvPr>
        </p:nvSpPr>
        <p:spPr>
          <a:xfrm>
            <a:off x="493714" y="1058899"/>
            <a:ext cx="11188532" cy="331601"/>
          </a:xfrm>
          <a:prstGeom prst="rect">
            <a:avLst/>
          </a:prstGeom>
        </p:spPr>
        <p:txBody>
          <a:bodyPr lIns="0" anchor="t"/>
          <a:lstStyle>
            <a:lvl1pPr marL="0" indent="0">
              <a:buNone/>
              <a:defRPr sz="2400" i="0">
                <a:solidFill>
                  <a:schemeClr val="bg1"/>
                </a:solidFill>
                <a:latin typeface="Roboto" panose="02000000000000000000" pitchFamily="2" charset="0"/>
                <a:ea typeface="Roboto" panose="02000000000000000000" pitchFamily="2" charset="0"/>
              </a:defRPr>
            </a:lvl1pPr>
            <a:lvl2pPr marL="169863" indent="0">
              <a:buNone/>
              <a:defRPr/>
            </a:lvl2pPr>
            <a:lvl3pPr marL="344487" indent="0">
              <a:buNone/>
              <a:defRPr/>
            </a:lvl3pPr>
            <a:lvl4pPr marL="458788" indent="0">
              <a:buNone/>
              <a:defRPr/>
            </a:lvl4pPr>
            <a:lvl5pPr marL="630237" indent="0">
              <a:buNone/>
              <a:defRPr/>
            </a:lvl5pPr>
          </a:lstStyle>
          <a:p>
            <a:pPr lvl="0"/>
            <a:r>
              <a:rPr lang="en-US"/>
              <a:t>Subtitle goes here, </a:t>
            </a:r>
            <a:r>
              <a:rPr lang="en-US" err="1"/>
              <a:t>Roboto</a:t>
            </a:r>
            <a:r>
              <a:rPr lang="en-US"/>
              <a:t> Regular 24 point, no longer than one line</a:t>
            </a:r>
          </a:p>
        </p:txBody>
      </p:sp>
    </p:spTree>
    <p:extLst>
      <p:ext uri="{BB962C8B-B14F-4D97-AF65-F5344CB8AC3E}">
        <p14:creationId xmlns:p14="http://schemas.microsoft.com/office/powerpoint/2010/main" val="1071829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Subtitle_Blank+Logo">
    <p:spTree>
      <p:nvGrpSpPr>
        <p:cNvPr id="1" name=""/>
        <p:cNvGrpSpPr/>
        <p:nvPr/>
      </p:nvGrpSpPr>
      <p:grpSpPr>
        <a:xfrm>
          <a:off x="0" y="0"/>
          <a:ext cx="0" cy="0"/>
          <a:chOff x="0" y="0"/>
          <a:chExt cx="0" cy="0"/>
        </a:xfrm>
      </p:grpSpPr>
      <p:sp>
        <p:nvSpPr>
          <p:cNvPr id="95" name="Title 1">
            <a:extLst>
              <a:ext uri="{FF2B5EF4-FFF2-40B4-BE49-F238E27FC236}">
                <a16:creationId xmlns:a16="http://schemas.microsoft.com/office/drawing/2014/main" id="{48E5717B-9E58-49D2-9749-1479F91EEFDC}"/>
              </a:ext>
            </a:extLst>
          </p:cNvPr>
          <p:cNvSpPr>
            <a:spLocks noGrp="1"/>
          </p:cNvSpPr>
          <p:nvPr userDrawn="1">
            <p:ph type="title" hasCustomPrompt="1"/>
          </p:nvPr>
        </p:nvSpPr>
        <p:spPr>
          <a:xfrm>
            <a:off x="493714" y="482602"/>
            <a:ext cx="11188532" cy="562427"/>
          </a:xfrm>
          <a:prstGeom prst="rect">
            <a:avLst/>
          </a:prstGeom>
        </p:spPr>
        <p:txBody>
          <a:bodyPr lIns="0"/>
          <a:lstStyle>
            <a:lvl1pPr>
              <a:defRPr baseline="0">
                <a:solidFill>
                  <a:schemeClr val="bg1"/>
                </a:solidFill>
              </a:defRPr>
            </a:lvl1pPr>
          </a:lstStyle>
          <a:p>
            <a:r>
              <a:rPr lang="en-US"/>
              <a:t>Roboto Light, 36 Points, 1 Line</a:t>
            </a:r>
          </a:p>
        </p:txBody>
      </p:sp>
      <p:sp>
        <p:nvSpPr>
          <p:cNvPr id="4" name="TextBox 3">
            <a:extLst>
              <a:ext uri="{FF2B5EF4-FFF2-40B4-BE49-F238E27FC236}">
                <a16:creationId xmlns:a16="http://schemas.microsoft.com/office/drawing/2014/main" id="{47A81E79-1835-49D7-B14C-AAB7A90FD00F}"/>
              </a:ext>
            </a:extLst>
          </p:cNvPr>
          <p:cNvSpPr txBox="1"/>
          <p:nvPr userDrawn="1"/>
        </p:nvSpPr>
        <p:spPr>
          <a:xfrm>
            <a:off x="176868" y="6365106"/>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900" b="0" i="0" kern="1200" smtClean="0">
                <a:solidFill>
                  <a:schemeClr val="tx1">
                    <a:lumMod val="20000"/>
                    <a:lumOff val="80000"/>
                  </a:schemeClr>
                </a:solidFill>
                <a:latin typeface="Roboto" panose="02000000000000000000" pitchFamily="2" charset="0"/>
                <a:ea typeface="Roboto" panose="02000000000000000000" pitchFamily="2" charset="0"/>
                <a:cs typeface="Roboto" charset="0"/>
              </a:rPr>
              <a:pPr marL="0" lvl="0" algn="ctr" defTabSz="457200" rtl="0" eaLnBrk="1" latinLnBrk="0" hangingPunct="1"/>
              <a:t>‹#›</a:t>
            </a:fld>
            <a:endParaRPr lang="en-US" sz="900" b="0" i="0" kern="1200">
              <a:solidFill>
                <a:schemeClr val="tx1">
                  <a:lumMod val="20000"/>
                  <a:lumOff val="80000"/>
                </a:schemeClr>
              </a:solidFill>
              <a:latin typeface="Roboto" panose="02000000000000000000" pitchFamily="2" charset="0"/>
              <a:ea typeface="Roboto" panose="02000000000000000000" pitchFamily="2" charset="0"/>
              <a:cs typeface="Roboto" charset="0"/>
            </a:endParaRPr>
          </a:p>
        </p:txBody>
      </p:sp>
      <p:sp>
        <p:nvSpPr>
          <p:cNvPr id="5" name="TextBox 4">
            <a:extLst>
              <a:ext uri="{FF2B5EF4-FFF2-40B4-BE49-F238E27FC236}">
                <a16:creationId xmlns:a16="http://schemas.microsoft.com/office/drawing/2014/main" id="{7D5BD8C4-D207-44D5-AD0F-37CEB10A287C}"/>
              </a:ext>
            </a:extLst>
          </p:cNvPr>
          <p:cNvSpPr txBox="1"/>
          <p:nvPr userDrawn="1"/>
        </p:nvSpPr>
        <p:spPr>
          <a:xfrm>
            <a:off x="1023708"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a:solidFill>
                  <a:schemeClr val="tx1">
                    <a:lumMod val="60000"/>
                    <a:lumOff val="40000"/>
                  </a:schemeClr>
                </a:solidFill>
                <a:latin typeface="Roboto" panose="02000000000000000000" pitchFamily="2" charset="0"/>
                <a:ea typeface="Roboto" panose="02000000000000000000" pitchFamily="2" charset="0"/>
                <a:cs typeface="Roboto" charset="0"/>
              </a:rPr>
              <a:t>© Informatica. Proprietary and Confidential.</a:t>
            </a:r>
          </a:p>
        </p:txBody>
      </p:sp>
      <p:pic>
        <p:nvPicPr>
          <p:cNvPr id="6" name="Picture 5">
            <a:extLst>
              <a:ext uri="{FF2B5EF4-FFF2-40B4-BE49-F238E27FC236}">
                <a16:creationId xmlns:a16="http://schemas.microsoft.com/office/drawing/2014/main" id="{F93BFED6-E2B1-46C4-8752-34CA7600C508}"/>
              </a:ext>
            </a:extLst>
          </p:cNvPr>
          <p:cNvPicPr>
            <a:picLocks noChangeAspect="1"/>
          </p:cNvPicPr>
          <p:nvPr userDrawn="1"/>
        </p:nvPicPr>
        <p:blipFill>
          <a:blip r:embed="rId2"/>
          <a:srcRect/>
          <a:stretch/>
        </p:blipFill>
        <p:spPr>
          <a:xfrm>
            <a:off x="9735978" y="6098796"/>
            <a:ext cx="2039100" cy="699990"/>
          </a:xfrm>
          <a:prstGeom prst="rect">
            <a:avLst/>
          </a:prstGeom>
        </p:spPr>
      </p:pic>
      <p:sp>
        <p:nvSpPr>
          <p:cNvPr id="7" name="Text Placeholder 4">
            <a:extLst>
              <a:ext uri="{FF2B5EF4-FFF2-40B4-BE49-F238E27FC236}">
                <a16:creationId xmlns:a16="http://schemas.microsoft.com/office/drawing/2014/main" id="{15F2AAB4-5BEE-514B-9210-28D158BFCCA0}"/>
              </a:ext>
            </a:extLst>
          </p:cNvPr>
          <p:cNvSpPr>
            <a:spLocks noGrp="1"/>
          </p:cNvSpPr>
          <p:nvPr>
            <p:ph type="body" sz="quarter" idx="13" hasCustomPrompt="1"/>
          </p:nvPr>
        </p:nvSpPr>
        <p:spPr>
          <a:xfrm>
            <a:off x="493714" y="1058899"/>
            <a:ext cx="11188532" cy="331601"/>
          </a:xfrm>
          <a:prstGeom prst="rect">
            <a:avLst/>
          </a:prstGeom>
        </p:spPr>
        <p:txBody>
          <a:bodyPr lIns="0" anchor="t"/>
          <a:lstStyle>
            <a:lvl1pPr marL="0" indent="0">
              <a:buNone/>
              <a:defRPr sz="2400" i="0">
                <a:solidFill>
                  <a:schemeClr val="bg1"/>
                </a:solidFill>
                <a:latin typeface="Roboto" panose="02000000000000000000" pitchFamily="2" charset="0"/>
                <a:ea typeface="Roboto" panose="02000000000000000000" pitchFamily="2" charset="0"/>
              </a:defRPr>
            </a:lvl1pPr>
            <a:lvl2pPr marL="169863" indent="0">
              <a:buNone/>
              <a:defRPr/>
            </a:lvl2pPr>
            <a:lvl3pPr marL="344487" indent="0">
              <a:buNone/>
              <a:defRPr/>
            </a:lvl3pPr>
            <a:lvl4pPr marL="458788" indent="0">
              <a:buNone/>
              <a:defRPr/>
            </a:lvl4pPr>
            <a:lvl5pPr marL="630237" indent="0">
              <a:buNone/>
              <a:defRPr/>
            </a:lvl5pPr>
          </a:lstStyle>
          <a:p>
            <a:pPr lvl="0"/>
            <a:r>
              <a:rPr lang="en-US"/>
              <a:t>Subtitle goes here, </a:t>
            </a:r>
            <a:r>
              <a:rPr lang="en-US" err="1"/>
              <a:t>Roboto</a:t>
            </a:r>
            <a:r>
              <a:rPr lang="en-US"/>
              <a:t> Regular 24 point, no longer than one line</a:t>
            </a:r>
          </a:p>
        </p:txBody>
      </p:sp>
    </p:spTree>
    <p:extLst>
      <p:ext uri="{BB962C8B-B14F-4D97-AF65-F5344CB8AC3E}">
        <p14:creationId xmlns:p14="http://schemas.microsoft.com/office/powerpoint/2010/main" val="1160016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Subtitle/Content">
    <p:spTree>
      <p:nvGrpSpPr>
        <p:cNvPr id="1" name=""/>
        <p:cNvGrpSpPr/>
        <p:nvPr/>
      </p:nvGrpSpPr>
      <p:grpSpPr>
        <a:xfrm>
          <a:off x="0" y="0"/>
          <a:ext cx="0" cy="0"/>
          <a:chOff x="0" y="0"/>
          <a:chExt cx="0" cy="0"/>
        </a:xfrm>
      </p:grpSpPr>
      <p:sp>
        <p:nvSpPr>
          <p:cNvPr id="10" name="Right Triangle 9">
            <a:extLst>
              <a:ext uri="{FF2B5EF4-FFF2-40B4-BE49-F238E27FC236}">
                <a16:creationId xmlns:a16="http://schemas.microsoft.com/office/drawing/2014/main" id="{E33FD542-C6FE-4ED5-960B-A6ACAD4EC3E0}"/>
              </a:ext>
            </a:extLst>
          </p:cNvPr>
          <p:cNvSpPr/>
          <p:nvPr userDrawn="1"/>
        </p:nvSpPr>
        <p:spPr>
          <a:xfrm>
            <a:off x="0" y="2761950"/>
            <a:ext cx="702453" cy="4096050"/>
          </a:xfrm>
          <a:prstGeom prst="r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11" name="Content Placeholder 5">
            <a:extLst>
              <a:ext uri="{FF2B5EF4-FFF2-40B4-BE49-F238E27FC236}">
                <a16:creationId xmlns:a16="http://schemas.microsoft.com/office/drawing/2014/main" id="{956D1FDC-5FA5-4B2D-A5AA-86637FA3B976}"/>
              </a:ext>
            </a:extLst>
          </p:cNvPr>
          <p:cNvSpPr>
            <a:spLocks noGrp="1"/>
          </p:cNvSpPr>
          <p:nvPr userDrawn="1">
            <p:ph sz="quarter" idx="14" hasCustomPrompt="1"/>
          </p:nvPr>
        </p:nvSpPr>
        <p:spPr>
          <a:xfrm>
            <a:off x="934125" y="1854200"/>
            <a:ext cx="10650537" cy="4165600"/>
          </a:xfrm>
          <a:prstGeom prst="rect">
            <a:avLst/>
          </a:prstGeom>
        </p:spPr>
        <p:txBody>
          <a:bodyPr vert="horz" lIns="0" tIns="0" rIns="0" bIns="0" rtlCol="0">
            <a:noAutofit/>
          </a:bodyPr>
          <a:lstStyle>
            <a:lvl1pPr>
              <a:spcBef>
                <a:spcPts val="1200"/>
              </a:spcBef>
              <a:defRPr lang="en-US" dirty="0">
                <a:latin typeface="Roboto" panose="02000000000000000000" pitchFamily="2" charset="0"/>
                <a:ea typeface="Roboto" panose="02000000000000000000" pitchFamily="2" charset="0"/>
              </a:defRPr>
            </a:lvl1pPr>
            <a:lvl2pPr>
              <a:spcBef>
                <a:spcPts val="600"/>
              </a:spcBef>
              <a:defRPr lang="en-US" dirty="0">
                <a:latin typeface="Roboto" panose="02000000000000000000" pitchFamily="2" charset="0"/>
                <a:ea typeface="Roboto" panose="02000000000000000000" pitchFamily="2" charset="0"/>
              </a:defRPr>
            </a:lvl2pPr>
            <a:lvl3pPr>
              <a:spcBef>
                <a:spcPts val="600"/>
              </a:spcBef>
              <a:defRPr lang="en-US" dirty="0">
                <a:latin typeface="Roboto" panose="02000000000000000000" pitchFamily="2" charset="0"/>
                <a:ea typeface="Roboto" panose="02000000000000000000" pitchFamily="2" charset="0"/>
              </a:defRPr>
            </a:lvl3pPr>
          </a:lstStyle>
          <a:p>
            <a:pPr lvl="0"/>
            <a:r>
              <a:rPr lang="en-US"/>
              <a:t>First bullet, Roboto Regular 20 point</a:t>
            </a:r>
          </a:p>
          <a:p>
            <a:pPr lvl="1"/>
            <a:r>
              <a:rPr lang="en-US"/>
              <a:t>Second bullet, </a:t>
            </a:r>
            <a:r>
              <a:rPr lang="en-US" err="1"/>
              <a:t>Roboto</a:t>
            </a:r>
            <a:r>
              <a:rPr lang="en-US"/>
              <a:t> Regular 18 point</a:t>
            </a:r>
          </a:p>
          <a:p>
            <a:pPr lvl="2"/>
            <a:r>
              <a:rPr lang="en-US"/>
              <a:t>Third bullet, </a:t>
            </a:r>
            <a:r>
              <a:rPr lang="en-US" err="1"/>
              <a:t>Roboto</a:t>
            </a:r>
            <a:r>
              <a:rPr lang="en-US"/>
              <a:t> Regular 16 point</a:t>
            </a:r>
          </a:p>
        </p:txBody>
      </p:sp>
      <p:sp>
        <p:nvSpPr>
          <p:cNvPr id="3" name="TextBox 2">
            <a:extLst>
              <a:ext uri="{FF2B5EF4-FFF2-40B4-BE49-F238E27FC236}">
                <a16:creationId xmlns:a16="http://schemas.microsoft.com/office/drawing/2014/main" id="{8FE6C657-C7BA-4DE2-8E6E-209687CFF525}"/>
              </a:ext>
            </a:extLst>
          </p:cNvPr>
          <p:cNvSpPr txBox="1"/>
          <p:nvPr userDrawn="1"/>
        </p:nvSpPr>
        <p:spPr>
          <a:xfrm>
            <a:off x="1023708"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a:solidFill>
                  <a:schemeClr val="tx1">
                    <a:lumMod val="60000"/>
                    <a:lumOff val="40000"/>
                  </a:schemeClr>
                </a:solidFill>
                <a:latin typeface="Roboto" panose="02000000000000000000" pitchFamily="2" charset="0"/>
                <a:ea typeface="Roboto" panose="02000000000000000000" pitchFamily="2" charset="0"/>
                <a:cs typeface="Roboto" charset="0"/>
              </a:rPr>
              <a:t>© Informatica. Proprietary and Confidential.</a:t>
            </a:r>
          </a:p>
        </p:txBody>
      </p:sp>
      <p:sp>
        <p:nvSpPr>
          <p:cNvPr id="15" name="Title 1">
            <a:extLst>
              <a:ext uri="{FF2B5EF4-FFF2-40B4-BE49-F238E27FC236}">
                <a16:creationId xmlns:a16="http://schemas.microsoft.com/office/drawing/2014/main" id="{EA9FF02E-07BD-8C42-8DB3-7F3EBA36F422}"/>
              </a:ext>
            </a:extLst>
          </p:cNvPr>
          <p:cNvSpPr>
            <a:spLocks noGrp="1"/>
          </p:cNvSpPr>
          <p:nvPr>
            <p:ph type="title" hasCustomPrompt="1"/>
          </p:nvPr>
        </p:nvSpPr>
        <p:spPr>
          <a:xfrm>
            <a:off x="493714" y="482602"/>
            <a:ext cx="11188532" cy="562427"/>
          </a:xfrm>
          <a:prstGeom prst="rect">
            <a:avLst/>
          </a:prstGeom>
        </p:spPr>
        <p:txBody>
          <a:bodyPr lIns="0"/>
          <a:lstStyle>
            <a:lvl1pPr>
              <a:defRPr baseline="0">
                <a:solidFill>
                  <a:schemeClr val="bg1"/>
                </a:solidFill>
              </a:defRPr>
            </a:lvl1pPr>
          </a:lstStyle>
          <a:p>
            <a:r>
              <a:rPr lang="en-US"/>
              <a:t>Roboto Light, 36 Points, 1 Line</a:t>
            </a:r>
          </a:p>
        </p:txBody>
      </p:sp>
      <p:pic>
        <p:nvPicPr>
          <p:cNvPr id="9" name="Picture 8">
            <a:extLst>
              <a:ext uri="{FF2B5EF4-FFF2-40B4-BE49-F238E27FC236}">
                <a16:creationId xmlns:a16="http://schemas.microsoft.com/office/drawing/2014/main" id="{AD7BC26A-261D-884F-A9D2-61B266D20938}"/>
              </a:ext>
            </a:extLst>
          </p:cNvPr>
          <p:cNvPicPr>
            <a:picLocks noChangeAspect="1"/>
          </p:cNvPicPr>
          <p:nvPr userDrawn="1"/>
        </p:nvPicPr>
        <p:blipFill>
          <a:blip r:embed="rId2"/>
          <a:srcRect/>
          <a:stretch/>
        </p:blipFill>
        <p:spPr>
          <a:xfrm>
            <a:off x="9747647" y="6098796"/>
            <a:ext cx="2033013" cy="699990"/>
          </a:xfrm>
          <a:prstGeom prst="rect">
            <a:avLst/>
          </a:prstGeom>
        </p:spPr>
      </p:pic>
      <p:sp>
        <p:nvSpPr>
          <p:cNvPr id="16" name="Right Triangle 15">
            <a:extLst>
              <a:ext uri="{FF2B5EF4-FFF2-40B4-BE49-F238E27FC236}">
                <a16:creationId xmlns:a16="http://schemas.microsoft.com/office/drawing/2014/main" id="{ECD3402A-2EC0-9443-84EB-24606ECF6933}"/>
              </a:ext>
            </a:extLst>
          </p:cNvPr>
          <p:cNvSpPr/>
          <p:nvPr userDrawn="1"/>
        </p:nvSpPr>
        <p:spPr>
          <a:xfrm>
            <a:off x="1" y="2761950"/>
            <a:ext cx="590764" cy="4096050"/>
          </a:xfrm>
          <a:prstGeom prst="rtTriangle">
            <a:avLst/>
          </a:prstGeom>
          <a:gradFill>
            <a:gsLst>
              <a:gs pos="0">
                <a:schemeClr val="accent2"/>
              </a:gs>
              <a:gs pos="76000">
                <a:srgbClr val="FF6500"/>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rIns="137160" bIns="91440" rtlCol="0" anchor="ctr">
            <a:noAutofit/>
          </a:bodyPr>
          <a:lstStyle/>
          <a:p>
            <a:pPr lvl="0"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23" name="TextBox 22">
            <a:extLst>
              <a:ext uri="{FF2B5EF4-FFF2-40B4-BE49-F238E27FC236}">
                <a16:creationId xmlns:a16="http://schemas.microsoft.com/office/drawing/2014/main" id="{BCF260CE-EC9E-49A9-9345-D0C73BFC8564}"/>
              </a:ext>
            </a:extLst>
          </p:cNvPr>
          <p:cNvSpPr txBox="1"/>
          <p:nvPr userDrawn="1"/>
        </p:nvSpPr>
        <p:spPr>
          <a:xfrm>
            <a:off x="176868" y="6365106"/>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900" b="0" i="0" kern="1200" smtClean="0">
                <a:solidFill>
                  <a:schemeClr val="bg1"/>
                </a:solidFill>
                <a:latin typeface="Roboto" panose="02000000000000000000" pitchFamily="2" charset="0"/>
                <a:ea typeface="Roboto" panose="02000000000000000000" pitchFamily="2" charset="0"/>
                <a:cs typeface="Roboto" charset="0"/>
              </a:rPr>
              <a:pPr marL="0" lvl="0" algn="ctr" defTabSz="457200" rtl="0" eaLnBrk="1" latinLnBrk="0" hangingPunct="1"/>
              <a:t>‹#›</a:t>
            </a:fld>
            <a:endParaRPr lang="en-US" sz="900" b="0" i="0" kern="1200">
              <a:solidFill>
                <a:schemeClr val="bg1"/>
              </a:solidFill>
              <a:latin typeface="Roboto" panose="02000000000000000000" pitchFamily="2" charset="0"/>
              <a:ea typeface="Roboto" panose="02000000000000000000" pitchFamily="2" charset="0"/>
              <a:cs typeface="Roboto" charset="0"/>
            </a:endParaRPr>
          </a:p>
        </p:txBody>
      </p:sp>
      <p:sp>
        <p:nvSpPr>
          <p:cNvPr id="13" name="Text Placeholder 4">
            <a:extLst>
              <a:ext uri="{FF2B5EF4-FFF2-40B4-BE49-F238E27FC236}">
                <a16:creationId xmlns:a16="http://schemas.microsoft.com/office/drawing/2014/main" id="{5F7C70E8-7B10-CE4C-ACB1-35B84D6BEEB7}"/>
              </a:ext>
            </a:extLst>
          </p:cNvPr>
          <p:cNvSpPr>
            <a:spLocks noGrp="1"/>
          </p:cNvSpPr>
          <p:nvPr>
            <p:ph type="body" sz="quarter" idx="13" hasCustomPrompt="1"/>
          </p:nvPr>
        </p:nvSpPr>
        <p:spPr>
          <a:xfrm>
            <a:off x="493714" y="1058899"/>
            <a:ext cx="11188532" cy="331601"/>
          </a:xfrm>
          <a:prstGeom prst="rect">
            <a:avLst/>
          </a:prstGeom>
        </p:spPr>
        <p:txBody>
          <a:bodyPr lIns="0" anchor="t"/>
          <a:lstStyle>
            <a:lvl1pPr marL="0" indent="0">
              <a:buNone/>
              <a:defRPr sz="2400" i="0">
                <a:solidFill>
                  <a:schemeClr val="bg1"/>
                </a:solidFill>
                <a:latin typeface="Roboto" panose="02000000000000000000" pitchFamily="2" charset="0"/>
                <a:ea typeface="Roboto" panose="02000000000000000000" pitchFamily="2" charset="0"/>
              </a:defRPr>
            </a:lvl1pPr>
            <a:lvl2pPr marL="169863" indent="0">
              <a:buNone/>
              <a:defRPr/>
            </a:lvl2pPr>
            <a:lvl3pPr marL="344487" indent="0">
              <a:buNone/>
              <a:defRPr/>
            </a:lvl3pPr>
            <a:lvl4pPr marL="458788" indent="0">
              <a:buNone/>
              <a:defRPr/>
            </a:lvl4pPr>
            <a:lvl5pPr marL="630237" indent="0">
              <a:buNone/>
              <a:defRPr/>
            </a:lvl5pPr>
          </a:lstStyle>
          <a:p>
            <a:pPr lvl="0"/>
            <a:r>
              <a:rPr lang="en-US"/>
              <a:t>Subtitle goes here, </a:t>
            </a:r>
            <a:r>
              <a:rPr lang="en-US" err="1"/>
              <a:t>Roboto</a:t>
            </a:r>
            <a:r>
              <a:rPr lang="en-US"/>
              <a:t> Regular 24 point, no longer than one line</a:t>
            </a:r>
          </a:p>
        </p:txBody>
      </p:sp>
    </p:spTree>
    <p:extLst>
      <p:ext uri="{BB962C8B-B14F-4D97-AF65-F5344CB8AC3E}">
        <p14:creationId xmlns:p14="http://schemas.microsoft.com/office/powerpoint/2010/main" val="555104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Subtitle/Content_Blank">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494340A0-560A-4547-9570-D5F0A59ED648}"/>
              </a:ext>
            </a:extLst>
          </p:cNvPr>
          <p:cNvSpPr>
            <a:spLocks noGrp="1"/>
          </p:cNvSpPr>
          <p:nvPr>
            <p:ph type="title" hasCustomPrompt="1"/>
          </p:nvPr>
        </p:nvSpPr>
        <p:spPr>
          <a:xfrm>
            <a:off x="493714" y="482602"/>
            <a:ext cx="11188532" cy="562427"/>
          </a:xfrm>
          <a:prstGeom prst="rect">
            <a:avLst/>
          </a:prstGeom>
        </p:spPr>
        <p:txBody>
          <a:bodyPr lIns="0"/>
          <a:lstStyle>
            <a:lvl1pPr>
              <a:defRPr baseline="0">
                <a:solidFill>
                  <a:schemeClr val="bg1"/>
                </a:solidFill>
              </a:defRPr>
            </a:lvl1pPr>
          </a:lstStyle>
          <a:p>
            <a:r>
              <a:rPr lang="en-US"/>
              <a:t>Roboto Light, 36 Points, 1 Line</a:t>
            </a:r>
          </a:p>
        </p:txBody>
      </p:sp>
      <p:sp>
        <p:nvSpPr>
          <p:cNvPr id="7" name="TextBox 6">
            <a:extLst>
              <a:ext uri="{FF2B5EF4-FFF2-40B4-BE49-F238E27FC236}">
                <a16:creationId xmlns:a16="http://schemas.microsoft.com/office/drawing/2014/main" id="{4B452AA4-2EC9-471F-842D-61D8D88E109D}"/>
              </a:ext>
            </a:extLst>
          </p:cNvPr>
          <p:cNvSpPr txBox="1"/>
          <p:nvPr userDrawn="1"/>
        </p:nvSpPr>
        <p:spPr>
          <a:xfrm>
            <a:off x="176868" y="6365106"/>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900" b="0" i="0" kern="1200" smtClean="0">
                <a:solidFill>
                  <a:schemeClr val="tx1">
                    <a:lumMod val="20000"/>
                    <a:lumOff val="80000"/>
                  </a:schemeClr>
                </a:solidFill>
                <a:latin typeface="Roboto" panose="02000000000000000000" pitchFamily="2" charset="0"/>
                <a:ea typeface="Roboto" panose="02000000000000000000" pitchFamily="2" charset="0"/>
                <a:cs typeface="Roboto" charset="0"/>
              </a:rPr>
              <a:pPr marL="0" lvl="0" algn="ctr" defTabSz="457200" rtl="0" eaLnBrk="1" latinLnBrk="0" hangingPunct="1"/>
              <a:t>‹#›</a:t>
            </a:fld>
            <a:endParaRPr lang="en-US" sz="900" b="0" i="0" kern="1200">
              <a:solidFill>
                <a:schemeClr val="tx1">
                  <a:lumMod val="20000"/>
                  <a:lumOff val="80000"/>
                </a:schemeClr>
              </a:solidFill>
              <a:latin typeface="Roboto" panose="02000000000000000000" pitchFamily="2" charset="0"/>
              <a:ea typeface="Roboto" panose="02000000000000000000" pitchFamily="2" charset="0"/>
              <a:cs typeface="Roboto" charset="0"/>
            </a:endParaRPr>
          </a:p>
        </p:txBody>
      </p:sp>
      <p:sp>
        <p:nvSpPr>
          <p:cNvPr id="8" name="TextBox 7">
            <a:extLst>
              <a:ext uri="{FF2B5EF4-FFF2-40B4-BE49-F238E27FC236}">
                <a16:creationId xmlns:a16="http://schemas.microsoft.com/office/drawing/2014/main" id="{C164EDE0-FF2B-4169-AB9F-791F1F7F6EEC}"/>
              </a:ext>
            </a:extLst>
          </p:cNvPr>
          <p:cNvSpPr txBox="1"/>
          <p:nvPr userDrawn="1"/>
        </p:nvSpPr>
        <p:spPr>
          <a:xfrm>
            <a:off x="1023708"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a:solidFill>
                  <a:schemeClr val="tx1">
                    <a:lumMod val="60000"/>
                    <a:lumOff val="40000"/>
                  </a:schemeClr>
                </a:solidFill>
                <a:latin typeface="Roboto" panose="02000000000000000000" pitchFamily="2" charset="0"/>
                <a:ea typeface="Roboto" panose="02000000000000000000" pitchFamily="2" charset="0"/>
                <a:cs typeface="Roboto" charset="0"/>
              </a:rPr>
              <a:t>© Informatica. Proprietary and Confidential.</a:t>
            </a:r>
          </a:p>
        </p:txBody>
      </p:sp>
      <p:sp>
        <p:nvSpPr>
          <p:cNvPr id="10" name="Content Placeholder 5">
            <a:extLst>
              <a:ext uri="{FF2B5EF4-FFF2-40B4-BE49-F238E27FC236}">
                <a16:creationId xmlns:a16="http://schemas.microsoft.com/office/drawing/2014/main" id="{2435A5BA-D5E8-EB43-8833-96FECF09870B}"/>
              </a:ext>
            </a:extLst>
          </p:cNvPr>
          <p:cNvSpPr>
            <a:spLocks noGrp="1"/>
          </p:cNvSpPr>
          <p:nvPr>
            <p:ph sz="quarter" idx="14" hasCustomPrompt="1"/>
          </p:nvPr>
        </p:nvSpPr>
        <p:spPr>
          <a:xfrm>
            <a:off x="934125" y="1854200"/>
            <a:ext cx="10650537" cy="4165600"/>
          </a:xfrm>
          <a:prstGeom prst="rect">
            <a:avLst/>
          </a:prstGeom>
        </p:spPr>
        <p:txBody>
          <a:bodyPr vert="horz" lIns="0" tIns="0" rIns="0" bIns="0" rtlCol="0">
            <a:noAutofit/>
          </a:bodyPr>
          <a:lstStyle>
            <a:lvl1pPr>
              <a:spcBef>
                <a:spcPts val="1200"/>
              </a:spcBef>
              <a:defRPr lang="en-US" dirty="0">
                <a:latin typeface="Roboto" panose="02000000000000000000" pitchFamily="2" charset="0"/>
                <a:ea typeface="Roboto" panose="02000000000000000000" pitchFamily="2" charset="0"/>
              </a:defRPr>
            </a:lvl1pPr>
            <a:lvl2pPr>
              <a:spcBef>
                <a:spcPts val="600"/>
              </a:spcBef>
              <a:defRPr lang="en-US" dirty="0">
                <a:latin typeface="Roboto" panose="02000000000000000000" pitchFamily="2" charset="0"/>
                <a:ea typeface="Roboto" panose="02000000000000000000" pitchFamily="2" charset="0"/>
              </a:defRPr>
            </a:lvl2pPr>
            <a:lvl3pPr>
              <a:spcBef>
                <a:spcPts val="600"/>
              </a:spcBef>
              <a:defRPr lang="en-US" dirty="0">
                <a:latin typeface="Roboto" panose="02000000000000000000" pitchFamily="2" charset="0"/>
                <a:ea typeface="Roboto" panose="02000000000000000000" pitchFamily="2" charset="0"/>
              </a:defRPr>
            </a:lvl3pPr>
          </a:lstStyle>
          <a:p>
            <a:pPr lvl="0"/>
            <a:r>
              <a:rPr lang="en-US"/>
              <a:t>First bullet, Roboto Regular 20 point</a:t>
            </a:r>
          </a:p>
          <a:p>
            <a:pPr lvl="1"/>
            <a:r>
              <a:rPr lang="en-US"/>
              <a:t>Second bullet, </a:t>
            </a:r>
            <a:r>
              <a:rPr lang="en-US" err="1"/>
              <a:t>Roboto</a:t>
            </a:r>
            <a:r>
              <a:rPr lang="en-US"/>
              <a:t> Regular 18 point</a:t>
            </a:r>
          </a:p>
          <a:p>
            <a:pPr lvl="2"/>
            <a:r>
              <a:rPr lang="en-US"/>
              <a:t>Third bullet, </a:t>
            </a:r>
            <a:r>
              <a:rPr lang="en-US" err="1"/>
              <a:t>Roboto</a:t>
            </a:r>
            <a:r>
              <a:rPr lang="en-US"/>
              <a:t> Regular 16 point</a:t>
            </a:r>
          </a:p>
        </p:txBody>
      </p:sp>
      <p:sp>
        <p:nvSpPr>
          <p:cNvPr id="12" name="Text Placeholder 4">
            <a:extLst>
              <a:ext uri="{FF2B5EF4-FFF2-40B4-BE49-F238E27FC236}">
                <a16:creationId xmlns:a16="http://schemas.microsoft.com/office/drawing/2014/main" id="{9D9AFE3C-363B-0549-ACC4-E8704C8BBECE}"/>
              </a:ext>
            </a:extLst>
          </p:cNvPr>
          <p:cNvSpPr>
            <a:spLocks noGrp="1"/>
          </p:cNvSpPr>
          <p:nvPr>
            <p:ph type="body" sz="quarter" idx="13" hasCustomPrompt="1"/>
          </p:nvPr>
        </p:nvSpPr>
        <p:spPr>
          <a:xfrm>
            <a:off x="493714" y="1058899"/>
            <a:ext cx="11188532" cy="331601"/>
          </a:xfrm>
          <a:prstGeom prst="rect">
            <a:avLst/>
          </a:prstGeom>
        </p:spPr>
        <p:txBody>
          <a:bodyPr lIns="0" anchor="t"/>
          <a:lstStyle>
            <a:lvl1pPr marL="0" indent="0">
              <a:buNone/>
              <a:defRPr sz="2400" i="0">
                <a:solidFill>
                  <a:schemeClr val="bg1"/>
                </a:solidFill>
                <a:latin typeface="Roboto" panose="02000000000000000000" pitchFamily="2" charset="0"/>
                <a:ea typeface="Roboto" panose="02000000000000000000" pitchFamily="2" charset="0"/>
              </a:defRPr>
            </a:lvl1pPr>
            <a:lvl2pPr marL="169863" indent="0">
              <a:buNone/>
              <a:defRPr/>
            </a:lvl2pPr>
            <a:lvl3pPr marL="344487" indent="0">
              <a:buNone/>
              <a:defRPr/>
            </a:lvl3pPr>
            <a:lvl4pPr marL="458788" indent="0">
              <a:buNone/>
              <a:defRPr/>
            </a:lvl4pPr>
            <a:lvl5pPr marL="630237" indent="0">
              <a:buNone/>
              <a:defRPr/>
            </a:lvl5pPr>
          </a:lstStyle>
          <a:p>
            <a:pPr lvl="0"/>
            <a:r>
              <a:rPr lang="en-US"/>
              <a:t>Subtitle goes here, </a:t>
            </a:r>
            <a:r>
              <a:rPr lang="en-US" err="1"/>
              <a:t>Roboto</a:t>
            </a:r>
            <a:r>
              <a:rPr lang="en-US"/>
              <a:t> Regular 24 point, no longer than one line</a:t>
            </a:r>
          </a:p>
        </p:txBody>
      </p:sp>
    </p:spTree>
    <p:extLst>
      <p:ext uri="{BB962C8B-B14F-4D97-AF65-F5344CB8AC3E}">
        <p14:creationId xmlns:p14="http://schemas.microsoft.com/office/powerpoint/2010/main" val="1452176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Subtitle/Content_Blank+Logo">
    <p:spTree>
      <p:nvGrpSpPr>
        <p:cNvPr id="1" name=""/>
        <p:cNvGrpSpPr/>
        <p:nvPr/>
      </p:nvGrpSpPr>
      <p:grpSpPr>
        <a:xfrm>
          <a:off x="0" y="0"/>
          <a:ext cx="0" cy="0"/>
          <a:chOff x="0" y="0"/>
          <a:chExt cx="0" cy="0"/>
        </a:xfrm>
      </p:grpSpPr>
      <p:sp>
        <p:nvSpPr>
          <p:cNvPr id="23" name="TextBox 22">
            <a:extLst>
              <a:ext uri="{FF2B5EF4-FFF2-40B4-BE49-F238E27FC236}">
                <a16:creationId xmlns:a16="http://schemas.microsoft.com/office/drawing/2014/main" id="{BCF260CE-EC9E-49A9-9345-D0C73BFC8564}"/>
              </a:ext>
            </a:extLst>
          </p:cNvPr>
          <p:cNvSpPr txBox="1"/>
          <p:nvPr userDrawn="1"/>
        </p:nvSpPr>
        <p:spPr>
          <a:xfrm>
            <a:off x="176868" y="6365106"/>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900" b="0" i="0" kern="1200" smtClean="0">
                <a:solidFill>
                  <a:schemeClr val="tx1">
                    <a:lumMod val="20000"/>
                    <a:lumOff val="80000"/>
                  </a:schemeClr>
                </a:solidFill>
                <a:latin typeface="Roboto" panose="02000000000000000000" pitchFamily="2" charset="0"/>
                <a:ea typeface="Roboto" panose="02000000000000000000" pitchFamily="2" charset="0"/>
                <a:cs typeface="Roboto" charset="0"/>
              </a:rPr>
              <a:pPr marL="0" lvl="0" algn="ctr" defTabSz="457200" rtl="0" eaLnBrk="1" latinLnBrk="0" hangingPunct="1"/>
              <a:t>‹#›</a:t>
            </a:fld>
            <a:endParaRPr lang="en-US" sz="900" b="0" i="0" kern="1200">
              <a:solidFill>
                <a:schemeClr val="tx1">
                  <a:lumMod val="20000"/>
                  <a:lumOff val="80000"/>
                </a:schemeClr>
              </a:solidFill>
              <a:latin typeface="Roboto" panose="02000000000000000000" pitchFamily="2" charset="0"/>
              <a:ea typeface="Roboto" panose="02000000000000000000" pitchFamily="2" charset="0"/>
              <a:cs typeface="Roboto" charset="0"/>
            </a:endParaRPr>
          </a:p>
        </p:txBody>
      </p:sp>
      <p:sp>
        <p:nvSpPr>
          <p:cNvPr id="3" name="TextBox 2">
            <a:extLst>
              <a:ext uri="{FF2B5EF4-FFF2-40B4-BE49-F238E27FC236}">
                <a16:creationId xmlns:a16="http://schemas.microsoft.com/office/drawing/2014/main" id="{8FE6C657-C7BA-4DE2-8E6E-209687CFF525}"/>
              </a:ext>
            </a:extLst>
          </p:cNvPr>
          <p:cNvSpPr txBox="1"/>
          <p:nvPr userDrawn="1"/>
        </p:nvSpPr>
        <p:spPr>
          <a:xfrm>
            <a:off x="1023708"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a:solidFill>
                  <a:schemeClr val="tx1">
                    <a:lumMod val="60000"/>
                    <a:lumOff val="40000"/>
                  </a:schemeClr>
                </a:solidFill>
                <a:latin typeface="Roboto" panose="02000000000000000000" pitchFamily="2" charset="0"/>
                <a:ea typeface="Roboto" panose="02000000000000000000" pitchFamily="2" charset="0"/>
                <a:cs typeface="Roboto" charset="0"/>
              </a:rPr>
              <a:t>© Informatica. Proprietary and Confidential.</a:t>
            </a:r>
          </a:p>
        </p:txBody>
      </p:sp>
      <p:sp>
        <p:nvSpPr>
          <p:cNvPr id="15" name="Title 1">
            <a:extLst>
              <a:ext uri="{FF2B5EF4-FFF2-40B4-BE49-F238E27FC236}">
                <a16:creationId xmlns:a16="http://schemas.microsoft.com/office/drawing/2014/main" id="{EA9FF02E-07BD-8C42-8DB3-7F3EBA36F422}"/>
              </a:ext>
            </a:extLst>
          </p:cNvPr>
          <p:cNvSpPr>
            <a:spLocks noGrp="1"/>
          </p:cNvSpPr>
          <p:nvPr>
            <p:ph type="title" hasCustomPrompt="1"/>
          </p:nvPr>
        </p:nvSpPr>
        <p:spPr>
          <a:xfrm>
            <a:off x="493714" y="482602"/>
            <a:ext cx="11188532" cy="562427"/>
          </a:xfrm>
          <a:prstGeom prst="rect">
            <a:avLst/>
          </a:prstGeom>
        </p:spPr>
        <p:txBody>
          <a:bodyPr lIns="0"/>
          <a:lstStyle>
            <a:lvl1pPr>
              <a:defRPr baseline="0">
                <a:solidFill>
                  <a:schemeClr val="bg1"/>
                </a:solidFill>
              </a:defRPr>
            </a:lvl1pPr>
          </a:lstStyle>
          <a:p>
            <a:r>
              <a:rPr lang="en-US"/>
              <a:t>Roboto Light, 36 Points, 1 Line</a:t>
            </a:r>
          </a:p>
        </p:txBody>
      </p:sp>
      <p:pic>
        <p:nvPicPr>
          <p:cNvPr id="9" name="Picture 8">
            <a:extLst>
              <a:ext uri="{FF2B5EF4-FFF2-40B4-BE49-F238E27FC236}">
                <a16:creationId xmlns:a16="http://schemas.microsoft.com/office/drawing/2014/main" id="{AD7BC26A-261D-884F-A9D2-61B266D20938}"/>
              </a:ext>
            </a:extLst>
          </p:cNvPr>
          <p:cNvPicPr>
            <a:picLocks noChangeAspect="1"/>
          </p:cNvPicPr>
          <p:nvPr userDrawn="1"/>
        </p:nvPicPr>
        <p:blipFill>
          <a:blip r:embed="rId2"/>
          <a:srcRect/>
          <a:stretch/>
        </p:blipFill>
        <p:spPr>
          <a:xfrm>
            <a:off x="9747647" y="6098796"/>
            <a:ext cx="2033013" cy="699990"/>
          </a:xfrm>
          <a:prstGeom prst="rect">
            <a:avLst/>
          </a:prstGeom>
        </p:spPr>
      </p:pic>
      <p:sp>
        <p:nvSpPr>
          <p:cNvPr id="10" name="Content Placeholder 5">
            <a:extLst>
              <a:ext uri="{FF2B5EF4-FFF2-40B4-BE49-F238E27FC236}">
                <a16:creationId xmlns:a16="http://schemas.microsoft.com/office/drawing/2014/main" id="{13FABC45-78FC-FA43-8503-54D8CBC1B775}"/>
              </a:ext>
            </a:extLst>
          </p:cNvPr>
          <p:cNvSpPr>
            <a:spLocks noGrp="1"/>
          </p:cNvSpPr>
          <p:nvPr>
            <p:ph sz="quarter" idx="14" hasCustomPrompt="1"/>
          </p:nvPr>
        </p:nvSpPr>
        <p:spPr>
          <a:xfrm>
            <a:off x="934125" y="1854200"/>
            <a:ext cx="10650537" cy="4165600"/>
          </a:xfrm>
          <a:prstGeom prst="rect">
            <a:avLst/>
          </a:prstGeom>
        </p:spPr>
        <p:txBody>
          <a:bodyPr vert="horz" lIns="0" tIns="0" rIns="0" bIns="0" rtlCol="0">
            <a:noAutofit/>
          </a:bodyPr>
          <a:lstStyle>
            <a:lvl1pPr>
              <a:spcBef>
                <a:spcPts val="1200"/>
              </a:spcBef>
              <a:defRPr lang="en-US" dirty="0">
                <a:latin typeface="Roboto" panose="02000000000000000000" pitchFamily="2" charset="0"/>
                <a:ea typeface="Roboto" panose="02000000000000000000" pitchFamily="2" charset="0"/>
              </a:defRPr>
            </a:lvl1pPr>
            <a:lvl2pPr>
              <a:spcBef>
                <a:spcPts val="600"/>
              </a:spcBef>
              <a:defRPr lang="en-US" dirty="0">
                <a:latin typeface="Roboto" panose="02000000000000000000" pitchFamily="2" charset="0"/>
                <a:ea typeface="Roboto" panose="02000000000000000000" pitchFamily="2" charset="0"/>
              </a:defRPr>
            </a:lvl2pPr>
            <a:lvl3pPr>
              <a:spcBef>
                <a:spcPts val="600"/>
              </a:spcBef>
              <a:defRPr lang="en-US" dirty="0">
                <a:latin typeface="Roboto" panose="02000000000000000000" pitchFamily="2" charset="0"/>
                <a:ea typeface="Roboto" panose="02000000000000000000" pitchFamily="2" charset="0"/>
              </a:defRPr>
            </a:lvl3pPr>
          </a:lstStyle>
          <a:p>
            <a:pPr lvl="0"/>
            <a:r>
              <a:rPr lang="en-US"/>
              <a:t>First bullet, Roboto Regular 20 point</a:t>
            </a:r>
          </a:p>
          <a:p>
            <a:pPr lvl="1"/>
            <a:r>
              <a:rPr lang="en-US"/>
              <a:t>Second bullet, </a:t>
            </a:r>
            <a:r>
              <a:rPr lang="en-US" err="1"/>
              <a:t>Roboto</a:t>
            </a:r>
            <a:r>
              <a:rPr lang="en-US"/>
              <a:t> Regular 18 point</a:t>
            </a:r>
          </a:p>
          <a:p>
            <a:pPr lvl="2"/>
            <a:r>
              <a:rPr lang="en-US"/>
              <a:t>Third bullet, </a:t>
            </a:r>
            <a:r>
              <a:rPr lang="en-US" err="1"/>
              <a:t>Roboto</a:t>
            </a:r>
            <a:r>
              <a:rPr lang="en-US"/>
              <a:t> Regular 16 point</a:t>
            </a:r>
          </a:p>
        </p:txBody>
      </p:sp>
      <p:sp>
        <p:nvSpPr>
          <p:cNvPr id="12" name="Text Placeholder 4">
            <a:extLst>
              <a:ext uri="{FF2B5EF4-FFF2-40B4-BE49-F238E27FC236}">
                <a16:creationId xmlns:a16="http://schemas.microsoft.com/office/drawing/2014/main" id="{95A060C1-5A0D-B045-BA4B-9DA505A73EC3}"/>
              </a:ext>
            </a:extLst>
          </p:cNvPr>
          <p:cNvSpPr>
            <a:spLocks noGrp="1"/>
          </p:cNvSpPr>
          <p:nvPr>
            <p:ph type="body" sz="quarter" idx="13" hasCustomPrompt="1"/>
          </p:nvPr>
        </p:nvSpPr>
        <p:spPr>
          <a:xfrm>
            <a:off x="493714" y="1058899"/>
            <a:ext cx="11188532" cy="331601"/>
          </a:xfrm>
          <a:prstGeom prst="rect">
            <a:avLst/>
          </a:prstGeom>
        </p:spPr>
        <p:txBody>
          <a:bodyPr lIns="0" anchor="t"/>
          <a:lstStyle>
            <a:lvl1pPr marL="0" indent="0">
              <a:buNone/>
              <a:defRPr sz="2400" i="0">
                <a:solidFill>
                  <a:schemeClr val="bg1"/>
                </a:solidFill>
                <a:latin typeface="Roboto" panose="02000000000000000000" pitchFamily="2" charset="0"/>
                <a:ea typeface="Roboto" panose="02000000000000000000" pitchFamily="2" charset="0"/>
              </a:defRPr>
            </a:lvl1pPr>
            <a:lvl2pPr marL="169863" indent="0">
              <a:buNone/>
              <a:defRPr/>
            </a:lvl2pPr>
            <a:lvl3pPr marL="344487" indent="0">
              <a:buNone/>
              <a:defRPr/>
            </a:lvl3pPr>
            <a:lvl4pPr marL="458788" indent="0">
              <a:buNone/>
              <a:defRPr/>
            </a:lvl4pPr>
            <a:lvl5pPr marL="630237" indent="0">
              <a:buNone/>
              <a:defRPr/>
            </a:lvl5pPr>
          </a:lstStyle>
          <a:p>
            <a:pPr lvl="0"/>
            <a:r>
              <a:rPr lang="en-US"/>
              <a:t>Subtitle goes here, </a:t>
            </a:r>
            <a:r>
              <a:rPr lang="en-US" err="1"/>
              <a:t>Roboto</a:t>
            </a:r>
            <a:r>
              <a:rPr lang="en-US"/>
              <a:t> Regular 24 point, no longer than one line</a:t>
            </a:r>
          </a:p>
        </p:txBody>
      </p:sp>
    </p:spTree>
    <p:extLst>
      <p:ext uri="{BB962C8B-B14F-4D97-AF65-F5344CB8AC3E}">
        <p14:creationId xmlns:p14="http://schemas.microsoft.com/office/powerpoint/2010/main" val="3753040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Maximum Content 2">
    <p:spTree>
      <p:nvGrpSpPr>
        <p:cNvPr id="1" name=""/>
        <p:cNvGrpSpPr/>
        <p:nvPr/>
      </p:nvGrpSpPr>
      <p:grpSpPr>
        <a:xfrm>
          <a:off x="0" y="0"/>
          <a:ext cx="0" cy="0"/>
          <a:chOff x="0" y="0"/>
          <a:chExt cx="0" cy="0"/>
        </a:xfrm>
      </p:grpSpPr>
      <p:sp>
        <p:nvSpPr>
          <p:cNvPr id="11" name="Right Triangle 10">
            <a:extLst>
              <a:ext uri="{FF2B5EF4-FFF2-40B4-BE49-F238E27FC236}">
                <a16:creationId xmlns:a16="http://schemas.microsoft.com/office/drawing/2014/main" id="{2AA65756-40EB-3E43-B125-8EC7A5C49D84}"/>
              </a:ext>
            </a:extLst>
          </p:cNvPr>
          <p:cNvSpPr/>
          <p:nvPr userDrawn="1"/>
        </p:nvSpPr>
        <p:spPr>
          <a:xfrm>
            <a:off x="0" y="2761950"/>
            <a:ext cx="702453" cy="4096050"/>
          </a:xfrm>
          <a:prstGeom prst="r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2" name="Title 1"/>
          <p:cNvSpPr>
            <a:spLocks noGrp="1"/>
          </p:cNvSpPr>
          <p:nvPr userDrawn="1">
            <p:ph type="title" hasCustomPrompt="1"/>
          </p:nvPr>
        </p:nvSpPr>
        <p:spPr>
          <a:xfrm>
            <a:off x="488950" y="482602"/>
            <a:ext cx="11188699" cy="1066798"/>
          </a:xfrm>
          <a:prstGeom prst="rect">
            <a:avLst/>
          </a:prstGeom>
        </p:spPr>
        <p:txBody>
          <a:bodyPr lIns="0"/>
          <a:lstStyle>
            <a:lvl1pPr>
              <a:defRPr baseline="0">
                <a:solidFill>
                  <a:schemeClr val="bg1"/>
                </a:solidFill>
              </a:defRPr>
            </a:lvl1pPr>
          </a:lstStyle>
          <a:p>
            <a:r>
              <a:rPr lang="en-US"/>
              <a:t>Headline Goes Here, Roboto Light, 36 Points, Can Span 2 Lines</a:t>
            </a:r>
          </a:p>
        </p:txBody>
      </p:sp>
      <p:sp>
        <p:nvSpPr>
          <p:cNvPr id="3" name="TextBox 2">
            <a:extLst>
              <a:ext uri="{FF2B5EF4-FFF2-40B4-BE49-F238E27FC236}">
                <a16:creationId xmlns:a16="http://schemas.microsoft.com/office/drawing/2014/main" id="{9E4B4709-7C2B-4FD8-9933-DAF4E15383F8}"/>
              </a:ext>
            </a:extLst>
          </p:cNvPr>
          <p:cNvSpPr txBox="1"/>
          <p:nvPr userDrawn="1"/>
        </p:nvSpPr>
        <p:spPr>
          <a:xfrm>
            <a:off x="1023708"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a:solidFill>
                  <a:schemeClr val="tx1">
                    <a:lumMod val="60000"/>
                    <a:lumOff val="40000"/>
                  </a:schemeClr>
                </a:solidFill>
                <a:latin typeface="Roboto" panose="02000000000000000000" pitchFamily="2" charset="0"/>
                <a:ea typeface="Roboto" panose="02000000000000000000" pitchFamily="2" charset="0"/>
                <a:cs typeface="Roboto" charset="0"/>
              </a:rPr>
              <a:t>© Informatica. Proprietary and Confidential.</a:t>
            </a:r>
          </a:p>
        </p:txBody>
      </p:sp>
      <p:pic>
        <p:nvPicPr>
          <p:cNvPr id="13" name="Picture 12">
            <a:extLst>
              <a:ext uri="{FF2B5EF4-FFF2-40B4-BE49-F238E27FC236}">
                <a16:creationId xmlns:a16="http://schemas.microsoft.com/office/drawing/2014/main" id="{298A41F6-DCD2-8E47-991D-36AB287E9871}"/>
              </a:ext>
            </a:extLst>
          </p:cNvPr>
          <p:cNvPicPr>
            <a:picLocks noChangeAspect="1"/>
          </p:cNvPicPr>
          <p:nvPr userDrawn="1"/>
        </p:nvPicPr>
        <p:blipFill>
          <a:blip r:embed="rId2"/>
          <a:srcRect/>
          <a:stretch/>
        </p:blipFill>
        <p:spPr>
          <a:xfrm>
            <a:off x="9744604" y="6098796"/>
            <a:ext cx="2039100" cy="699990"/>
          </a:xfrm>
          <a:prstGeom prst="rect">
            <a:avLst/>
          </a:prstGeom>
        </p:spPr>
      </p:pic>
      <p:sp>
        <p:nvSpPr>
          <p:cNvPr id="9" name="Right Triangle 8">
            <a:extLst>
              <a:ext uri="{FF2B5EF4-FFF2-40B4-BE49-F238E27FC236}">
                <a16:creationId xmlns:a16="http://schemas.microsoft.com/office/drawing/2014/main" id="{F960A616-A0FC-BC49-B808-CB7DF4FA2A0B}"/>
              </a:ext>
            </a:extLst>
          </p:cNvPr>
          <p:cNvSpPr/>
          <p:nvPr userDrawn="1"/>
        </p:nvSpPr>
        <p:spPr>
          <a:xfrm>
            <a:off x="1" y="2761950"/>
            <a:ext cx="590764" cy="4096050"/>
          </a:xfrm>
          <a:prstGeom prst="rtTriangle">
            <a:avLst/>
          </a:prstGeom>
          <a:gradFill>
            <a:gsLst>
              <a:gs pos="0">
                <a:schemeClr val="accent2"/>
              </a:gs>
              <a:gs pos="76000">
                <a:srgbClr val="FF6500"/>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rIns="137160" bIns="91440" rtlCol="0" anchor="ctr">
            <a:noAutofit/>
          </a:bodyPr>
          <a:lstStyle/>
          <a:p>
            <a:pPr lvl="0"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5" name="TextBox 4">
            <a:extLst>
              <a:ext uri="{FF2B5EF4-FFF2-40B4-BE49-F238E27FC236}">
                <a16:creationId xmlns:a16="http://schemas.microsoft.com/office/drawing/2014/main" id="{3D625EBE-6EFB-4A48-B9E9-BB18863DFEC3}"/>
              </a:ext>
            </a:extLst>
          </p:cNvPr>
          <p:cNvSpPr txBox="1"/>
          <p:nvPr userDrawn="1"/>
        </p:nvSpPr>
        <p:spPr>
          <a:xfrm>
            <a:off x="176868" y="6365106"/>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900" b="0" i="0" kern="1200" smtClean="0">
                <a:solidFill>
                  <a:schemeClr val="bg1"/>
                </a:solidFill>
                <a:latin typeface="Roboto" panose="02000000000000000000" pitchFamily="2" charset="0"/>
                <a:ea typeface="Roboto" panose="02000000000000000000" pitchFamily="2" charset="0"/>
                <a:cs typeface="Roboto" charset="0"/>
              </a:rPr>
              <a:pPr marL="0" lvl="0" algn="ctr" defTabSz="457200" rtl="0" eaLnBrk="1" latinLnBrk="0" hangingPunct="1"/>
              <a:t>‹#›</a:t>
            </a:fld>
            <a:endParaRPr lang="en-US" sz="900" b="0" i="0" kern="1200">
              <a:solidFill>
                <a:schemeClr val="bg1"/>
              </a:solidFill>
              <a:latin typeface="Roboto" panose="02000000000000000000" pitchFamily="2" charset="0"/>
              <a:ea typeface="Roboto" panose="02000000000000000000" pitchFamily="2" charset="0"/>
              <a:cs typeface="Roboto" charset="0"/>
            </a:endParaRPr>
          </a:p>
        </p:txBody>
      </p:sp>
    </p:spTree>
    <p:extLst>
      <p:ext uri="{BB962C8B-B14F-4D97-AF65-F5344CB8AC3E}">
        <p14:creationId xmlns:p14="http://schemas.microsoft.com/office/powerpoint/2010/main" val="4013450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Only (No Logo)">
    <p:spTree>
      <p:nvGrpSpPr>
        <p:cNvPr id="1" name=""/>
        <p:cNvGrpSpPr/>
        <p:nvPr/>
      </p:nvGrpSpPr>
      <p:grpSpPr>
        <a:xfrm>
          <a:off x="0" y="0"/>
          <a:ext cx="0" cy="0"/>
          <a:chOff x="0" y="0"/>
          <a:chExt cx="0" cy="0"/>
        </a:xfrm>
      </p:grpSpPr>
      <p:sp>
        <p:nvSpPr>
          <p:cNvPr id="11" name="Right Triangle 10">
            <a:extLst>
              <a:ext uri="{FF2B5EF4-FFF2-40B4-BE49-F238E27FC236}">
                <a16:creationId xmlns:a16="http://schemas.microsoft.com/office/drawing/2014/main" id="{2AA65756-40EB-3E43-B125-8EC7A5C49D84}"/>
              </a:ext>
            </a:extLst>
          </p:cNvPr>
          <p:cNvSpPr/>
          <p:nvPr userDrawn="1"/>
        </p:nvSpPr>
        <p:spPr>
          <a:xfrm>
            <a:off x="0" y="2761950"/>
            <a:ext cx="702453" cy="4096050"/>
          </a:xfrm>
          <a:prstGeom prst="r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2" name="Title 1"/>
          <p:cNvSpPr>
            <a:spLocks noGrp="1"/>
          </p:cNvSpPr>
          <p:nvPr userDrawn="1">
            <p:ph type="title" hasCustomPrompt="1"/>
          </p:nvPr>
        </p:nvSpPr>
        <p:spPr>
          <a:xfrm>
            <a:off x="488950" y="482602"/>
            <a:ext cx="11188699" cy="1066798"/>
          </a:xfrm>
          <a:prstGeom prst="rect">
            <a:avLst/>
          </a:prstGeom>
        </p:spPr>
        <p:txBody>
          <a:bodyPr lIns="0"/>
          <a:lstStyle>
            <a:lvl1pPr>
              <a:defRPr baseline="0">
                <a:solidFill>
                  <a:schemeClr val="bg1"/>
                </a:solidFill>
              </a:defRPr>
            </a:lvl1pPr>
          </a:lstStyle>
          <a:p>
            <a:r>
              <a:rPr lang="en-US"/>
              <a:t>Headline Goes Here, Roboto Light, 36 Points, Can Span 2 Lines</a:t>
            </a:r>
          </a:p>
        </p:txBody>
      </p:sp>
      <p:sp>
        <p:nvSpPr>
          <p:cNvPr id="3" name="TextBox 2">
            <a:extLst>
              <a:ext uri="{FF2B5EF4-FFF2-40B4-BE49-F238E27FC236}">
                <a16:creationId xmlns:a16="http://schemas.microsoft.com/office/drawing/2014/main" id="{9E4B4709-7C2B-4FD8-9933-DAF4E15383F8}"/>
              </a:ext>
            </a:extLst>
          </p:cNvPr>
          <p:cNvSpPr txBox="1"/>
          <p:nvPr userDrawn="1"/>
        </p:nvSpPr>
        <p:spPr>
          <a:xfrm>
            <a:off x="1023708"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a:solidFill>
                  <a:schemeClr val="tx1">
                    <a:lumMod val="60000"/>
                    <a:lumOff val="40000"/>
                  </a:schemeClr>
                </a:solidFill>
                <a:latin typeface="Roboto" panose="02000000000000000000" pitchFamily="2" charset="0"/>
                <a:ea typeface="Roboto" panose="02000000000000000000" pitchFamily="2" charset="0"/>
                <a:cs typeface="Roboto" charset="0"/>
              </a:rPr>
              <a:t>© Informatica. Proprietary and Confidential.</a:t>
            </a:r>
          </a:p>
        </p:txBody>
      </p:sp>
      <p:sp>
        <p:nvSpPr>
          <p:cNvPr id="8" name="Right Triangle 7">
            <a:extLst>
              <a:ext uri="{FF2B5EF4-FFF2-40B4-BE49-F238E27FC236}">
                <a16:creationId xmlns:a16="http://schemas.microsoft.com/office/drawing/2014/main" id="{82FF268A-F497-AC42-AF8D-A16E40D9D2C9}"/>
              </a:ext>
            </a:extLst>
          </p:cNvPr>
          <p:cNvSpPr/>
          <p:nvPr userDrawn="1"/>
        </p:nvSpPr>
        <p:spPr>
          <a:xfrm>
            <a:off x="1" y="2761950"/>
            <a:ext cx="590764" cy="4096050"/>
          </a:xfrm>
          <a:prstGeom prst="rtTriangle">
            <a:avLst/>
          </a:prstGeom>
          <a:gradFill>
            <a:gsLst>
              <a:gs pos="0">
                <a:schemeClr val="accent2"/>
              </a:gs>
              <a:gs pos="76000">
                <a:srgbClr val="FF6500"/>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rIns="137160" bIns="91440" rtlCol="0" anchor="ctr">
            <a:noAutofit/>
          </a:bodyPr>
          <a:lstStyle/>
          <a:p>
            <a:pPr lvl="0" algn="ctr"/>
            <a:endParaRPr lang="en-US" sz="1600">
              <a:solidFill>
                <a:schemeClr val="bg1"/>
              </a:solidFill>
              <a:latin typeface="Roboto" panose="02000000000000000000" pitchFamily="2" charset="0"/>
              <a:ea typeface="Roboto" panose="02000000000000000000" pitchFamily="2" charset="0"/>
              <a:cs typeface="Roboto" charset="0"/>
            </a:endParaRPr>
          </a:p>
        </p:txBody>
      </p:sp>
      <p:sp>
        <p:nvSpPr>
          <p:cNvPr id="5" name="TextBox 4">
            <a:extLst>
              <a:ext uri="{FF2B5EF4-FFF2-40B4-BE49-F238E27FC236}">
                <a16:creationId xmlns:a16="http://schemas.microsoft.com/office/drawing/2014/main" id="{3D625EBE-6EFB-4A48-B9E9-BB18863DFEC3}"/>
              </a:ext>
            </a:extLst>
          </p:cNvPr>
          <p:cNvSpPr txBox="1"/>
          <p:nvPr userDrawn="1"/>
        </p:nvSpPr>
        <p:spPr>
          <a:xfrm>
            <a:off x="176868" y="6365106"/>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900" b="0" i="0" kern="1200" smtClean="0">
                <a:solidFill>
                  <a:schemeClr val="bg1"/>
                </a:solidFill>
                <a:latin typeface="Roboto" panose="02000000000000000000" pitchFamily="2" charset="0"/>
                <a:ea typeface="Roboto" panose="02000000000000000000" pitchFamily="2" charset="0"/>
                <a:cs typeface="Roboto" charset="0"/>
              </a:rPr>
              <a:pPr marL="0" lvl="0" algn="ctr" defTabSz="457200" rtl="0" eaLnBrk="1" latinLnBrk="0" hangingPunct="1"/>
              <a:t>‹#›</a:t>
            </a:fld>
            <a:endParaRPr lang="en-US" sz="900" b="0" i="0" kern="1200">
              <a:solidFill>
                <a:schemeClr val="bg1"/>
              </a:solidFill>
              <a:latin typeface="Roboto" panose="02000000000000000000" pitchFamily="2" charset="0"/>
              <a:ea typeface="Roboto" panose="02000000000000000000" pitchFamily="2" charset="0"/>
              <a:cs typeface="Roboto" charset="0"/>
            </a:endParaRPr>
          </a:p>
        </p:txBody>
      </p:sp>
    </p:spTree>
    <p:extLst>
      <p:ext uri="{BB962C8B-B14F-4D97-AF65-F5344CB8AC3E}">
        <p14:creationId xmlns:p14="http://schemas.microsoft.com/office/powerpoint/2010/main" val="3535815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Only_Blank">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D625EBE-6EFB-4A48-B9E9-BB18863DFEC3}"/>
              </a:ext>
            </a:extLst>
          </p:cNvPr>
          <p:cNvSpPr txBox="1"/>
          <p:nvPr userDrawn="1"/>
        </p:nvSpPr>
        <p:spPr>
          <a:xfrm>
            <a:off x="176868" y="6365106"/>
            <a:ext cx="413896"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900" b="0" i="0" kern="1200" smtClean="0">
                <a:solidFill>
                  <a:schemeClr val="tx1">
                    <a:lumMod val="20000"/>
                    <a:lumOff val="80000"/>
                  </a:schemeClr>
                </a:solidFill>
                <a:latin typeface="Roboto" panose="02000000000000000000" pitchFamily="2" charset="0"/>
                <a:ea typeface="Roboto" panose="02000000000000000000" pitchFamily="2" charset="0"/>
                <a:cs typeface="Roboto" charset="0"/>
              </a:rPr>
              <a:pPr marL="0" lvl="0" algn="ctr" defTabSz="457200" rtl="0" eaLnBrk="1" latinLnBrk="0" hangingPunct="1"/>
              <a:t>‹#›</a:t>
            </a:fld>
            <a:endParaRPr lang="en-US" sz="900" b="0" i="0" kern="1200">
              <a:solidFill>
                <a:schemeClr val="tx1">
                  <a:lumMod val="20000"/>
                  <a:lumOff val="80000"/>
                </a:schemeClr>
              </a:solidFill>
              <a:latin typeface="Roboto" panose="02000000000000000000" pitchFamily="2" charset="0"/>
              <a:ea typeface="Roboto" panose="02000000000000000000" pitchFamily="2" charset="0"/>
              <a:cs typeface="Roboto" charset="0"/>
            </a:endParaRPr>
          </a:p>
        </p:txBody>
      </p:sp>
      <p:sp>
        <p:nvSpPr>
          <p:cNvPr id="2" name="Title 1"/>
          <p:cNvSpPr>
            <a:spLocks noGrp="1"/>
          </p:cNvSpPr>
          <p:nvPr userDrawn="1">
            <p:ph type="title" hasCustomPrompt="1"/>
          </p:nvPr>
        </p:nvSpPr>
        <p:spPr>
          <a:xfrm>
            <a:off x="488950" y="482602"/>
            <a:ext cx="11188699" cy="1066798"/>
          </a:xfrm>
          <a:prstGeom prst="rect">
            <a:avLst/>
          </a:prstGeom>
        </p:spPr>
        <p:txBody>
          <a:bodyPr lIns="0"/>
          <a:lstStyle>
            <a:lvl1pPr>
              <a:defRPr baseline="0">
                <a:solidFill>
                  <a:schemeClr val="bg1"/>
                </a:solidFill>
              </a:defRPr>
            </a:lvl1pPr>
          </a:lstStyle>
          <a:p>
            <a:r>
              <a:rPr lang="en-US"/>
              <a:t>Headline Goes Here, Roboto Light, 36 Points, Can Span 2 Lines</a:t>
            </a:r>
          </a:p>
        </p:txBody>
      </p:sp>
      <p:sp>
        <p:nvSpPr>
          <p:cNvPr id="3" name="TextBox 2">
            <a:extLst>
              <a:ext uri="{FF2B5EF4-FFF2-40B4-BE49-F238E27FC236}">
                <a16:creationId xmlns:a16="http://schemas.microsoft.com/office/drawing/2014/main" id="{9E4B4709-7C2B-4FD8-9933-DAF4E15383F8}"/>
              </a:ext>
            </a:extLst>
          </p:cNvPr>
          <p:cNvSpPr txBox="1"/>
          <p:nvPr userDrawn="1"/>
        </p:nvSpPr>
        <p:spPr>
          <a:xfrm>
            <a:off x="1023708" y="6379921"/>
            <a:ext cx="3117657" cy="179070"/>
          </a:xfrm>
          <a:prstGeom prst="rect">
            <a:avLst/>
          </a:prstGeom>
        </p:spPr>
        <p:txBody>
          <a:bodyPr lIns="0" tIns="0" rIns="0" bIns="0" anchor="ctr" anchorCtr="0"/>
          <a:lstStyle>
            <a:defPPr>
              <a:defRPr lang="en-US"/>
            </a:defPPr>
            <a:lvl1pPr>
              <a:defRPr sz="1050">
                <a:solidFill>
                  <a:schemeClr val="tx2">
                    <a:lumMod val="50000"/>
                    <a:lumOff val="50000"/>
                  </a:schemeClr>
                </a:solidFill>
                <a:ea typeface="Arial" charset="0"/>
                <a:cs typeface="Arial" charset="0"/>
              </a:defRPr>
            </a:lvl1pPr>
          </a:lstStyle>
          <a:p>
            <a:pPr lvl="0"/>
            <a:r>
              <a:rPr lang="en-US" sz="1100" b="0" i="0">
                <a:solidFill>
                  <a:schemeClr val="tx1">
                    <a:lumMod val="60000"/>
                    <a:lumOff val="40000"/>
                  </a:schemeClr>
                </a:solidFill>
                <a:latin typeface="Roboto" panose="02000000000000000000" pitchFamily="2" charset="0"/>
                <a:ea typeface="Roboto" panose="02000000000000000000" pitchFamily="2" charset="0"/>
                <a:cs typeface="Roboto" charset="0"/>
              </a:rPr>
              <a:t>© Informatica. Proprietary and Confidential.</a:t>
            </a:r>
          </a:p>
        </p:txBody>
      </p:sp>
    </p:spTree>
    <p:extLst>
      <p:ext uri="{BB962C8B-B14F-4D97-AF65-F5344CB8AC3E}">
        <p14:creationId xmlns:p14="http://schemas.microsoft.com/office/powerpoint/2010/main" val="2293862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9" Type="http://schemas.openxmlformats.org/officeDocument/2006/relationships/slideLayout" Target="../slideLayouts/slideLayout83.xml"/><Relationship Id="rId21" Type="http://schemas.openxmlformats.org/officeDocument/2006/relationships/slideLayout" Target="../slideLayouts/slideLayout65.xml"/><Relationship Id="rId34" Type="http://schemas.openxmlformats.org/officeDocument/2006/relationships/slideLayout" Target="../slideLayouts/slideLayout78.xml"/><Relationship Id="rId42" Type="http://schemas.openxmlformats.org/officeDocument/2006/relationships/theme" Target="../theme/theme2.xml"/><Relationship Id="rId7" Type="http://schemas.openxmlformats.org/officeDocument/2006/relationships/slideLayout" Target="../slideLayouts/slideLayout5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41" Type="http://schemas.openxmlformats.org/officeDocument/2006/relationships/slideLayout" Target="../slideLayouts/slideLayout85.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slideLayout" Target="../slideLayouts/slideLayout76.xml"/><Relationship Id="rId37" Type="http://schemas.openxmlformats.org/officeDocument/2006/relationships/slideLayout" Target="../slideLayouts/slideLayout81.xml"/><Relationship Id="rId40" Type="http://schemas.openxmlformats.org/officeDocument/2006/relationships/slideLayout" Target="../slideLayouts/slideLayout84.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slideLayout" Target="../slideLayouts/slideLayout80.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slideLayout" Target="../slideLayouts/slideLayout75.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35" Type="http://schemas.openxmlformats.org/officeDocument/2006/relationships/slideLayout" Target="../slideLayouts/slideLayout79.xml"/><Relationship Id="rId43" Type="http://schemas.openxmlformats.org/officeDocument/2006/relationships/image" Target="../media/image21.png"/><Relationship Id="rId8" Type="http://schemas.openxmlformats.org/officeDocument/2006/relationships/slideLayout" Target="../slideLayouts/slideLayout52.xml"/><Relationship Id="rId3" Type="http://schemas.openxmlformats.org/officeDocument/2006/relationships/slideLayout" Target="../slideLayouts/slideLayout47.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slideLayout" Target="../slideLayouts/slideLayout77.xml"/><Relationship Id="rId38" Type="http://schemas.openxmlformats.org/officeDocument/2006/relationships/slideLayout" Target="../slideLayouts/slideLayout8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98.xml"/><Relationship Id="rId18" Type="http://schemas.openxmlformats.org/officeDocument/2006/relationships/slideLayout" Target="../slideLayouts/slideLayout103.xml"/><Relationship Id="rId26" Type="http://schemas.openxmlformats.org/officeDocument/2006/relationships/slideLayout" Target="../slideLayouts/slideLayout111.xml"/><Relationship Id="rId39" Type="http://schemas.openxmlformats.org/officeDocument/2006/relationships/slideLayout" Target="../slideLayouts/slideLayout124.xml"/><Relationship Id="rId21" Type="http://schemas.openxmlformats.org/officeDocument/2006/relationships/slideLayout" Target="../slideLayouts/slideLayout106.xml"/><Relationship Id="rId34" Type="http://schemas.openxmlformats.org/officeDocument/2006/relationships/slideLayout" Target="../slideLayouts/slideLayout119.xml"/><Relationship Id="rId42" Type="http://schemas.openxmlformats.org/officeDocument/2006/relationships/slideLayout" Target="../slideLayouts/slideLayout127.xml"/><Relationship Id="rId47" Type="http://schemas.openxmlformats.org/officeDocument/2006/relationships/slideLayout" Target="../slideLayouts/slideLayout132.xml"/><Relationship Id="rId50" Type="http://schemas.openxmlformats.org/officeDocument/2006/relationships/slideLayout" Target="../slideLayouts/slideLayout135.xml"/><Relationship Id="rId55" Type="http://schemas.openxmlformats.org/officeDocument/2006/relationships/slideLayout" Target="../slideLayouts/slideLayout140.xml"/><Relationship Id="rId7" Type="http://schemas.openxmlformats.org/officeDocument/2006/relationships/slideLayout" Target="../slideLayouts/slideLayout92.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9" Type="http://schemas.openxmlformats.org/officeDocument/2006/relationships/slideLayout" Target="../slideLayouts/slideLayout114.xml"/><Relationship Id="rId11" Type="http://schemas.openxmlformats.org/officeDocument/2006/relationships/slideLayout" Target="../slideLayouts/slideLayout96.xml"/><Relationship Id="rId24" Type="http://schemas.openxmlformats.org/officeDocument/2006/relationships/slideLayout" Target="../slideLayouts/slideLayout109.xml"/><Relationship Id="rId32" Type="http://schemas.openxmlformats.org/officeDocument/2006/relationships/slideLayout" Target="../slideLayouts/slideLayout117.xml"/><Relationship Id="rId37" Type="http://schemas.openxmlformats.org/officeDocument/2006/relationships/slideLayout" Target="../slideLayouts/slideLayout122.xml"/><Relationship Id="rId40" Type="http://schemas.openxmlformats.org/officeDocument/2006/relationships/slideLayout" Target="../slideLayouts/slideLayout125.xml"/><Relationship Id="rId45" Type="http://schemas.openxmlformats.org/officeDocument/2006/relationships/slideLayout" Target="../slideLayouts/slideLayout130.xml"/><Relationship Id="rId53" Type="http://schemas.openxmlformats.org/officeDocument/2006/relationships/slideLayout" Target="../slideLayouts/slideLayout138.xml"/><Relationship Id="rId5" Type="http://schemas.openxmlformats.org/officeDocument/2006/relationships/slideLayout" Target="../slideLayouts/slideLayout90.xml"/><Relationship Id="rId19" Type="http://schemas.openxmlformats.org/officeDocument/2006/relationships/slideLayout" Target="../slideLayouts/slideLayout104.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 Id="rId22" Type="http://schemas.openxmlformats.org/officeDocument/2006/relationships/slideLayout" Target="../slideLayouts/slideLayout107.xml"/><Relationship Id="rId27" Type="http://schemas.openxmlformats.org/officeDocument/2006/relationships/slideLayout" Target="../slideLayouts/slideLayout112.xml"/><Relationship Id="rId30" Type="http://schemas.openxmlformats.org/officeDocument/2006/relationships/slideLayout" Target="../slideLayouts/slideLayout115.xml"/><Relationship Id="rId35" Type="http://schemas.openxmlformats.org/officeDocument/2006/relationships/slideLayout" Target="../slideLayouts/slideLayout120.xml"/><Relationship Id="rId43" Type="http://schemas.openxmlformats.org/officeDocument/2006/relationships/slideLayout" Target="../slideLayouts/slideLayout128.xml"/><Relationship Id="rId48" Type="http://schemas.openxmlformats.org/officeDocument/2006/relationships/slideLayout" Target="../slideLayouts/slideLayout133.xml"/><Relationship Id="rId56" Type="http://schemas.openxmlformats.org/officeDocument/2006/relationships/theme" Target="../theme/theme3.xml"/><Relationship Id="rId8" Type="http://schemas.openxmlformats.org/officeDocument/2006/relationships/slideLayout" Target="../slideLayouts/slideLayout93.xml"/><Relationship Id="rId51" Type="http://schemas.openxmlformats.org/officeDocument/2006/relationships/slideLayout" Target="../slideLayouts/slideLayout136.xml"/><Relationship Id="rId3" Type="http://schemas.openxmlformats.org/officeDocument/2006/relationships/slideLayout" Target="../slideLayouts/slideLayout88.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5" Type="http://schemas.openxmlformats.org/officeDocument/2006/relationships/slideLayout" Target="../slideLayouts/slideLayout110.xml"/><Relationship Id="rId33" Type="http://schemas.openxmlformats.org/officeDocument/2006/relationships/slideLayout" Target="../slideLayouts/slideLayout118.xml"/><Relationship Id="rId38" Type="http://schemas.openxmlformats.org/officeDocument/2006/relationships/slideLayout" Target="../slideLayouts/slideLayout123.xml"/><Relationship Id="rId46" Type="http://schemas.openxmlformats.org/officeDocument/2006/relationships/slideLayout" Target="../slideLayouts/slideLayout131.xml"/><Relationship Id="rId20" Type="http://schemas.openxmlformats.org/officeDocument/2006/relationships/slideLayout" Target="../slideLayouts/slideLayout105.xml"/><Relationship Id="rId41" Type="http://schemas.openxmlformats.org/officeDocument/2006/relationships/slideLayout" Target="../slideLayouts/slideLayout126.xml"/><Relationship Id="rId54" Type="http://schemas.openxmlformats.org/officeDocument/2006/relationships/slideLayout" Target="../slideLayouts/slideLayout139.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5" Type="http://schemas.openxmlformats.org/officeDocument/2006/relationships/slideLayout" Target="../slideLayouts/slideLayout100.xml"/><Relationship Id="rId23" Type="http://schemas.openxmlformats.org/officeDocument/2006/relationships/slideLayout" Target="../slideLayouts/slideLayout108.xml"/><Relationship Id="rId28" Type="http://schemas.openxmlformats.org/officeDocument/2006/relationships/slideLayout" Target="../slideLayouts/slideLayout113.xml"/><Relationship Id="rId36" Type="http://schemas.openxmlformats.org/officeDocument/2006/relationships/slideLayout" Target="../slideLayouts/slideLayout121.xml"/><Relationship Id="rId49" Type="http://schemas.openxmlformats.org/officeDocument/2006/relationships/slideLayout" Target="../slideLayouts/slideLayout134.xml"/><Relationship Id="rId57" Type="http://schemas.openxmlformats.org/officeDocument/2006/relationships/image" Target="../media/image21.png"/><Relationship Id="rId10" Type="http://schemas.openxmlformats.org/officeDocument/2006/relationships/slideLayout" Target="../slideLayouts/slideLayout95.xml"/><Relationship Id="rId31" Type="http://schemas.openxmlformats.org/officeDocument/2006/relationships/slideLayout" Target="../slideLayouts/slideLayout116.xml"/><Relationship Id="rId44" Type="http://schemas.openxmlformats.org/officeDocument/2006/relationships/slideLayout" Target="../slideLayouts/slideLayout129.xml"/><Relationship Id="rId52" Type="http://schemas.openxmlformats.org/officeDocument/2006/relationships/slideLayout" Target="../slideLayouts/slideLayout13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8" name="Text Placeholder 2"/>
          <p:cNvSpPr>
            <a:spLocks noGrp="1"/>
          </p:cNvSpPr>
          <p:nvPr>
            <p:ph type="body" idx="1"/>
          </p:nvPr>
        </p:nvSpPr>
        <p:spPr>
          <a:xfrm>
            <a:off x="1027113" y="1854200"/>
            <a:ext cx="10650537" cy="4170499"/>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p:txBody>
      </p:sp>
      <p:sp>
        <p:nvSpPr>
          <p:cNvPr id="4" name="Title Placeholder 1"/>
          <p:cNvSpPr>
            <a:spLocks noGrp="1"/>
          </p:cNvSpPr>
          <p:nvPr>
            <p:ph type="title"/>
          </p:nvPr>
        </p:nvSpPr>
        <p:spPr>
          <a:xfrm>
            <a:off x="493713" y="482602"/>
            <a:ext cx="11183938" cy="1066798"/>
          </a:xfrm>
          <a:prstGeom prst="rect">
            <a:avLst/>
          </a:prstGeom>
        </p:spPr>
        <p:txBody>
          <a:bodyPr lIns="0"/>
          <a:lstStyle/>
          <a:p>
            <a:pPr lvl="0"/>
            <a:r>
              <a:rPr lang="en-US" dirty="0"/>
              <a:t>Headline goes here, </a:t>
            </a:r>
            <a:r>
              <a:rPr lang="en-US" dirty="0" err="1"/>
              <a:t>Roboto</a:t>
            </a:r>
            <a:r>
              <a:rPr lang="en-US" dirty="0"/>
              <a:t> Light, 36 points</a:t>
            </a:r>
          </a:p>
        </p:txBody>
      </p:sp>
    </p:spTree>
    <p:extLst>
      <p:ext uri="{BB962C8B-B14F-4D97-AF65-F5344CB8AC3E}">
        <p14:creationId xmlns:p14="http://schemas.microsoft.com/office/powerpoint/2010/main" val="162433727"/>
      </p:ext>
    </p:extLst>
  </p:cSld>
  <p:clrMap bg1="dk1" tx1="lt1" bg2="dk2" tx2="lt2" accent1="accent1" accent2="accent2" accent3="accent3" accent4="accent4" accent5="accent5" accent6="accent6" hlink="hlink" folHlink="folHlink"/>
  <p:sldLayoutIdLst>
    <p:sldLayoutId id="2147483889" r:id="rId1"/>
    <p:sldLayoutId id="2147483915" r:id="rId2"/>
    <p:sldLayoutId id="2147483951" r:id="rId3"/>
    <p:sldLayoutId id="2147483936" r:id="rId4"/>
    <p:sldLayoutId id="2147483941" r:id="rId5"/>
    <p:sldLayoutId id="2147483900" r:id="rId6"/>
    <p:sldLayoutId id="2147483940" r:id="rId7"/>
    <p:sldLayoutId id="2147483923" r:id="rId8"/>
    <p:sldLayoutId id="2147483924" r:id="rId9"/>
    <p:sldLayoutId id="2147483901" r:id="rId10"/>
    <p:sldLayoutId id="2147483925" r:id="rId11"/>
    <p:sldLayoutId id="2147483926" r:id="rId12"/>
    <p:sldLayoutId id="2147483902" r:id="rId13"/>
    <p:sldLayoutId id="2147483927" r:id="rId14"/>
    <p:sldLayoutId id="2147483928" r:id="rId15"/>
    <p:sldLayoutId id="2147483918" r:id="rId16"/>
    <p:sldLayoutId id="2147483917" r:id="rId17"/>
    <p:sldLayoutId id="2147483793" r:id="rId18"/>
    <p:sldLayoutId id="2147483800" r:id="rId19"/>
    <p:sldLayoutId id="2147483801" r:id="rId20"/>
    <p:sldLayoutId id="2147483818" r:id="rId21"/>
    <p:sldLayoutId id="2147483788" r:id="rId22"/>
    <p:sldLayoutId id="2147483899" r:id="rId23"/>
    <p:sldLayoutId id="2147483887" r:id="rId24"/>
    <p:sldLayoutId id="2147483888" r:id="rId25"/>
    <p:sldLayoutId id="2147483896" r:id="rId26"/>
    <p:sldLayoutId id="2147483931" r:id="rId27"/>
    <p:sldLayoutId id="2147483830" r:id="rId28"/>
    <p:sldLayoutId id="2147483953" r:id="rId29"/>
    <p:sldLayoutId id="2147483919" r:id="rId30"/>
    <p:sldLayoutId id="2147483892" r:id="rId31"/>
    <p:sldLayoutId id="2147483935" r:id="rId32"/>
    <p:sldLayoutId id="2147483933" r:id="rId33"/>
    <p:sldLayoutId id="2147483934" r:id="rId34"/>
    <p:sldLayoutId id="2147483932" r:id="rId35"/>
    <p:sldLayoutId id="2147483939" r:id="rId36"/>
    <p:sldLayoutId id="2147483942" r:id="rId37"/>
    <p:sldLayoutId id="2147483944" r:id="rId38"/>
    <p:sldLayoutId id="2147483894" r:id="rId39"/>
    <p:sldLayoutId id="2147483952" r:id="rId40"/>
    <p:sldLayoutId id="2147483945" r:id="rId41"/>
    <p:sldLayoutId id="2147483946" r:id="rId42"/>
    <p:sldLayoutId id="2147483954" r:id="rId43"/>
    <p:sldLayoutId id="2147483998" r:id="rId4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217" rtl="0" eaLnBrk="1" latinLnBrk="0" hangingPunct="1">
        <a:lnSpc>
          <a:spcPct val="90000"/>
        </a:lnSpc>
        <a:spcBef>
          <a:spcPct val="0"/>
        </a:spcBef>
        <a:buNone/>
        <a:defRPr lang="en-US" sz="3600" b="0" i="0" kern="1200" baseline="0" dirty="0">
          <a:solidFill>
            <a:schemeClr val="tx1"/>
          </a:solidFill>
          <a:latin typeface="+mj-lt"/>
          <a:ea typeface="Roboto Lt" charset="0"/>
          <a:cs typeface="Roboto Lt" charset="0"/>
        </a:defRPr>
      </a:lvl1pPr>
    </p:titleStyle>
    <p:bodyStyle>
      <a:lvl1pPr marL="173038" indent="-173038" algn="l" defTabSz="914217" rtl="0" eaLnBrk="1" latinLnBrk="0" hangingPunct="1">
        <a:lnSpc>
          <a:spcPct val="95000"/>
        </a:lnSpc>
        <a:spcBef>
          <a:spcPts val="1200"/>
        </a:spcBef>
        <a:spcAft>
          <a:spcPts val="0"/>
        </a:spcAft>
        <a:buClr>
          <a:schemeClr val="accent2"/>
        </a:buClr>
        <a:buFont typeface="Arial" panose="020B0604020202020204" pitchFamily="34" charset="0"/>
        <a:buChar char="•"/>
        <a:defRPr sz="2000" b="0" i="0" kern="1200">
          <a:solidFill>
            <a:schemeClr val="tx1"/>
          </a:solidFill>
          <a:latin typeface="Roboto" charset="0"/>
          <a:ea typeface="Roboto" charset="0"/>
          <a:cs typeface="Roboto" charset="0"/>
        </a:defRPr>
      </a:lvl1pPr>
      <a:lvl2pPr marL="344488" indent="-174625" algn="l" defTabSz="914217" rtl="0" eaLnBrk="1" latinLnBrk="0" hangingPunct="1">
        <a:lnSpc>
          <a:spcPct val="95000"/>
        </a:lnSpc>
        <a:spcBef>
          <a:spcPts val="600"/>
        </a:spcBef>
        <a:spcAft>
          <a:spcPts val="0"/>
        </a:spcAft>
        <a:buClr>
          <a:schemeClr val="accent2"/>
        </a:buClr>
        <a:buFont typeface=".AppleSystemUIFont" charset="-120"/>
        <a:buChar char="-"/>
        <a:defRPr sz="1800" b="0" i="0" kern="1200">
          <a:solidFill>
            <a:schemeClr val="tx1"/>
          </a:solidFill>
          <a:latin typeface="Roboto" charset="0"/>
          <a:ea typeface="Roboto" charset="0"/>
          <a:cs typeface="Roboto" charset="0"/>
        </a:defRPr>
      </a:lvl2pPr>
      <a:lvl3pPr marL="514350" indent="-169863" algn="l" defTabSz="914217" rtl="0" eaLnBrk="1" latinLnBrk="0" hangingPunct="1">
        <a:lnSpc>
          <a:spcPct val="95000"/>
        </a:lnSpc>
        <a:spcBef>
          <a:spcPts val="600"/>
        </a:spcBef>
        <a:spcAft>
          <a:spcPts val="0"/>
        </a:spcAft>
        <a:buClr>
          <a:schemeClr val="accent2"/>
        </a:buClr>
        <a:buFont typeface="Arial" panose="020B0604020202020204" pitchFamily="34" charset="0"/>
        <a:buChar char="•"/>
        <a:defRPr sz="1600" b="0" i="0" kern="1200">
          <a:solidFill>
            <a:schemeClr val="tx1"/>
          </a:solidFill>
          <a:latin typeface="Roboto" charset="0"/>
          <a:ea typeface="Roboto" charset="0"/>
          <a:cs typeface="Roboto" charset="0"/>
        </a:defRPr>
      </a:lvl3pPr>
      <a:lvl4pPr marL="630238" indent="-171450" algn="l" defTabSz="914217" rtl="0" eaLnBrk="1" latinLnBrk="0" hangingPunct="1">
        <a:lnSpc>
          <a:spcPct val="95000"/>
        </a:lnSpc>
        <a:spcBef>
          <a:spcPts val="600"/>
        </a:spcBef>
        <a:spcAft>
          <a:spcPts val="0"/>
        </a:spcAft>
        <a:buClr>
          <a:schemeClr val="accent3"/>
        </a:buClr>
        <a:buFont typeface="Arial" panose="020B0604020202020204" pitchFamily="34" charset="0"/>
        <a:buChar char="•"/>
        <a:defRPr sz="1400" b="0" i="0" kern="1200">
          <a:solidFill>
            <a:schemeClr val="tx1"/>
          </a:solidFill>
          <a:latin typeface="Roboto" charset="0"/>
          <a:ea typeface="Roboto" charset="0"/>
          <a:cs typeface="Roboto" charset="0"/>
        </a:defRPr>
      </a:lvl4pPr>
      <a:lvl5pPr marL="800100" indent="-169863" algn="l" defTabSz="914217" rtl="0" eaLnBrk="1" latinLnBrk="0" hangingPunct="1">
        <a:lnSpc>
          <a:spcPct val="95000"/>
        </a:lnSpc>
        <a:spcBef>
          <a:spcPts val="600"/>
        </a:spcBef>
        <a:spcAft>
          <a:spcPts val="0"/>
        </a:spcAft>
        <a:buClr>
          <a:schemeClr val="accent2"/>
        </a:buClr>
        <a:buFont typeface="Arial" panose="020B0604020202020204" pitchFamily="34" charset="0"/>
        <a:buChar char="•"/>
        <a:defRPr sz="1400" b="0" i="0" kern="1200">
          <a:solidFill>
            <a:schemeClr val="tx1"/>
          </a:solidFill>
          <a:latin typeface="Roboto" charset="0"/>
          <a:ea typeface="Roboto" charset="0"/>
          <a:cs typeface="Roboto" charset="0"/>
        </a:defRPr>
      </a:lvl5pPr>
      <a:lvl6pPr marL="914400" indent="-169863" algn="l" defTabSz="914217" rtl="0" eaLnBrk="1" latinLnBrk="0" hangingPunct="1">
        <a:lnSpc>
          <a:spcPct val="90000"/>
        </a:lnSpc>
        <a:spcBef>
          <a:spcPts val="500"/>
        </a:spcBef>
        <a:spcAft>
          <a:spcPts val="1200"/>
        </a:spcAft>
        <a:buClr>
          <a:schemeClr val="tx1"/>
        </a:buClr>
        <a:buFont typeface="Arial" panose="020B0604020202020204" pitchFamily="34" charset="0"/>
        <a:buChar char="•"/>
        <a:defRPr sz="1200" b="0" i="0" kern="1200">
          <a:solidFill>
            <a:schemeClr val="tx1"/>
          </a:solidFill>
          <a:latin typeface="Roboto" charset="0"/>
          <a:ea typeface="Roboto" charset="0"/>
          <a:cs typeface="Roboto" charset="0"/>
        </a:defRPr>
      </a:lvl6pPr>
      <a:lvl7pPr marL="1084263" indent="-169863" algn="l" defTabSz="914217" rtl="0" eaLnBrk="1" latinLnBrk="0" hangingPunct="1">
        <a:lnSpc>
          <a:spcPct val="90000"/>
        </a:lnSpc>
        <a:spcBef>
          <a:spcPts val="500"/>
        </a:spcBef>
        <a:spcAft>
          <a:spcPts val="1200"/>
        </a:spcAft>
        <a:buClr>
          <a:schemeClr val="accent2"/>
        </a:buClr>
        <a:buFont typeface="Arial" panose="020B0604020202020204" pitchFamily="34" charset="0"/>
        <a:buChar char="•"/>
        <a:defRPr sz="1200" b="0" i="0" kern="1200">
          <a:solidFill>
            <a:schemeClr val="tx1"/>
          </a:solidFill>
          <a:latin typeface="Roboto" charset="0"/>
          <a:ea typeface="Roboto" charset="0"/>
          <a:cs typeface="Roboto" charset="0"/>
        </a:defRPr>
      </a:lvl7pPr>
      <a:lvl8pPr marL="1258888" indent="-174625" algn="l" defTabSz="914217" rtl="0" eaLnBrk="1" latinLnBrk="0" hangingPunct="1">
        <a:lnSpc>
          <a:spcPct val="90000"/>
        </a:lnSpc>
        <a:spcBef>
          <a:spcPts val="500"/>
        </a:spcBef>
        <a:spcAft>
          <a:spcPts val="1200"/>
        </a:spcAft>
        <a:buClr>
          <a:schemeClr val="accent2"/>
        </a:buClr>
        <a:buFont typeface="Arial" panose="020B0604020202020204" pitchFamily="34" charset="0"/>
        <a:buChar char="•"/>
        <a:defRPr sz="1200" b="0" i="0" kern="1200">
          <a:solidFill>
            <a:schemeClr val="tx1"/>
          </a:solidFill>
          <a:latin typeface="Roboto" charset="0"/>
          <a:ea typeface="Roboto" charset="0"/>
          <a:cs typeface="Roboto" charset="0"/>
        </a:defRPr>
      </a:lvl8pPr>
      <a:lvl9pPr marL="1428750" indent="-169863" algn="l" defTabSz="914217" rtl="0" eaLnBrk="1" latinLnBrk="0" hangingPunct="1">
        <a:lnSpc>
          <a:spcPct val="90000"/>
        </a:lnSpc>
        <a:spcBef>
          <a:spcPts val="500"/>
        </a:spcBef>
        <a:spcAft>
          <a:spcPts val="1200"/>
        </a:spcAft>
        <a:buClr>
          <a:schemeClr val="accent2"/>
        </a:buClr>
        <a:buFont typeface="Arial" panose="020B0604020202020204" pitchFamily="34" charset="0"/>
        <a:buChar char="•"/>
        <a:defRPr sz="1200" b="0" i="0" kern="1200">
          <a:solidFill>
            <a:schemeClr val="tx1"/>
          </a:solidFill>
          <a:latin typeface="Roboto" charset="0"/>
          <a:ea typeface="Roboto" charset="0"/>
          <a:cs typeface="Roboto" charset="0"/>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2"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9" algn="l" defTabSz="91421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11">
          <p15:clr>
            <a:srgbClr val="F26B43"/>
          </p15:clr>
        </p15:guide>
        <p15:guide id="5" orient="horz" pos="4008">
          <p15:clr>
            <a:srgbClr val="F26B43"/>
          </p15:clr>
        </p15:guide>
        <p15:guide id="6" pos="7356">
          <p15:clr>
            <a:srgbClr val="F26B43"/>
          </p15:clr>
        </p15:guide>
        <p15:guide id="7" pos="11040">
          <p15:clr>
            <a:srgbClr val="F26B43"/>
          </p15:clr>
        </p15:guide>
        <p15:guide id="12" pos="2554">
          <p15:clr>
            <a:srgbClr val="F26B43"/>
          </p15:clr>
        </p15:guide>
        <p15:guide id="13" pos="5123">
          <p15:clr>
            <a:srgbClr val="F26B43"/>
          </p15:clr>
        </p15:guide>
        <p15:guide id="14" orient="horz" pos="1443">
          <p15:clr>
            <a:srgbClr val="F26B43"/>
          </p15:clr>
        </p15:guide>
        <p15:guide id="15" orient="horz" pos="2886">
          <p15:clr>
            <a:srgbClr val="F26B43"/>
          </p15:clr>
        </p15:guide>
        <p15:guide id="16" orient="horz" pos="856">
          <p15:clr>
            <a:srgbClr val="F26B43"/>
          </p15:clr>
        </p15:guide>
        <p15:guide id="20" pos="719" userDrawn="1">
          <p15:clr>
            <a:srgbClr val="F26B43"/>
          </p15:clr>
        </p15:guide>
        <p15:guide id="28" pos="308">
          <p15:clr>
            <a:srgbClr val="F26B43"/>
          </p15:clr>
        </p15:guide>
        <p15:guide id="29" pos="7369">
          <p15:clr>
            <a:srgbClr val="F26B43"/>
          </p15:clr>
        </p15:guide>
        <p15:guide id="30" orient="horz" pos="325">
          <p15:clr>
            <a:srgbClr val="F26B43"/>
          </p15:clr>
        </p15:guide>
        <p15:guide id="31" orient="horz" pos="1168">
          <p15:clr>
            <a:srgbClr val="F26B43"/>
          </p15:clr>
        </p15:guide>
        <p15:guide id="32" orient="horz" pos="3792">
          <p15:clr>
            <a:srgbClr val="F26B43"/>
          </p15:clr>
        </p15:guide>
        <p15:guide id="34" orient="horz" pos="922">
          <p15:clr>
            <a:srgbClr val="F26B43"/>
          </p15:clr>
        </p15:guide>
        <p15:guide id="35" pos="64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43">
            <a:lum/>
          </a:blip>
          <a:srcRect/>
          <a:stretch>
            <a:fillRect/>
          </a:stretch>
        </a:blipFill>
        <a:effectLst/>
      </p:bgPr>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93714" y="482602"/>
            <a:ext cx="11183938" cy="1066798"/>
          </a:xfrm>
          <a:prstGeom prst="rect">
            <a:avLst/>
          </a:prstGeom>
        </p:spPr>
        <p:txBody>
          <a:bodyPr lIns="0"/>
          <a:lstStyle/>
          <a:p>
            <a:pPr lvl="0"/>
            <a:r>
              <a:rPr lang="en-US"/>
              <a:t>Headline goes here, </a:t>
            </a:r>
            <a:r>
              <a:rPr lang="en-US" err="1"/>
              <a:t>Roboto</a:t>
            </a:r>
            <a:r>
              <a:rPr lang="en-US"/>
              <a:t> Light, 36 points</a:t>
            </a:r>
          </a:p>
        </p:txBody>
      </p:sp>
    </p:spTree>
    <p:extLst>
      <p:ext uri="{BB962C8B-B14F-4D97-AF65-F5344CB8AC3E}">
        <p14:creationId xmlns:p14="http://schemas.microsoft.com/office/powerpoint/2010/main" val="2404758989"/>
      </p:ext>
    </p:extLst>
  </p:cSld>
  <p:clrMap bg1="dk1" tx1="lt1" bg2="dk2" tx2="lt2" accent1="accent1" accent2="accent2" accent3="accent3" accent4="accent4" accent5="accent5" accent6="accent6" hlink="hlink" folHlink="folHlink"/>
  <p:sldLayoutIdLst>
    <p:sldLayoutId id="2147483957" r:id="rId1"/>
    <p:sldLayoutId id="2147483958" r:id="rId2"/>
    <p:sldLayoutId id="2147483959" r:id="rId3"/>
    <p:sldLayoutId id="2147483960" r:id="rId4"/>
    <p:sldLayoutId id="2147483961" r:id="rId5"/>
    <p:sldLayoutId id="2147483962" r:id="rId6"/>
    <p:sldLayoutId id="2147483963" r:id="rId7"/>
    <p:sldLayoutId id="2147483964" r:id="rId8"/>
    <p:sldLayoutId id="2147483965" r:id="rId9"/>
    <p:sldLayoutId id="2147483966" r:id="rId10"/>
    <p:sldLayoutId id="2147483967" r:id="rId11"/>
    <p:sldLayoutId id="2147483968" r:id="rId12"/>
    <p:sldLayoutId id="2147483969" r:id="rId13"/>
    <p:sldLayoutId id="2147483970" r:id="rId14"/>
    <p:sldLayoutId id="2147483971" r:id="rId15"/>
    <p:sldLayoutId id="2147483972" r:id="rId16"/>
    <p:sldLayoutId id="2147483973" r:id="rId17"/>
    <p:sldLayoutId id="2147483974" r:id="rId18"/>
    <p:sldLayoutId id="2147483975" r:id="rId19"/>
    <p:sldLayoutId id="2147483976" r:id="rId20"/>
    <p:sldLayoutId id="2147483977" r:id="rId21"/>
    <p:sldLayoutId id="2147483978" r:id="rId22"/>
    <p:sldLayoutId id="2147483979" r:id="rId23"/>
    <p:sldLayoutId id="2147483980" r:id="rId24"/>
    <p:sldLayoutId id="2147483981" r:id="rId25"/>
    <p:sldLayoutId id="2147483982" r:id="rId26"/>
    <p:sldLayoutId id="2147483983" r:id="rId27"/>
    <p:sldLayoutId id="2147483984" r:id="rId28"/>
    <p:sldLayoutId id="2147483985" r:id="rId29"/>
    <p:sldLayoutId id="2147483986" r:id="rId30"/>
    <p:sldLayoutId id="2147483987" r:id="rId31"/>
    <p:sldLayoutId id="2147483988" r:id="rId32"/>
    <p:sldLayoutId id="2147483989" r:id="rId33"/>
    <p:sldLayoutId id="2147483990" r:id="rId34"/>
    <p:sldLayoutId id="2147483991" r:id="rId35"/>
    <p:sldLayoutId id="2147483992" r:id="rId36"/>
    <p:sldLayoutId id="2147483993" r:id="rId37"/>
    <p:sldLayoutId id="2147483994" r:id="rId38"/>
    <p:sldLayoutId id="2147483995" r:id="rId39"/>
    <p:sldLayoutId id="2147483996" r:id="rId40"/>
    <p:sldLayoutId id="2147483997" r:id="rId4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3943" rtl="0" eaLnBrk="1" latinLnBrk="0" hangingPunct="1">
        <a:lnSpc>
          <a:spcPct val="90000"/>
        </a:lnSpc>
        <a:spcBef>
          <a:spcPct val="0"/>
        </a:spcBef>
        <a:buNone/>
        <a:defRPr lang="en-US" sz="3599" b="0" i="0" kern="1200" baseline="0" dirty="0">
          <a:solidFill>
            <a:schemeClr val="bg1"/>
          </a:solidFill>
          <a:latin typeface="+mj-lt"/>
          <a:ea typeface="Roboto Light" panose="02000000000000000000" pitchFamily="2" charset="0"/>
          <a:cs typeface="Roboto Light" panose="02000000000000000000" pitchFamily="2" charset="0"/>
        </a:defRPr>
      </a:lvl1pPr>
    </p:titleStyle>
    <p:bodyStyle>
      <a:lvl1pPr marL="172986" indent="-172986" algn="l" defTabSz="913943" rtl="0" eaLnBrk="1" latinLnBrk="0" hangingPunct="1">
        <a:lnSpc>
          <a:spcPct val="95000"/>
        </a:lnSpc>
        <a:spcBef>
          <a:spcPts val="1200"/>
        </a:spcBef>
        <a:spcAft>
          <a:spcPts val="0"/>
        </a:spcAft>
        <a:buClr>
          <a:schemeClr val="accent2"/>
        </a:buClr>
        <a:buFont typeface="Arial" panose="020B0604020202020204" pitchFamily="34" charset="0"/>
        <a:buChar char="•"/>
        <a:defRPr sz="1999" b="0" i="0" kern="1200">
          <a:solidFill>
            <a:schemeClr val="bg1"/>
          </a:solidFill>
          <a:latin typeface="Roboto" charset="0"/>
          <a:ea typeface="Roboto" charset="0"/>
          <a:cs typeface="Roboto" charset="0"/>
        </a:defRPr>
      </a:lvl1pPr>
      <a:lvl2pPr marL="344385" indent="-174573" algn="l" defTabSz="913943" rtl="0" eaLnBrk="1" latinLnBrk="0" hangingPunct="1">
        <a:lnSpc>
          <a:spcPct val="95000"/>
        </a:lnSpc>
        <a:spcBef>
          <a:spcPts val="600"/>
        </a:spcBef>
        <a:spcAft>
          <a:spcPts val="0"/>
        </a:spcAft>
        <a:buClr>
          <a:schemeClr val="accent2"/>
        </a:buClr>
        <a:buFont typeface=".AppleSystemUIFont" charset="-120"/>
        <a:buChar char="-"/>
        <a:defRPr sz="1799" b="0" i="0" kern="1200">
          <a:solidFill>
            <a:schemeClr val="bg1"/>
          </a:solidFill>
          <a:latin typeface="Roboto" charset="0"/>
          <a:ea typeface="Roboto" charset="0"/>
          <a:cs typeface="Roboto" charset="0"/>
        </a:defRPr>
      </a:lvl2pPr>
      <a:lvl3pPr marL="514196" indent="-169812" algn="l" defTabSz="913943" rtl="0" eaLnBrk="1" latinLnBrk="0" hangingPunct="1">
        <a:lnSpc>
          <a:spcPct val="95000"/>
        </a:lnSpc>
        <a:spcBef>
          <a:spcPts val="600"/>
        </a:spcBef>
        <a:spcAft>
          <a:spcPts val="0"/>
        </a:spcAft>
        <a:buClr>
          <a:schemeClr val="accent2"/>
        </a:buClr>
        <a:buFont typeface="Arial" panose="020B0604020202020204" pitchFamily="34" charset="0"/>
        <a:buChar char="•"/>
        <a:defRPr sz="1600" b="0" i="0" kern="1200">
          <a:solidFill>
            <a:schemeClr val="bg1"/>
          </a:solidFill>
          <a:latin typeface="Roboto" charset="0"/>
          <a:ea typeface="Roboto" charset="0"/>
          <a:cs typeface="Roboto" charset="0"/>
        </a:defRPr>
      </a:lvl3pPr>
      <a:lvl4pPr marL="630049" indent="-171399" algn="l" defTabSz="913943" rtl="0" eaLnBrk="1" latinLnBrk="0" hangingPunct="1">
        <a:lnSpc>
          <a:spcPct val="95000"/>
        </a:lnSpc>
        <a:spcBef>
          <a:spcPts val="600"/>
        </a:spcBef>
        <a:spcAft>
          <a:spcPts val="0"/>
        </a:spcAft>
        <a:buClr>
          <a:schemeClr val="accent3"/>
        </a:buClr>
        <a:buFont typeface="Arial" panose="020B0604020202020204" pitchFamily="34" charset="0"/>
        <a:buChar char="•"/>
        <a:defRPr sz="1400" b="0" i="0" kern="1200">
          <a:solidFill>
            <a:schemeClr val="tx1"/>
          </a:solidFill>
          <a:latin typeface="Roboto" charset="0"/>
          <a:ea typeface="Roboto" charset="0"/>
          <a:cs typeface="Roboto" charset="0"/>
        </a:defRPr>
      </a:lvl4pPr>
      <a:lvl5pPr marL="799860" indent="-169812" algn="l" defTabSz="913943" rtl="0" eaLnBrk="1" latinLnBrk="0" hangingPunct="1">
        <a:lnSpc>
          <a:spcPct val="95000"/>
        </a:lnSpc>
        <a:spcBef>
          <a:spcPts val="600"/>
        </a:spcBef>
        <a:spcAft>
          <a:spcPts val="0"/>
        </a:spcAft>
        <a:buClr>
          <a:schemeClr val="accent2"/>
        </a:buClr>
        <a:buFont typeface="Arial" panose="020B0604020202020204" pitchFamily="34" charset="0"/>
        <a:buChar char="•"/>
        <a:defRPr sz="1400" b="0" i="0" kern="1200">
          <a:solidFill>
            <a:schemeClr val="tx1"/>
          </a:solidFill>
          <a:latin typeface="Roboto" charset="0"/>
          <a:ea typeface="Roboto" charset="0"/>
          <a:cs typeface="Roboto" charset="0"/>
        </a:defRPr>
      </a:lvl5pPr>
      <a:lvl6pPr marL="914126" indent="-169812" algn="l" defTabSz="913943" rtl="0" eaLnBrk="1" latinLnBrk="0" hangingPunct="1">
        <a:lnSpc>
          <a:spcPct val="90000"/>
        </a:lnSpc>
        <a:spcBef>
          <a:spcPts val="500"/>
        </a:spcBef>
        <a:spcAft>
          <a:spcPts val="1200"/>
        </a:spcAft>
        <a:buClr>
          <a:schemeClr val="tx1"/>
        </a:buClr>
        <a:buFont typeface="Arial" panose="020B0604020202020204" pitchFamily="34" charset="0"/>
        <a:buChar char="•"/>
        <a:defRPr sz="1200" b="0" i="0" kern="1200">
          <a:solidFill>
            <a:schemeClr val="tx1"/>
          </a:solidFill>
          <a:latin typeface="Roboto" charset="0"/>
          <a:ea typeface="Roboto" charset="0"/>
          <a:cs typeface="Roboto" charset="0"/>
        </a:defRPr>
      </a:lvl6pPr>
      <a:lvl7pPr marL="1083938" indent="-169812" algn="l" defTabSz="913943" rtl="0" eaLnBrk="1" latinLnBrk="0" hangingPunct="1">
        <a:lnSpc>
          <a:spcPct val="90000"/>
        </a:lnSpc>
        <a:spcBef>
          <a:spcPts val="500"/>
        </a:spcBef>
        <a:spcAft>
          <a:spcPts val="1200"/>
        </a:spcAft>
        <a:buClr>
          <a:schemeClr val="accent2"/>
        </a:buClr>
        <a:buFont typeface="Arial" panose="020B0604020202020204" pitchFamily="34" charset="0"/>
        <a:buChar char="•"/>
        <a:defRPr sz="1200" b="0" i="0" kern="1200">
          <a:solidFill>
            <a:schemeClr val="tx1"/>
          </a:solidFill>
          <a:latin typeface="Roboto" charset="0"/>
          <a:ea typeface="Roboto" charset="0"/>
          <a:cs typeface="Roboto" charset="0"/>
        </a:defRPr>
      </a:lvl7pPr>
      <a:lvl8pPr marL="1258510" indent="-174573" algn="l" defTabSz="913943" rtl="0" eaLnBrk="1" latinLnBrk="0" hangingPunct="1">
        <a:lnSpc>
          <a:spcPct val="90000"/>
        </a:lnSpc>
        <a:spcBef>
          <a:spcPts val="500"/>
        </a:spcBef>
        <a:spcAft>
          <a:spcPts val="1200"/>
        </a:spcAft>
        <a:buClr>
          <a:schemeClr val="accent2"/>
        </a:buClr>
        <a:buFont typeface="Arial" panose="020B0604020202020204" pitchFamily="34" charset="0"/>
        <a:buChar char="•"/>
        <a:defRPr sz="1200" b="0" i="0" kern="1200">
          <a:solidFill>
            <a:schemeClr val="tx1"/>
          </a:solidFill>
          <a:latin typeface="Roboto" charset="0"/>
          <a:ea typeface="Roboto" charset="0"/>
          <a:cs typeface="Roboto" charset="0"/>
        </a:defRPr>
      </a:lvl8pPr>
      <a:lvl9pPr marL="1428321" indent="-169812" algn="l" defTabSz="913943" rtl="0" eaLnBrk="1" latinLnBrk="0" hangingPunct="1">
        <a:lnSpc>
          <a:spcPct val="90000"/>
        </a:lnSpc>
        <a:spcBef>
          <a:spcPts val="500"/>
        </a:spcBef>
        <a:spcAft>
          <a:spcPts val="1200"/>
        </a:spcAft>
        <a:buClr>
          <a:schemeClr val="accent2"/>
        </a:buClr>
        <a:buFont typeface="Arial" panose="020B0604020202020204" pitchFamily="34" charset="0"/>
        <a:buChar char="•"/>
        <a:defRPr sz="1200" b="0" i="0" kern="1200">
          <a:solidFill>
            <a:schemeClr val="tx1"/>
          </a:solidFill>
          <a:latin typeface="Roboto" charset="0"/>
          <a:ea typeface="Roboto" charset="0"/>
          <a:cs typeface="Roboto" charset="0"/>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2"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5" algn="l" defTabSz="913943" rtl="0" eaLnBrk="1" latinLnBrk="0" hangingPunct="1">
        <a:defRPr sz="1799" kern="1200">
          <a:solidFill>
            <a:schemeClr val="tx1"/>
          </a:solidFill>
          <a:latin typeface="+mn-lt"/>
          <a:ea typeface="+mn-ea"/>
          <a:cs typeface="+mn-cs"/>
        </a:defRPr>
      </a:lvl4pPr>
      <a:lvl5pPr marL="1827885" algn="l" defTabSz="913943" rtl="0" eaLnBrk="1" latinLnBrk="0" hangingPunct="1">
        <a:defRPr sz="1799" kern="1200">
          <a:solidFill>
            <a:schemeClr val="tx1"/>
          </a:solidFill>
          <a:latin typeface="+mn-lt"/>
          <a:ea typeface="+mn-ea"/>
          <a:cs typeface="+mn-cs"/>
        </a:defRPr>
      </a:lvl5pPr>
      <a:lvl6pPr marL="2284856"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2"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11">
          <p15:clr>
            <a:srgbClr val="F26B43"/>
          </p15:clr>
        </p15:guide>
        <p15:guide id="5" orient="horz" pos="4008">
          <p15:clr>
            <a:srgbClr val="F26B43"/>
          </p15:clr>
        </p15:guide>
        <p15:guide id="6" pos="7356">
          <p15:clr>
            <a:srgbClr val="F26B43"/>
          </p15:clr>
        </p15:guide>
        <p15:guide id="7" pos="11040">
          <p15:clr>
            <a:srgbClr val="F26B43"/>
          </p15:clr>
        </p15:guide>
        <p15:guide id="12" pos="2554">
          <p15:clr>
            <a:srgbClr val="F26B43"/>
          </p15:clr>
        </p15:guide>
        <p15:guide id="13" pos="5123">
          <p15:clr>
            <a:srgbClr val="F26B43"/>
          </p15:clr>
        </p15:guide>
        <p15:guide id="14" orient="horz" pos="1443">
          <p15:clr>
            <a:srgbClr val="F26B43"/>
          </p15:clr>
        </p15:guide>
        <p15:guide id="15" orient="horz" pos="2886">
          <p15:clr>
            <a:srgbClr val="F26B43"/>
          </p15:clr>
        </p15:guide>
        <p15:guide id="16" orient="horz" pos="856">
          <p15:clr>
            <a:srgbClr val="F26B43"/>
          </p15:clr>
        </p15:guide>
        <p15:guide id="20" pos="719">
          <p15:clr>
            <a:srgbClr val="F26B43"/>
          </p15:clr>
        </p15:guide>
        <p15:guide id="28" pos="308">
          <p15:clr>
            <a:srgbClr val="F26B43"/>
          </p15:clr>
        </p15:guide>
        <p15:guide id="29" pos="7369">
          <p15:clr>
            <a:srgbClr val="F26B43"/>
          </p15:clr>
        </p15:guide>
        <p15:guide id="30" orient="horz" pos="325">
          <p15:clr>
            <a:srgbClr val="F26B43"/>
          </p15:clr>
        </p15:guide>
        <p15:guide id="31" orient="horz" pos="1168">
          <p15:clr>
            <a:srgbClr val="F26B43"/>
          </p15:clr>
        </p15:guide>
        <p15:guide id="32" orient="horz" pos="3792">
          <p15:clr>
            <a:srgbClr val="F26B43"/>
          </p15:clr>
        </p15:guide>
        <p15:guide id="34" orient="horz" pos="922">
          <p15:clr>
            <a:srgbClr val="F26B43"/>
          </p15:clr>
        </p15:guide>
        <p15:guide id="35" pos="64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7">
            <a:lum/>
          </a:blip>
          <a:srcRect/>
          <a:stretch>
            <a:fillRect/>
          </a:stretch>
        </a:blipFill>
        <a:effectLst/>
      </p:bgPr>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93713" y="482602"/>
            <a:ext cx="11183938" cy="1066798"/>
          </a:xfrm>
          <a:prstGeom prst="rect">
            <a:avLst/>
          </a:prstGeom>
        </p:spPr>
        <p:txBody>
          <a:bodyPr lIns="0"/>
          <a:lstStyle/>
          <a:p>
            <a:pPr lvl="0"/>
            <a:r>
              <a:rPr lang="en-US"/>
              <a:t>Headline goes here, </a:t>
            </a:r>
            <a:r>
              <a:rPr lang="en-US" err="1"/>
              <a:t>Roboto</a:t>
            </a:r>
            <a:r>
              <a:rPr lang="en-US"/>
              <a:t> Light, 36 points</a:t>
            </a:r>
          </a:p>
        </p:txBody>
      </p:sp>
    </p:spTree>
    <p:extLst>
      <p:ext uri="{BB962C8B-B14F-4D97-AF65-F5344CB8AC3E}">
        <p14:creationId xmlns:p14="http://schemas.microsoft.com/office/powerpoint/2010/main" val="591220079"/>
      </p:ext>
    </p:extLst>
  </p:cSld>
  <p:clrMap bg1="dk1" tx1="lt1" bg2="dk2" tx2="lt2" accent1="accent1" accent2="accent2" accent3="accent3" accent4="accent4" accent5="accent5" accent6="accent6" hlink="hlink" folHlink="folHlink"/>
  <p:sldLayoutIdLst>
    <p:sldLayoutId id="2147484000" r:id="rId1"/>
    <p:sldLayoutId id="2147484001" r:id="rId2"/>
    <p:sldLayoutId id="2147484002" r:id="rId3"/>
    <p:sldLayoutId id="2147484003" r:id="rId4"/>
    <p:sldLayoutId id="2147484004" r:id="rId5"/>
    <p:sldLayoutId id="2147484005" r:id="rId6"/>
    <p:sldLayoutId id="2147484006" r:id="rId7"/>
    <p:sldLayoutId id="2147484007" r:id="rId8"/>
    <p:sldLayoutId id="2147484008" r:id="rId9"/>
    <p:sldLayoutId id="2147484009" r:id="rId10"/>
    <p:sldLayoutId id="2147484010" r:id="rId11"/>
    <p:sldLayoutId id="2147484011" r:id="rId12"/>
    <p:sldLayoutId id="2147484012" r:id="rId13"/>
    <p:sldLayoutId id="2147484013" r:id="rId14"/>
    <p:sldLayoutId id="2147484014" r:id="rId15"/>
    <p:sldLayoutId id="2147484015" r:id="rId16"/>
    <p:sldLayoutId id="2147484016" r:id="rId17"/>
    <p:sldLayoutId id="2147484017" r:id="rId18"/>
    <p:sldLayoutId id="2147484018" r:id="rId19"/>
    <p:sldLayoutId id="2147484019" r:id="rId20"/>
    <p:sldLayoutId id="2147484020" r:id="rId21"/>
    <p:sldLayoutId id="2147484021" r:id="rId22"/>
    <p:sldLayoutId id="2147484022" r:id="rId23"/>
    <p:sldLayoutId id="2147484023" r:id="rId24"/>
    <p:sldLayoutId id="2147484024" r:id="rId25"/>
    <p:sldLayoutId id="2147484025" r:id="rId26"/>
    <p:sldLayoutId id="2147484026" r:id="rId27"/>
    <p:sldLayoutId id="2147484027" r:id="rId28"/>
    <p:sldLayoutId id="2147484028" r:id="rId29"/>
    <p:sldLayoutId id="2147484029" r:id="rId30"/>
    <p:sldLayoutId id="2147484030" r:id="rId31"/>
    <p:sldLayoutId id="2147484031" r:id="rId32"/>
    <p:sldLayoutId id="2147484032" r:id="rId33"/>
    <p:sldLayoutId id="2147484033" r:id="rId34"/>
    <p:sldLayoutId id="2147484034" r:id="rId35"/>
    <p:sldLayoutId id="2147484035" r:id="rId36"/>
    <p:sldLayoutId id="2147484036" r:id="rId37"/>
    <p:sldLayoutId id="2147484037" r:id="rId38"/>
    <p:sldLayoutId id="2147484038" r:id="rId39"/>
    <p:sldLayoutId id="2147484039" r:id="rId40"/>
    <p:sldLayoutId id="2147484040" r:id="rId41"/>
    <p:sldLayoutId id="2147484041" r:id="rId42"/>
    <p:sldLayoutId id="2147484042" r:id="rId43"/>
    <p:sldLayoutId id="2147484043" r:id="rId44"/>
    <p:sldLayoutId id="2147484044" r:id="rId45"/>
    <p:sldLayoutId id="2147484045" r:id="rId46"/>
    <p:sldLayoutId id="2147484046" r:id="rId47"/>
    <p:sldLayoutId id="2147484047" r:id="rId48"/>
    <p:sldLayoutId id="2147484048" r:id="rId49"/>
    <p:sldLayoutId id="2147484049" r:id="rId50"/>
    <p:sldLayoutId id="2147484050" r:id="rId51"/>
    <p:sldLayoutId id="2147484051" r:id="rId52"/>
    <p:sldLayoutId id="2147484052" r:id="rId53"/>
    <p:sldLayoutId id="2147484053" r:id="rId54"/>
    <p:sldLayoutId id="2147484054" r:id="rId5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217" rtl="0" eaLnBrk="1" latinLnBrk="0" hangingPunct="1">
        <a:lnSpc>
          <a:spcPct val="90000"/>
        </a:lnSpc>
        <a:spcBef>
          <a:spcPct val="0"/>
        </a:spcBef>
        <a:buNone/>
        <a:defRPr lang="en-US" sz="3600" b="0" i="0" kern="1200" baseline="0" dirty="0">
          <a:solidFill>
            <a:schemeClr val="bg1"/>
          </a:solidFill>
          <a:latin typeface="+mj-lt"/>
          <a:ea typeface="Roboto Light" panose="02000000000000000000" pitchFamily="2" charset="0"/>
          <a:cs typeface="Roboto Light" panose="02000000000000000000" pitchFamily="2" charset="0"/>
        </a:defRPr>
      </a:lvl1pPr>
    </p:titleStyle>
    <p:bodyStyle>
      <a:lvl1pPr marL="173038" indent="-173038" algn="l" defTabSz="914217" rtl="0" eaLnBrk="1" latinLnBrk="0" hangingPunct="1">
        <a:lnSpc>
          <a:spcPct val="95000"/>
        </a:lnSpc>
        <a:spcBef>
          <a:spcPts val="1200"/>
        </a:spcBef>
        <a:spcAft>
          <a:spcPts val="0"/>
        </a:spcAft>
        <a:buClr>
          <a:schemeClr val="accent2"/>
        </a:buClr>
        <a:buFont typeface="Arial" panose="020B0604020202020204" pitchFamily="34" charset="0"/>
        <a:buChar char="•"/>
        <a:defRPr sz="2000" b="0" i="0" kern="1200">
          <a:solidFill>
            <a:schemeClr val="bg1"/>
          </a:solidFill>
          <a:latin typeface="Roboto" charset="0"/>
          <a:ea typeface="Roboto" charset="0"/>
          <a:cs typeface="Roboto" charset="0"/>
        </a:defRPr>
      </a:lvl1pPr>
      <a:lvl2pPr marL="344488" indent="-174625" algn="l" defTabSz="914217" rtl="0" eaLnBrk="1" latinLnBrk="0" hangingPunct="1">
        <a:lnSpc>
          <a:spcPct val="95000"/>
        </a:lnSpc>
        <a:spcBef>
          <a:spcPts val="600"/>
        </a:spcBef>
        <a:spcAft>
          <a:spcPts val="0"/>
        </a:spcAft>
        <a:buClr>
          <a:schemeClr val="accent2"/>
        </a:buClr>
        <a:buFont typeface=".AppleSystemUIFont" charset="-120"/>
        <a:buChar char="-"/>
        <a:defRPr sz="1800" b="0" i="0" kern="1200">
          <a:solidFill>
            <a:schemeClr val="bg1"/>
          </a:solidFill>
          <a:latin typeface="Roboto" charset="0"/>
          <a:ea typeface="Roboto" charset="0"/>
          <a:cs typeface="Roboto" charset="0"/>
        </a:defRPr>
      </a:lvl2pPr>
      <a:lvl3pPr marL="514350" indent="-169863" algn="l" defTabSz="914217" rtl="0" eaLnBrk="1" latinLnBrk="0" hangingPunct="1">
        <a:lnSpc>
          <a:spcPct val="95000"/>
        </a:lnSpc>
        <a:spcBef>
          <a:spcPts val="600"/>
        </a:spcBef>
        <a:spcAft>
          <a:spcPts val="0"/>
        </a:spcAft>
        <a:buClr>
          <a:schemeClr val="accent2"/>
        </a:buClr>
        <a:buFont typeface="Arial" panose="020B0604020202020204" pitchFamily="34" charset="0"/>
        <a:buChar char="•"/>
        <a:defRPr sz="1600" b="0" i="0" kern="1200">
          <a:solidFill>
            <a:schemeClr val="bg1"/>
          </a:solidFill>
          <a:latin typeface="Roboto" charset="0"/>
          <a:ea typeface="Roboto" charset="0"/>
          <a:cs typeface="Roboto" charset="0"/>
        </a:defRPr>
      </a:lvl3pPr>
      <a:lvl4pPr marL="630238" indent="-171450" algn="l" defTabSz="914217" rtl="0" eaLnBrk="1" latinLnBrk="0" hangingPunct="1">
        <a:lnSpc>
          <a:spcPct val="95000"/>
        </a:lnSpc>
        <a:spcBef>
          <a:spcPts val="600"/>
        </a:spcBef>
        <a:spcAft>
          <a:spcPts val="0"/>
        </a:spcAft>
        <a:buClr>
          <a:schemeClr val="accent3"/>
        </a:buClr>
        <a:buFont typeface="Arial" panose="020B0604020202020204" pitchFamily="34" charset="0"/>
        <a:buChar char="•"/>
        <a:defRPr sz="1400" b="0" i="0" kern="1200">
          <a:solidFill>
            <a:schemeClr val="tx1"/>
          </a:solidFill>
          <a:latin typeface="Roboto" charset="0"/>
          <a:ea typeface="Roboto" charset="0"/>
          <a:cs typeface="Roboto" charset="0"/>
        </a:defRPr>
      </a:lvl4pPr>
      <a:lvl5pPr marL="800100" indent="-169863" algn="l" defTabSz="914217" rtl="0" eaLnBrk="1" latinLnBrk="0" hangingPunct="1">
        <a:lnSpc>
          <a:spcPct val="95000"/>
        </a:lnSpc>
        <a:spcBef>
          <a:spcPts val="600"/>
        </a:spcBef>
        <a:spcAft>
          <a:spcPts val="0"/>
        </a:spcAft>
        <a:buClr>
          <a:schemeClr val="accent2"/>
        </a:buClr>
        <a:buFont typeface="Arial" panose="020B0604020202020204" pitchFamily="34" charset="0"/>
        <a:buChar char="•"/>
        <a:defRPr sz="1400" b="0" i="0" kern="1200">
          <a:solidFill>
            <a:schemeClr val="tx1"/>
          </a:solidFill>
          <a:latin typeface="Roboto" charset="0"/>
          <a:ea typeface="Roboto" charset="0"/>
          <a:cs typeface="Roboto" charset="0"/>
        </a:defRPr>
      </a:lvl5pPr>
      <a:lvl6pPr marL="914400" indent="-169863" algn="l" defTabSz="914217" rtl="0" eaLnBrk="1" latinLnBrk="0" hangingPunct="1">
        <a:lnSpc>
          <a:spcPct val="90000"/>
        </a:lnSpc>
        <a:spcBef>
          <a:spcPts val="500"/>
        </a:spcBef>
        <a:spcAft>
          <a:spcPts val="1200"/>
        </a:spcAft>
        <a:buClr>
          <a:schemeClr val="tx1"/>
        </a:buClr>
        <a:buFont typeface="Arial" panose="020B0604020202020204" pitchFamily="34" charset="0"/>
        <a:buChar char="•"/>
        <a:defRPr sz="1200" b="0" i="0" kern="1200">
          <a:solidFill>
            <a:schemeClr val="tx1"/>
          </a:solidFill>
          <a:latin typeface="Roboto" charset="0"/>
          <a:ea typeface="Roboto" charset="0"/>
          <a:cs typeface="Roboto" charset="0"/>
        </a:defRPr>
      </a:lvl6pPr>
      <a:lvl7pPr marL="1084263" indent="-169863" algn="l" defTabSz="914217" rtl="0" eaLnBrk="1" latinLnBrk="0" hangingPunct="1">
        <a:lnSpc>
          <a:spcPct val="90000"/>
        </a:lnSpc>
        <a:spcBef>
          <a:spcPts val="500"/>
        </a:spcBef>
        <a:spcAft>
          <a:spcPts val="1200"/>
        </a:spcAft>
        <a:buClr>
          <a:schemeClr val="accent2"/>
        </a:buClr>
        <a:buFont typeface="Arial" panose="020B0604020202020204" pitchFamily="34" charset="0"/>
        <a:buChar char="•"/>
        <a:defRPr sz="1200" b="0" i="0" kern="1200">
          <a:solidFill>
            <a:schemeClr val="tx1"/>
          </a:solidFill>
          <a:latin typeface="Roboto" charset="0"/>
          <a:ea typeface="Roboto" charset="0"/>
          <a:cs typeface="Roboto" charset="0"/>
        </a:defRPr>
      </a:lvl7pPr>
      <a:lvl8pPr marL="1258888" indent="-174625" algn="l" defTabSz="914217" rtl="0" eaLnBrk="1" latinLnBrk="0" hangingPunct="1">
        <a:lnSpc>
          <a:spcPct val="90000"/>
        </a:lnSpc>
        <a:spcBef>
          <a:spcPts val="500"/>
        </a:spcBef>
        <a:spcAft>
          <a:spcPts val="1200"/>
        </a:spcAft>
        <a:buClr>
          <a:schemeClr val="accent2"/>
        </a:buClr>
        <a:buFont typeface="Arial" panose="020B0604020202020204" pitchFamily="34" charset="0"/>
        <a:buChar char="•"/>
        <a:defRPr sz="1200" b="0" i="0" kern="1200">
          <a:solidFill>
            <a:schemeClr val="tx1"/>
          </a:solidFill>
          <a:latin typeface="Roboto" charset="0"/>
          <a:ea typeface="Roboto" charset="0"/>
          <a:cs typeface="Roboto" charset="0"/>
        </a:defRPr>
      </a:lvl8pPr>
      <a:lvl9pPr marL="1428750" indent="-169863" algn="l" defTabSz="914217" rtl="0" eaLnBrk="1" latinLnBrk="0" hangingPunct="1">
        <a:lnSpc>
          <a:spcPct val="90000"/>
        </a:lnSpc>
        <a:spcBef>
          <a:spcPts val="500"/>
        </a:spcBef>
        <a:spcAft>
          <a:spcPts val="1200"/>
        </a:spcAft>
        <a:buClr>
          <a:schemeClr val="accent2"/>
        </a:buClr>
        <a:buFont typeface="Arial" panose="020B0604020202020204" pitchFamily="34" charset="0"/>
        <a:buChar char="•"/>
        <a:defRPr sz="1200" b="0" i="0" kern="1200">
          <a:solidFill>
            <a:schemeClr val="tx1"/>
          </a:solidFill>
          <a:latin typeface="Roboto" charset="0"/>
          <a:ea typeface="Roboto" charset="0"/>
          <a:cs typeface="Roboto" charset="0"/>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2"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9" algn="l" defTabSz="91421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11">
          <p15:clr>
            <a:srgbClr val="F26B43"/>
          </p15:clr>
        </p15:guide>
        <p15:guide id="5" orient="horz" pos="4008">
          <p15:clr>
            <a:srgbClr val="F26B43"/>
          </p15:clr>
        </p15:guide>
        <p15:guide id="6" pos="7356">
          <p15:clr>
            <a:srgbClr val="F26B43"/>
          </p15:clr>
        </p15:guide>
        <p15:guide id="7" pos="11040">
          <p15:clr>
            <a:srgbClr val="F26B43"/>
          </p15:clr>
        </p15:guide>
        <p15:guide id="12" pos="2554">
          <p15:clr>
            <a:srgbClr val="F26B43"/>
          </p15:clr>
        </p15:guide>
        <p15:guide id="13" pos="5123">
          <p15:clr>
            <a:srgbClr val="F26B43"/>
          </p15:clr>
        </p15:guide>
        <p15:guide id="14" orient="horz" pos="1443">
          <p15:clr>
            <a:srgbClr val="F26B43"/>
          </p15:clr>
        </p15:guide>
        <p15:guide id="15" orient="horz" pos="2886">
          <p15:clr>
            <a:srgbClr val="F26B43"/>
          </p15:clr>
        </p15:guide>
        <p15:guide id="16" orient="horz" pos="856">
          <p15:clr>
            <a:srgbClr val="F26B43"/>
          </p15:clr>
        </p15:guide>
        <p15:guide id="20" pos="719">
          <p15:clr>
            <a:srgbClr val="F26B43"/>
          </p15:clr>
        </p15:guide>
        <p15:guide id="28" pos="308">
          <p15:clr>
            <a:srgbClr val="F26B43"/>
          </p15:clr>
        </p15:guide>
        <p15:guide id="29" pos="7369">
          <p15:clr>
            <a:srgbClr val="F26B43"/>
          </p15:clr>
        </p15:guide>
        <p15:guide id="30" orient="horz" pos="325">
          <p15:clr>
            <a:srgbClr val="F26B43"/>
          </p15:clr>
        </p15:guide>
        <p15:guide id="31" orient="horz" pos="1168">
          <p15:clr>
            <a:srgbClr val="F26B43"/>
          </p15:clr>
        </p15:guide>
        <p15:guide id="32" orient="horz" pos="3792">
          <p15:clr>
            <a:srgbClr val="F26B43"/>
          </p15:clr>
        </p15:guide>
        <p15:guide id="34" orient="horz" pos="922">
          <p15:clr>
            <a:srgbClr val="F26B43"/>
          </p15:clr>
        </p15:guide>
        <p15:guide id="35" pos="6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36.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9.xml"/><Relationship Id="rId1" Type="http://schemas.openxmlformats.org/officeDocument/2006/relationships/slideLayout" Target="../slideLayouts/slideLayout4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3.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1.xml"/><Relationship Id="rId1" Type="http://schemas.openxmlformats.org/officeDocument/2006/relationships/slideLayout" Target="../slideLayouts/slideLayout4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6.xml.rels><?xml version="1.0" encoding="UTF-8" standalone="yes"?>
<Relationships xmlns="http://schemas.openxmlformats.org/package/2006/relationships"><Relationship Id="rId8" Type="http://schemas.microsoft.com/office/2007/relationships/hdphoto" Target="../media/hdphoto20.wdp"/><Relationship Id="rId3" Type="http://schemas.openxmlformats.org/officeDocument/2006/relationships/image" Target="../media/image88.png"/><Relationship Id="rId7" Type="http://schemas.openxmlformats.org/officeDocument/2006/relationships/image" Target="../media/image91.png"/><Relationship Id="rId12" Type="http://schemas.openxmlformats.org/officeDocument/2006/relationships/image" Target="../media/image95.png"/><Relationship Id="rId2" Type="http://schemas.openxmlformats.org/officeDocument/2006/relationships/notesSlide" Target="../notesSlides/notesSlide12.xml"/><Relationship Id="rId1" Type="http://schemas.openxmlformats.org/officeDocument/2006/relationships/slideLayout" Target="../slideLayouts/slideLayout10.xml"/><Relationship Id="rId6" Type="http://schemas.openxmlformats.org/officeDocument/2006/relationships/image" Target="../media/image90.emf"/><Relationship Id="rId11" Type="http://schemas.openxmlformats.org/officeDocument/2006/relationships/image" Target="../media/image94.emf"/><Relationship Id="rId5" Type="http://schemas.openxmlformats.org/officeDocument/2006/relationships/image" Target="../media/image89.png"/><Relationship Id="rId10" Type="http://schemas.openxmlformats.org/officeDocument/2006/relationships/image" Target="../media/image93.emf"/><Relationship Id="rId4" Type="http://schemas.microsoft.com/office/2007/relationships/hdphoto" Target="../media/hdphoto19.wdp"/><Relationship Id="rId9" Type="http://schemas.openxmlformats.org/officeDocument/2006/relationships/image" Target="../media/image92.emf"/></Relationships>
</file>

<file path=ppt/slides/_rels/slide17.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image" Target="../media/image98.svg"/><Relationship Id="rId2" Type="http://schemas.openxmlformats.org/officeDocument/2006/relationships/image" Target="../media/image97.png"/><Relationship Id="rId1" Type="http://schemas.openxmlformats.org/officeDocument/2006/relationships/slideLayout" Target="../slideLayouts/slideLayout6.xml"/><Relationship Id="rId5" Type="http://schemas.openxmlformats.org/officeDocument/2006/relationships/image" Target="../media/image100.svg"/><Relationship Id="rId4" Type="http://schemas.openxmlformats.org/officeDocument/2006/relationships/image" Target="../media/image99.png"/></Relationships>
</file>

<file path=ppt/slides/_rels/slide19.xml.rels><?xml version="1.0" encoding="UTF-8" standalone="yes"?>
<Relationships xmlns="http://schemas.openxmlformats.org/package/2006/relationships"><Relationship Id="rId3" Type="http://schemas.openxmlformats.org/officeDocument/2006/relationships/image" Target="../media/image101.png"/><Relationship Id="rId7" Type="http://schemas.openxmlformats.org/officeDocument/2006/relationships/hyperlink" Target="https://infawiki.informatica.com/display/CAS/Release+Information?preview=/304557396/364935934/Cassini%20R8.6.pdf" TargetMode="External"/><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image" Target="../media/image104.svg"/><Relationship Id="rId5" Type="http://schemas.openxmlformats.org/officeDocument/2006/relationships/image" Target="../media/image103.png"/><Relationship Id="rId4" Type="http://schemas.openxmlformats.org/officeDocument/2006/relationships/image" Target="../media/image102.sv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36.emf"/><Relationship Id="rId5" Type="http://schemas.openxmlformats.org/officeDocument/2006/relationships/oleObject" Target="../embeddings/oleObject1.bin"/><Relationship Id="rId4" Type="http://schemas.openxmlformats.org/officeDocument/2006/relationships/notesSlide" Target="../notesSlides/notesSlide14.xml"/></Relationships>
</file>

<file path=ppt/slides/_rels/slide21.xml.rels><?xml version="1.0" encoding="UTF-8" standalone="yes"?>
<Relationships xmlns="http://schemas.openxmlformats.org/package/2006/relationships"><Relationship Id="rId8" Type="http://schemas.openxmlformats.org/officeDocument/2006/relationships/hyperlink" Target="https://d1.awsstatic.com/whitepapers/aws-overview.pdf" TargetMode="External"/><Relationship Id="rId13" Type="http://schemas.openxmlformats.org/officeDocument/2006/relationships/hyperlink" Target="https://www.salesforceben.com/salesforce-products/" TargetMode="External"/><Relationship Id="rId3" Type="http://schemas.openxmlformats.org/officeDocument/2006/relationships/hyperlink" Target="https://www.qlik.com/us/learn/glossary" TargetMode="External"/><Relationship Id="rId7" Type="http://schemas.openxmlformats.org/officeDocument/2006/relationships/hyperlink" Target="https://searchaws.techtarget.com/feature/Amazon-Web-Services-product-directory" TargetMode="External"/><Relationship Id="rId12" Type="http://schemas.openxmlformats.org/officeDocument/2006/relationships/hyperlink" Target="https://databricks.com/blog/2017/10/25/databricks-delta-a-unified-management-system-for-real-time-big-data.html" TargetMode="External"/><Relationship Id="rId2" Type="http://schemas.openxmlformats.org/officeDocument/2006/relationships/notesSlide" Target="../notesSlides/notesSlide15.xml"/><Relationship Id="rId1" Type="http://schemas.openxmlformats.org/officeDocument/2006/relationships/slideLayout" Target="../slideLayouts/slideLayout43.xml"/><Relationship Id="rId6" Type="http://schemas.openxmlformats.org/officeDocument/2006/relationships/hyperlink" Target="https://www.jeffersonfrank.com/insights/aws-products" TargetMode="External"/><Relationship Id="rId11" Type="http://schemas.openxmlformats.org/officeDocument/2006/relationships/hyperlink" Target="https://inui.io/sap-glossary/" TargetMode="External"/><Relationship Id="rId5" Type="http://schemas.openxmlformats.org/officeDocument/2006/relationships/hyperlink" Target="https://allcode.com/top-aws-services/" TargetMode="External"/><Relationship Id="rId10" Type="http://schemas.openxmlformats.org/officeDocument/2006/relationships/hyperlink" Target="https://medium.com/google-cloud/what-are-the-google-cloud-platform-gcp-services-285f1988957a" TargetMode="External"/><Relationship Id="rId4" Type="http://schemas.openxmlformats.org/officeDocument/2006/relationships/hyperlink" Target="https://www.osmos.io/blog/data-terms-glossary-list" TargetMode="External"/><Relationship Id="rId9" Type="http://schemas.openxmlformats.org/officeDocument/2006/relationships/hyperlink" Target="https://azurecharts.com/overview" TargetMode="External"/></Relationships>
</file>

<file path=ppt/slides/_rels/slide22.xml.rels><?xml version="1.0" encoding="UTF-8" standalone="yes"?>
<Relationships xmlns="http://schemas.openxmlformats.org/package/2006/relationships"><Relationship Id="rId3" Type="http://schemas.openxmlformats.org/officeDocument/2006/relationships/hyperlink" Target="https://network.informatica.com/docs/DOC-17579" TargetMode="External"/><Relationship Id="rId2" Type="http://schemas.openxmlformats.org/officeDocument/2006/relationships/notesSlide" Target="../notesSlides/notesSlide16.xml"/><Relationship Id="rId1" Type="http://schemas.openxmlformats.org/officeDocument/2006/relationships/slideLayout" Target="../slideLayouts/slideLayout43.xml"/><Relationship Id="rId4" Type="http://schemas.openxmlformats.org/officeDocument/2006/relationships/image" Target="../media/image105.png"/></Relationships>
</file>

<file path=ppt/slides/_rels/slide23.xml.rels><?xml version="1.0" encoding="UTF-8" standalone="yes"?>
<Relationships xmlns="http://schemas.openxmlformats.org/package/2006/relationships"><Relationship Id="rId3" Type="http://schemas.openxmlformats.org/officeDocument/2006/relationships/image" Target="../media/image106.emf"/><Relationship Id="rId2" Type="http://schemas.openxmlformats.org/officeDocument/2006/relationships/notesSlide" Target="../notesSlides/notesSlide17.xml"/><Relationship Id="rId1" Type="http://schemas.openxmlformats.org/officeDocument/2006/relationships/slideLayout" Target="../slideLayouts/slideLayout43.xml"/><Relationship Id="rId4" Type="http://schemas.openxmlformats.org/officeDocument/2006/relationships/hyperlink" Target="https://www.youtube.com/watch?v=VUbwUve4llY" TargetMode="External"/></Relationships>
</file>

<file path=ppt/slides/_rels/slide24.xml.rels><?xml version="1.0" encoding="UTF-8" standalone="yes"?>
<Relationships xmlns="http://schemas.openxmlformats.org/package/2006/relationships"><Relationship Id="rId3" Type="http://schemas.openxmlformats.org/officeDocument/2006/relationships/hyperlink" Target="https://www.google.com/url?sa=t&amp;rct=j&amp;q=&amp;esrc=s&amp;source=web&amp;cd=&amp;cad=rja&amp;uact=8&amp;ved=2ahUKEwjT8Iee8-D1AhVrzzgGHTyRBXYQwqsBegQIAxAB&amp;url=https%3A%2F%2Fwww.youtube.com%2Fwatch%3Fv%3D5FpgUNKbPp4&amp;usg=AOvVaw3fgD5YWdb8Wo16I1cT6egb" TargetMode="External"/><Relationship Id="rId2" Type="http://schemas.openxmlformats.org/officeDocument/2006/relationships/notesSlide" Target="../notesSlides/notesSlide18.xml"/><Relationship Id="rId1" Type="http://schemas.openxmlformats.org/officeDocument/2006/relationships/slideLayout" Target="../slideLayouts/slideLayout43.xml"/><Relationship Id="rId6" Type="http://schemas.openxmlformats.org/officeDocument/2006/relationships/image" Target="../media/image107.jpg"/><Relationship Id="rId5" Type="http://schemas.openxmlformats.org/officeDocument/2006/relationships/hyperlink" Target="https://network.informatica.com/docs/DOC-19140" TargetMode="External"/><Relationship Id="rId4" Type="http://schemas.openxmlformats.org/officeDocument/2006/relationships/hyperlink" Target="https://docs.informatica.com/integration-cloud/cloud-platform/current-version/organization-administration/metering.html"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3.xml"/></Relationships>
</file>

<file path=ppt/slides/_rels/slide4.xml.rels><?xml version="1.0" encoding="UTF-8" standalone="yes"?>
<Relationships xmlns="http://schemas.openxmlformats.org/package/2006/relationships"><Relationship Id="rId13" Type="http://schemas.microsoft.com/office/2007/relationships/hdphoto" Target="../media/hdphoto7.wdp"/><Relationship Id="rId18" Type="http://schemas.openxmlformats.org/officeDocument/2006/relationships/image" Target="../media/image47.png"/><Relationship Id="rId26" Type="http://schemas.openxmlformats.org/officeDocument/2006/relationships/image" Target="../media/image53.png"/><Relationship Id="rId39" Type="http://schemas.openxmlformats.org/officeDocument/2006/relationships/image" Target="../media/image61.png"/><Relationship Id="rId21" Type="http://schemas.openxmlformats.org/officeDocument/2006/relationships/image" Target="../media/image50.png"/><Relationship Id="rId34" Type="http://schemas.openxmlformats.org/officeDocument/2006/relationships/image" Target="../media/image57.png"/><Relationship Id="rId42" Type="http://schemas.microsoft.com/office/2007/relationships/hdphoto" Target="../media/hdphoto16.wdp"/><Relationship Id="rId7" Type="http://schemas.openxmlformats.org/officeDocument/2006/relationships/image" Target="../media/image39.png"/><Relationship Id="rId2" Type="http://schemas.openxmlformats.org/officeDocument/2006/relationships/notesSlide" Target="../notesSlides/notesSlide3.xml"/><Relationship Id="rId16" Type="http://schemas.openxmlformats.org/officeDocument/2006/relationships/image" Target="../media/image45.png"/><Relationship Id="rId20" Type="http://schemas.openxmlformats.org/officeDocument/2006/relationships/image" Target="../media/image49.png"/><Relationship Id="rId29" Type="http://schemas.microsoft.com/office/2007/relationships/hdphoto" Target="../media/hdphoto11.wdp"/><Relationship Id="rId41" Type="http://schemas.openxmlformats.org/officeDocument/2006/relationships/image" Target="../media/image62.png"/><Relationship Id="rId1" Type="http://schemas.openxmlformats.org/officeDocument/2006/relationships/slideLayout" Target="../slideLayouts/slideLayout64.xml"/><Relationship Id="rId6" Type="http://schemas.microsoft.com/office/2007/relationships/hdphoto" Target="../media/hdphoto4.wdp"/><Relationship Id="rId11" Type="http://schemas.openxmlformats.org/officeDocument/2006/relationships/image" Target="../media/image41.png"/><Relationship Id="rId24" Type="http://schemas.openxmlformats.org/officeDocument/2006/relationships/image" Target="../media/image52.png"/><Relationship Id="rId32" Type="http://schemas.openxmlformats.org/officeDocument/2006/relationships/image" Target="../media/image56.png"/><Relationship Id="rId37" Type="http://schemas.openxmlformats.org/officeDocument/2006/relationships/image" Target="../media/image59.png"/><Relationship Id="rId40" Type="http://schemas.microsoft.com/office/2007/relationships/hdphoto" Target="../media/hdphoto15.wdp"/><Relationship Id="rId5" Type="http://schemas.openxmlformats.org/officeDocument/2006/relationships/image" Target="../media/image38.png"/><Relationship Id="rId15" Type="http://schemas.openxmlformats.org/officeDocument/2006/relationships/image" Target="../media/image44.png"/><Relationship Id="rId23" Type="http://schemas.openxmlformats.org/officeDocument/2006/relationships/image" Target="../media/image51.png"/><Relationship Id="rId28" Type="http://schemas.openxmlformats.org/officeDocument/2006/relationships/image" Target="../media/image54.png"/><Relationship Id="rId36" Type="http://schemas.openxmlformats.org/officeDocument/2006/relationships/image" Target="../media/image58.png"/><Relationship Id="rId10" Type="http://schemas.microsoft.com/office/2007/relationships/hdphoto" Target="../media/hdphoto6.wdp"/><Relationship Id="rId19" Type="http://schemas.openxmlformats.org/officeDocument/2006/relationships/image" Target="../media/image48.png"/><Relationship Id="rId31" Type="http://schemas.microsoft.com/office/2007/relationships/hdphoto" Target="../media/hdphoto12.wdp"/><Relationship Id="rId4" Type="http://schemas.microsoft.com/office/2007/relationships/hdphoto" Target="../media/hdphoto3.wdp"/><Relationship Id="rId9" Type="http://schemas.openxmlformats.org/officeDocument/2006/relationships/image" Target="../media/image40.png"/><Relationship Id="rId14" Type="http://schemas.openxmlformats.org/officeDocument/2006/relationships/image" Target="../media/image43.png"/><Relationship Id="rId22" Type="http://schemas.microsoft.com/office/2007/relationships/hdphoto" Target="../media/hdphoto8.wdp"/><Relationship Id="rId27" Type="http://schemas.microsoft.com/office/2007/relationships/hdphoto" Target="../media/hdphoto10.wdp"/><Relationship Id="rId30" Type="http://schemas.openxmlformats.org/officeDocument/2006/relationships/image" Target="../media/image55.png"/><Relationship Id="rId35" Type="http://schemas.microsoft.com/office/2007/relationships/hdphoto" Target="../media/hdphoto14.wdp"/><Relationship Id="rId8" Type="http://schemas.microsoft.com/office/2007/relationships/hdphoto" Target="../media/hdphoto5.wdp"/><Relationship Id="rId3" Type="http://schemas.openxmlformats.org/officeDocument/2006/relationships/image" Target="../media/image37.png"/><Relationship Id="rId12" Type="http://schemas.openxmlformats.org/officeDocument/2006/relationships/image" Target="../media/image42.png"/><Relationship Id="rId17" Type="http://schemas.openxmlformats.org/officeDocument/2006/relationships/image" Target="../media/image46.png"/><Relationship Id="rId25" Type="http://schemas.microsoft.com/office/2007/relationships/hdphoto" Target="../media/hdphoto9.wdp"/><Relationship Id="rId33" Type="http://schemas.microsoft.com/office/2007/relationships/hdphoto" Target="../media/hdphoto13.wdp"/><Relationship Id="rId38" Type="http://schemas.openxmlformats.org/officeDocument/2006/relationships/image" Target="../media/image60.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6.xml"/></Relationships>
</file>

<file path=ppt/slides/_rels/slide6.xml.rels><?xml version="1.0" encoding="UTF-8" standalone="yes"?>
<Relationships xmlns="http://schemas.openxmlformats.org/package/2006/relationships"><Relationship Id="rId8" Type="http://schemas.openxmlformats.org/officeDocument/2006/relationships/image" Target="../media/image66.emf"/><Relationship Id="rId13" Type="http://schemas.openxmlformats.org/officeDocument/2006/relationships/image" Target="../media/image71.png"/><Relationship Id="rId3" Type="http://schemas.openxmlformats.org/officeDocument/2006/relationships/notesSlide" Target="../notesSlides/notesSlide5.xml"/><Relationship Id="rId7" Type="http://schemas.openxmlformats.org/officeDocument/2006/relationships/image" Target="../media/image65.png"/><Relationship Id="rId12" Type="http://schemas.openxmlformats.org/officeDocument/2006/relationships/image" Target="../media/image70.png"/><Relationship Id="rId17" Type="http://schemas.microsoft.com/office/2007/relationships/hdphoto" Target="../media/hdphoto18.wdp"/><Relationship Id="rId2" Type="http://schemas.openxmlformats.org/officeDocument/2006/relationships/slideLayout" Target="../slideLayouts/slideLayout44.xml"/><Relationship Id="rId16" Type="http://schemas.openxmlformats.org/officeDocument/2006/relationships/image" Target="../media/image74.png"/><Relationship Id="rId1" Type="http://schemas.openxmlformats.org/officeDocument/2006/relationships/tags" Target="../tags/tag3.xml"/><Relationship Id="rId6" Type="http://schemas.openxmlformats.org/officeDocument/2006/relationships/image" Target="../media/image64.png"/><Relationship Id="rId11" Type="http://schemas.openxmlformats.org/officeDocument/2006/relationships/image" Target="../media/image69.png"/><Relationship Id="rId5" Type="http://schemas.microsoft.com/office/2007/relationships/hdphoto" Target="../media/hdphoto17.wdp"/><Relationship Id="rId15" Type="http://schemas.openxmlformats.org/officeDocument/2006/relationships/image" Target="../media/image73.png"/><Relationship Id="rId10" Type="http://schemas.openxmlformats.org/officeDocument/2006/relationships/image" Target="../media/image68.png"/><Relationship Id="rId4" Type="http://schemas.openxmlformats.org/officeDocument/2006/relationships/image" Target="../media/image63.png"/><Relationship Id="rId9" Type="http://schemas.openxmlformats.org/officeDocument/2006/relationships/image" Target="../media/image67.png"/><Relationship Id="rId14" Type="http://schemas.openxmlformats.org/officeDocument/2006/relationships/image" Target="../media/image72.png"/></Relationships>
</file>

<file path=ppt/slides/_rels/slide7.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75.png"/><Relationship Id="rId7" Type="http://schemas.openxmlformats.org/officeDocument/2006/relationships/image" Target="../media/image79.png"/><Relationship Id="rId2" Type="http://schemas.openxmlformats.org/officeDocument/2006/relationships/notesSlide" Target="../notesSlides/notesSlide6.xml"/><Relationship Id="rId1" Type="http://schemas.openxmlformats.org/officeDocument/2006/relationships/slideLayout" Target="../slideLayouts/slideLayout102.xml"/><Relationship Id="rId6" Type="http://schemas.openxmlformats.org/officeDocument/2006/relationships/image" Target="../media/image78.png"/><Relationship Id="rId5" Type="http://schemas.openxmlformats.org/officeDocument/2006/relationships/image" Target="../media/image77.jpeg"/><Relationship Id="rId4" Type="http://schemas.openxmlformats.org/officeDocument/2006/relationships/image" Target="../media/image76.jpe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6.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1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58C416B-22C5-465B-B532-522AE8B21B97}"/>
              </a:ext>
            </a:extLst>
          </p:cNvPr>
          <p:cNvGraphicFramePr>
            <a:graphicFrameLocks noChangeAspect="1"/>
          </p:cNvGraphicFramePr>
          <p:nvPr>
            <p:custDataLst>
              <p:tags r:id="rId2"/>
            </p:custDataLst>
          </p:nvPr>
        </p:nvGraphicFramePr>
        <p:xfrm>
          <a:off x="1587" y="2480"/>
          <a:ext cx="1588" cy="1588"/>
        </p:xfrm>
        <a:graphic>
          <a:graphicData uri="http://schemas.openxmlformats.org/presentationml/2006/ole">
            <mc:AlternateContent xmlns:mc="http://schemas.openxmlformats.org/markup-compatibility/2006">
              <mc:Choice xmlns:v="urn:schemas-microsoft-com:vml" Requires="v">
                <p:oleObj spid="_x0000_s149505" name="think-cell Slide" r:id="rId5" imgW="592" imgH="595" progId="TCLayout.ActiveDocument.1">
                  <p:embed/>
                </p:oleObj>
              </mc:Choice>
              <mc:Fallback>
                <p:oleObj name="think-cell Slide" r:id="rId5" imgW="592" imgH="595" progId="TCLayout.ActiveDocument.1">
                  <p:embed/>
                  <p:pic>
                    <p:nvPicPr>
                      <p:cNvPr id="4" name="Object 3" hidden="1">
                        <a:extLst>
                          <a:ext uri="{FF2B5EF4-FFF2-40B4-BE49-F238E27FC236}">
                            <a16:creationId xmlns:a16="http://schemas.microsoft.com/office/drawing/2014/main" id="{D58C416B-22C5-465B-B532-522AE8B21B97}"/>
                          </a:ext>
                        </a:extLst>
                      </p:cNvPr>
                      <p:cNvPicPr/>
                      <p:nvPr/>
                    </p:nvPicPr>
                    <p:blipFill>
                      <a:blip r:embed="rId6"/>
                      <a:stretch>
                        <a:fillRect/>
                      </a:stretch>
                    </p:blipFill>
                    <p:spPr>
                      <a:xfrm>
                        <a:off x="1587" y="2480"/>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8A999362-CA48-400E-819D-D41B512F229F}"/>
              </a:ext>
            </a:extLst>
          </p:cNvPr>
          <p:cNvSpPr>
            <a:spLocks noGrp="1"/>
          </p:cNvSpPr>
          <p:nvPr>
            <p:ph type="body" sz="quarter" idx="10"/>
          </p:nvPr>
        </p:nvSpPr>
        <p:spPr/>
        <p:txBody>
          <a:bodyPr/>
          <a:lstStyle/>
          <a:p>
            <a:r>
              <a:rPr lang="en-IN" dirty="0"/>
              <a:t>14 Feb 2022</a:t>
            </a:r>
          </a:p>
        </p:txBody>
      </p:sp>
      <p:sp>
        <p:nvSpPr>
          <p:cNvPr id="6" name="Text Placeholder 5">
            <a:extLst>
              <a:ext uri="{FF2B5EF4-FFF2-40B4-BE49-F238E27FC236}">
                <a16:creationId xmlns:a16="http://schemas.microsoft.com/office/drawing/2014/main" id="{A6BD966C-BCDE-4FA4-812F-E286CDE55900}"/>
              </a:ext>
            </a:extLst>
          </p:cNvPr>
          <p:cNvSpPr>
            <a:spLocks noGrp="1"/>
          </p:cNvSpPr>
          <p:nvPr>
            <p:ph type="body" sz="quarter" idx="11"/>
          </p:nvPr>
        </p:nvSpPr>
        <p:spPr/>
        <p:txBody>
          <a:bodyPr/>
          <a:lstStyle/>
          <a:p>
            <a:r>
              <a:rPr lang="en-US" sz="4799" dirty="0">
                <a:latin typeface="Roboto" panose="02000000000000000000" pitchFamily="2" charset="0"/>
                <a:ea typeface="Roboto" panose="02000000000000000000" pitchFamily="2" charset="0"/>
                <a:cs typeface="Roboto" panose="02000000000000000000" pitchFamily="2" charset="0"/>
              </a:rPr>
              <a:t>Cloud Data Integration Training – Day 1</a:t>
            </a:r>
            <a:endParaRPr lang="en-US" sz="3199" dirty="0">
              <a:latin typeface="Roboto" panose="02000000000000000000" pitchFamily="2" charset="0"/>
              <a:ea typeface="Roboto" panose="02000000000000000000" pitchFamily="2" charset="0"/>
              <a:cs typeface="Roboto" panose="02000000000000000000" pitchFamily="2" charset="0"/>
            </a:endParaRPr>
          </a:p>
        </p:txBody>
      </p:sp>
      <p:sp>
        <p:nvSpPr>
          <p:cNvPr id="7" name="Text Placeholder 6">
            <a:extLst>
              <a:ext uri="{FF2B5EF4-FFF2-40B4-BE49-F238E27FC236}">
                <a16:creationId xmlns:a16="http://schemas.microsoft.com/office/drawing/2014/main" id="{7C0A7F28-8674-40B4-AC36-702C4DCF4EBB}"/>
              </a:ext>
            </a:extLst>
          </p:cNvPr>
          <p:cNvSpPr>
            <a:spLocks noGrp="1"/>
          </p:cNvSpPr>
          <p:nvPr>
            <p:ph type="body" sz="quarter" idx="12"/>
          </p:nvPr>
        </p:nvSpPr>
        <p:spPr/>
        <p:txBody>
          <a:bodyPr/>
          <a:lstStyle/>
          <a:p>
            <a:r>
              <a:rPr lang="en-IN" dirty="0"/>
              <a:t>.</a:t>
            </a:r>
          </a:p>
        </p:txBody>
      </p:sp>
      <p:sp>
        <p:nvSpPr>
          <p:cNvPr id="3" name="Picture Placeholder 2">
            <a:extLst>
              <a:ext uri="{FF2B5EF4-FFF2-40B4-BE49-F238E27FC236}">
                <a16:creationId xmlns:a16="http://schemas.microsoft.com/office/drawing/2014/main" id="{3A70AC13-E04B-4585-B9F9-24F4D2317AE3}"/>
              </a:ext>
            </a:extLst>
          </p:cNvPr>
          <p:cNvSpPr>
            <a:spLocks noGrp="1"/>
          </p:cNvSpPr>
          <p:nvPr>
            <p:ph type="pic" sz="quarter" idx="15"/>
          </p:nvPr>
        </p:nvSpPr>
        <p:spPr/>
      </p:sp>
    </p:spTree>
    <p:extLst>
      <p:ext uri="{BB962C8B-B14F-4D97-AF65-F5344CB8AC3E}">
        <p14:creationId xmlns:p14="http://schemas.microsoft.com/office/powerpoint/2010/main" val="1976920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22">
            <a:extLst>
              <a:ext uri="{FF2B5EF4-FFF2-40B4-BE49-F238E27FC236}">
                <a16:creationId xmlns:a16="http://schemas.microsoft.com/office/drawing/2014/main" id="{24FB8532-3D96-47AA-BEA8-1988E25F8487}"/>
              </a:ext>
            </a:extLst>
          </p:cNvPr>
          <p:cNvSpPr txBox="1"/>
          <p:nvPr/>
        </p:nvSpPr>
        <p:spPr>
          <a:xfrm>
            <a:off x="474444" y="44446"/>
            <a:ext cx="5436104" cy="707758"/>
          </a:xfrm>
          <a:prstGeom prst="rect">
            <a:avLst/>
          </a:prstGeom>
          <a:noFill/>
        </p:spPr>
        <p:txBody>
          <a:bodyPr wrap="none" rtlCol="0">
            <a:spAutoFit/>
          </a:bodyPr>
          <a:lstStyle/>
          <a:p>
            <a:pPr defTabSz="457063">
              <a:defRPr/>
            </a:pPr>
            <a:r>
              <a:rPr lang="en-US" sz="3999" b="1" spc="50" dirty="0">
                <a:gradFill>
                  <a:gsLst>
                    <a:gs pos="0">
                      <a:srgbClr val="FF4D00">
                        <a:alpha val="85000"/>
                      </a:srgbClr>
                    </a:gs>
                    <a:gs pos="97000">
                      <a:srgbClr val="FF7D00">
                        <a:alpha val="88000"/>
                      </a:srgbClr>
                    </a:gs>
                  </a:gsLst>
                  <a:lin ang="10200000" scaled="0"/>
                </a:gradFill>
                <a:latin typeface="+mj-lt"/>
                <a:ea typeface="Roboto" panose="02000000000000000000" pitchFamily="2" charset="0"/>
                <a:cs typeface="Roboto" panose="02000000000000000000" pitchFamily="2" charset="0"/>
              </a:rPr>
              <a:t>Informatica Cloud Orgs</a:t>
            </a:r>
          </a:p>
        </p:txBody>
      </p:sp>
      <p:sp>
        <p:nvSpPr>
          <p:cNvPr id="66" name="TextBox 65">
            <a:extLst>
              <a:ext uri="{FF2B5EF4-FFF2-40B4-BE49-F238E27FC236}">
                <a16:creationId xmlns:a16="http://schemas.microsoft.com/office/drawing/2014/main" id="{EBD2784B-26F4-4ED4-A549-E6A6F5BD6D69}"/>
              </a:ext>
            </a:extLst>
          </p:cNvPr>
          <p:cNvSpPr txBox="1"/>
          <p:nvPr/>
        </p:nvSpPr>
        <p:spPr>
          <a:xfrm>
            <a:off x="474444" y="1253382"/>
            <a:ext cx="11385596" cy="1106425"/>
          </a:xfrm>
          <a:prstGeom prst="rect">
            <a:avLst/>
          </a:prstGeom>
          <a:noFill/>
        </p:spPr>
        <p:txBody>
          <a:bodyPr wrap="square" lIns="0" tIns="0" rIns="0" bIns="0" rtlCol="0">
            <a:noAutofit/>
          </a:bodyPr>
          <a:lstStyle/>
          <a:p>
            <a:pPr algn="l">
              <a:lnSpc>
                <a:spcPct val="90000"/>
              </a:lnSpc>
              <a:spcAft>
                <a:spcPts val="1000"/>
              </a:spcAft>
            </a:pPr>
            <a:r>
              <a:rPr lang="en-US" sz="2000" dirty="0">
                <a:latin typeface="Roboto" charset="0"/>
                <a:ea typeface="Roboto" charset="0"/>
                <a:cs typeface="Roboto" charset="0"/>
              </a:rPr>
              <a:t>Secure Area in IICS to store User Accounts, Licenses, Data Integration Assets like mappings, tasks, schedules, security etc.</a:t>
            </a:r>
          </a:p>
        </p:txBody>
      </p:sp>
      <p:pic>
        <p:nvPicPr>
          <p:cNvPr id="71" name="Picture 70">
            <a:extLst>
              <a:ext uri="{FF2B5EF4-FFF2-40B4-BE49-F238E27FC236}">
                <a16:creationId xmlns:a16="http://schemas.microsoft.com/office/drawing/2014/main" id="{47FCC3F9-9407-4C37-A8A3-7F6624E280D8}"/>
              </a:ext>
            </a:extLst>
          </p:cNvPr>
          <p:cNvPicPr>
            <a:picLocks noChangeAspect="1"/>
          </p:cNvPicPr>
          <p:nvPr/>
        </p:nvPicPr>
        <p:blipFill>
          <a:blip r:embed="rId3"/>
          <a:stretch>
            <a:fillRect/>
          </a:stretch>
        </p:blipFill>
        <p:spPr>
          <a:xfrm>
            <a:off x="1208053" y="2533673"/>
            <a:ext cx="9918377" cy="2644181"/>
          </a:xfrm>
          <a:prstGeom prst="rect">
            <a:avLst/>
          </a:prstGeom>
        </p:spPr>
      </p:pic>
    </p:spTree>
    <p:extLst>
      <p:ext uri="{BB962C8B-B14F-4D97-AF65-F5344CB8AC3E}">
        <p14:creationId xmlns:p14="http://schemas.microsoft.com/office/powerpoint/2010/main" val="3917322287"/>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686DF11-FC5C-46BB-9639-06043ECF4A86}"/>
              </a:ext>
            </a:extLst>
          </p:cNvPr>
          <p:cNvSpPr txBox="1"/>
          <p:nvPr/>
        </p:nvSpPr>
        <p:spPr>
          <a:xfrm>
            <a:off x="474444" y="44446"/>
            <a:ext cx="6800260" cy="707758"/>
          </a:xfrm>
          <a:prstGeom prst="rect">
            <a:avLst/>
          </a:prstGeom>
          <a:noFill/>
        </p:spPr>
        <p:txBody>
          <a:bodyPr wrap="none" rtlCol="0">
            <a:spAutoFit/>
          </a:bodyPr>
          <a:lstStyle/>
          <a:p>
            <a:pPr defTabSz="457063">
              <a:defRPr/>
            </a:pPr>
            <a:r>
              <a:rPr lang="en-US" sz="3999" b="1" spc="50" dirty="0">
                <a:gradFill>
                  <a:gsLst>
                    <a:gs pos="0">
                      <a:srgbClr val="FF4D00">
                        <a:alpha val="85000"/>
                      </a:srgbClr>
                    </a:gs>
                    <a:gs pos="97000">
                      <a:srgbClr val="FF7D00">
                        <a:alpha val="88000"/>
                      </a:srgbClr>
                    </a:gs>
                  </a:gsLst>
                  <a:lin ang="10200000" scaled="0"/>
                </a:gradFill>
                <a:latin typeface="+mj-lt"/>
                <a:ea typeface="Roboto" panose="02000000000000000000" pitchFamily="2" charset="0"/>
                <a:cs typeface="Roboto" panose="02000000000000000000" pitchFamily="2" charset="0"/>
              </a:rPr>
              <a:t>Informatica Cloud Orgs - FAQ</a:t>
            </a:r>
          </a:p>
        </p:txBody>
      </p:sp>
      <p:sp>
        <p:nvSpPr>
          <p:cNvPr id="3" name="TextBox 2">
            <a:extLst>
              <a:ext uri="{FF2B5EF4-FFF2-40B4-BE49-F238E27FC236}">
                <a16:creationId xmlns:a16="http://schemas.microsoft.com/office/drawing/2014/main" id="{44BB2D44-781C-47E9-B983-4A4A777B54F7}"/>
              </a:ext>
            </a:extLst>
          </p:cNvPr>
          <p:cNvSpPr txBox="1"/>
          <p:nvPr/>
        </p:nvSpPr>
        <p:spPr>
          <a:xfrm>
            <a:off x="691728" y="1010283"/>
            <a:ext cx="10706585" cy="5450186"/>
          </a:xfrm>
          <a:prstGeom prst="rect">
            <a:avLst/>
          </a:prstGeom>
          <a:noFill/>
        </p:spPr>
        <p:txBody>
          <a:bodyPr wrap="none" lIns="0" tIns="0" rIns="0" bIns="0" rtlCol="0">
            <a:noAutofit/>
          </a:bodyPr>
          <a:lstStyle/>
          <a:p>
            <a:pPr>
              <a:lnSpc>
                <a:spcPct val="90000"/>
              </a:lnSpc>
              <a:spcAft>
                <a:spcPts val="1000"/>
              </a:spcAft>
            </a:pPr>
            <a:r>
              <a:rPr lang="en-US" b="1" dirty="0">
                <a:latin typeface="Roboto" charset="0"/>
                <a:ea typeface="Roboto" charset="0"/>
                <a:cs typeface="Roboto" charset="0"/>
              </a:rPr>
              <a:t> </a:t>
            </a:r>
            <a:r>
              <a:rPr lang="en-US" b="1" i="0" u="none" strike="noStrike" dirty="0">
                <a:solidFill>
                  <a:srgbClr val="000000"/>
                </a:solidFill>
                <a:effectLst/>
                <a:latin typeface="+mn-lt"/>
                <a:cs typeface="Dubai Medium" panose="020B0603030403030204" pitchFamily="34" charset="-78"/>
              </a:rPr>
              <a:t>CSM contacts Customer to gather additional information</a:t>
            </a:r>
          </a:p>
          <a:p>
            <a:pPr marL="742950" lvl="1" indent="-285750">
              <a:lnSpc>
                <a:spcPct val="90000"/>
              </a:lnSpc>
              <a:spcAft>
                <a:spcPts val="1000"/>
              </a:spcAft>
              <a:buFont typeface="Arial" panose="020B0604020202020204" pitchFamily="34" charset="0"/>
              <a:buChar char="•"/>
            </a:pPr>
            <a:r>
              <a:rPr lang="en-US" sz="1400" b="0" i="0" u="none" strike="noStrike" dirty="0">
                <a:solidFill>
                  <a:srgbClr val="000000"/>
                </a:solidFill>
                <a:effectLst/>
                <a:latin typeface="+mn-lt"/>
                <a:cs typeface="Dubai Medium" panose="020B0603030403030204" pitchFamily="34" charset="-78"/>
              </a:rPr>
              <a:t>All information will be collected from the system as part of mandated fields</a:t>
            </a:r>
          </a:p>
          <a:p>
            <a:pPr marL="285750" indent="-285750" algn="l">
              <a:lnSpc>
                <a:spcPct val="90000"/>
              </a:lnSpc>
              <a:spcAft>
                <a:spcPts val="1000"/>
              </a:spcAft>
              <a:buFont typeface="Arial" panose="020B0604020202020204" pitchFamily="34" charset="0"/>
              <a:buChar char="•"/>
            </a:pPr>
            <a:endParaRPr lang="en-US" sz="1400" dirty="0">
              <a:latin typeface="Roboto" charset="0"/>
              <a:ea typeface="Roboto" charset="0"/>
              <a:cs typeface="Roboto" charset="0"/>
            </a:endParaRPr>
          </a:p>
          <a:p>
            <a:pPr fontAlgn="ctr">
              <a:lnSpc>
                <a:spcPct val="90000"/>
              </a:lnSpc>
              <a:spcAft>
                <a:spcPts val="1000"/>
              </a:spcAft>
            </a:pPr>
            <a:r>
              <a:rPr lang="en-US" sz="1400" dirty="0">
                <a:latin typeface="Roboto" charset="0"/>
                <a:ea typeface="Roboto" charset="0"/>
                <a:cs typeface="Roboto" charset="0"/>
              </a:rPr>
              <a:t> </a:t>
            </a:r>
            <a:r>
              <a:rPr lang="en-US" b="1" dirty="0">
                <a:latin typeface="Roboto" charset="0"/>
                <a:ea typeface="Roboto" charset="0"/>
                <a:cs typeface="Roboto" charset="0"/>
              </a:rPr>
              <a:t>CSM links Orgs and Contracts manually</a:t>
            </a:r>
          </a:p>
          <a:p>
            <a:pPr marL="742950" lvl="1" indent="-285750">
              <a:lnSpc>
                <a:spcPct val="90000"/>
              </a:lnSpc>
              <a:spcAft>
                <a:spcPts val="1000"/>
              </a:spcAft>
              <a:buFont typeface="Arial" panose="020B0604020202020204" pitchFamily="34" charset="0"/>
              <a:buChar char="•"/>
            </a:pPr>
            <a:r>
              <a:rPr lang="en-US" sz="1400" dirty="0">
                <a:latin typeface="Roboto" charset="0"/>
                <a:ea typeface="Roboto" charset="0"/>
                <a:cs typeface="Roboto" charset="0"/>
              </a:rPr>
              <a:t>Linkage of Orgs to Contracts will happen automatically through the system</a:t>
            </a:r>
          </a:p>
          <a:p>
            <a:pPr marL="742950" lvl="1" indent="-285750">
              <a:lnSpc>
                <a:spcPct val="90000"/>
              </a:lnSpc>
              <a:spcAft>
                <a:spcPts val="1000"/>
              </a:spcAft>
              <a:buFont typeface="Arial" panose="020B0604020202020204" pitchFamily="34" charset="0"/>
              <a:buChar char="•"/>
            </a:pPr>
            <a:endParaRPr lang="en-US" sz="1400" dirty="0">
              <a:latin typeface="Roboto" charset="0"/>
              <a:ea typeface="Roboto" charset="0"/>
              <a:cs typeface="Roboto" charset="0"/>
            </a:endParaRPr>
          </a:p>
          <a:p>
            <a:pPr fontAlgn="ctr">
              <a:lnSpc>
                <a:spcPct val="90000"/>
              </a:lnSpc>
              <a:spcAft>
                <a:spcPts val="1000"/>
              </a:spcAft>
            </a:pPr>
            <a:r>
              <a:rPr lang="en-US" sz="1400" dirty="0">
                <a:latin typeface="Roboto" charset="0"/>
                <a:ea typeface="Roboto" charset="0"/>
                <a:cs typeface="Roboto" charset="0"/>
              </a:rPr>
              <a:t> </a:t>
            </a:r>
            <a:r>
              <a:rPr lang="en-US" b="1" dirty="0">
                <a:latin typeface="Roboto" charset="0"/>
                <a:ea typeface="Roboto" charset="0"/>
                <a:cs typeface="Roboto" charset="0"/>
              </a:rPr>
              <a:t>CSMs request for detailed usage reports for Adoption indicators</a:t>
            </a:r>
          </a:p>
          <a:p>
            <a:pPr lvl="1" indent="-285750">
              <a:lnSpc>
                <a:spcPct val="90000"/>
              </a:lnSpc>
              <a:spcAft>
                <a:spcPts val="1000"/>
              </a:spcAft>
              <a:buFont typeface="Arial" panose="020B0604020202020204" pitchFamily="34" charset="0"/>
              <a:buChar char="•"/>
            </a:pPr>
            <a:r>
              <a:rPr lang="en-US" sz="1400" dirty="0">
                <a:latin typeface="Roboto" charset="0"/>
                <a:ea typeface="Roboto" charset="0"/>
                <a:cs typeface="Roboto" charset="0"/>
              </a:rPr>
              <a:t>This will be made available in Cassini in the future</a:t>
            </a:r>
          </a:p>
          <a:p>
            <a:pPr marL="171450" lvl="1">
              <a:lnSpc>
                <a:spcPct val="90000"/>
              </a:lnSpc>
              <a:spcAft>
                <a:spcPts val="1000"/>
              </a:spcAft>
            </a:pPr>
            <a:endParaRPr lang="en-US" sz="1400" dirty="0">
              <a:latin typeface="Roboto" charset="0"/>
              <a:ea typeface="Roboto" charset="0"/>
              <a:cs typeface="Roboto" charset="0"/>
            </a:endParaRPr>
          </a:p>
          <a:p>
            <a:pPr marL="0" lvl="1" fontAlgn="ctr">
              <a:lnSpc>
                <a:spcPct val="90000"/>
              </a:lnSpc>
              <a:spcAft>
                <a:spcPts val="1000"/>
              </a:spcAft>
            </a:pPr>
            <a:r>
              <a:rPr lang="en-US" b="1" dirty="0">
                <a:latin typeface="Roboto" charset="0"/>
                <a:ea typeface="Roboto" charset="0"/>
                <a:cs typeface="Roboto" charset="0"/>
              </a:rPr>
              <a:t>Customers with Orgs in Multiple regions - CSMs need to send usage report to Customer periodically</a:t>
            </a:r>
          </a:p>
          <a:p>
            <a:pPr lvl="1" indent="-285750" fontAlgn="ctr">
              <a:lnSpc>
                <a:spcPct val="90000"/>
              </a:lnSpc>
              <a:spcAft>
                <a:spcPts val="1000"/>
              </a:spcAft>
              <a:buFont typeface="Arial" panose="020B0604020202020204" pitchFamily="34" charset="0"/>
              <a:buChar char="•"/>
            </a:pPr>
            <a:r>
              <a:rPr lang="en-US" sz="1400" dirty="0">
                <a:latin typeface="Roboto" charset="0"/>
                <a:ea typeface="Roboto" charset="0"/>
                <a:cs typeface="Roboto" charset="0"/>
              </a:rPr>
              <a:t>Usage reports are automated and sent to CSMs by email as part of an email schedule.</a:t>
            </a:r>
          </a:p>
          <a:p>
            <a:pPr lvl="1" indent="-285750" fontAlgn="ctr">
              <a:lnSpc>
                <a:spcPct val="90000"/>
              </a:lnSpc>
              <a:spcAft>
                <a:spcPts val="1000"/>
              </a:spcAft>
              <a:buFont typeface="Arial" panose="020B0604020202020204" pitchFamily="34" charset="0"/>
              <a:buChar char="•"/>
            </a:pPr>
            <a:r>
              <a:rPr lang="en-US" sz="1400" dirty="0">
                <a:latin typeface="Roboto" charset="0"/>
                <a:ea typeface="Roboto" charset="0"/>
                <a:cs typeface="Roboto" charset="0"/>
              </a:rPr>
              <a:t>The same can be downloaded OnDemand as well from the following link </a:t>
            </a:r>
          </a:p>
          <a:p>
            <a:pPr marL="171450" lvl="1">
              <a:lnSpc>
                <a:spcPct val="90000"/>
              </a:lnSpc>
              <a:spcAft>
                <a:spcPts val="1000"/>
              </a:spcAft>
            </a:pPr>
            <a:endParaRPr lang="en-US" sz="1400" dirty="0">
              <a:latin typeface="Roboto" charset="0"/>
              <a:ea typeface="Roboto" charset="0"/>
              <a:cs typeface="Roboto" charset="0"/>
            </a:endParaRPr>
          </a:p>
          <a:p>
            <a:pPr marL="0" lvl="1" fontAlgn="ctr">
              <a:lnSpc>
                <a:spcPct val="90000"/>
              </a:lnSpc>
              <a:spcAft>
                <a:spcPts val="1000"/>
              </a:spcAft>
            </a:pPr>
            <a:r>
              <a:rPr lang="en-US" b="1" dirty="0">
                <a:latin typeface="Roboto" charset="0"/>
                <a:ea typeface="Roboto" charset="0"/>
                <a:cs typeface="Roboto" charset="0"/>
              </a:rPr>
              <a:t>SOC-2 compliance - CSM follow up to restore deleted expired Orgs</a:t>
            </a:r>
          </a:p>
          <a:p>
            <a:pPr lvl="1" indent="-285750">
              <a:lnSpc>
                <a:spcPct val="90000"/>
              </a:lnSpc>
              <a:spcAft>
                <a:spcPts val="1000"/>
              </a:spcAft>
              <a:buFont typeface="Arial" panose="020B0604020202020204" pitchFamily="34" charset="0"/>
              <a:buChar char="•"/>
            </a:pPr>
            <a:r>
              <a:rPr lang="en-US" sz="1400" b="0" i="0" u="none" strike="noStrike" dirty="0">
                <a:solidFill>
                  <a:srgbClr val="000000"/>
                </a:solidFill>
                <a:effectLst/>
                <a:latin typeface="+mn-lt"/>
                <a:cs typeface="Dubai Medium" panose="020B0603030403030204" pitchFamily="34" charset="-78"/>
              </a:rPr>
              <a:t>Notification will be sent to AM and CSM 30 days before expiry</a:t>
            </a:r>
          </a:p>
          <a:p>
            <a:pPr lvl="1" indent="-285750">
              <a:lnSpc>
                <a:spcPct val="90000"/>
              </a:lnSpc>
              <a:spcAft>
                <a:spcPts val="1000"/>
              </a:spcAft>
              <a:buFont typeface="Arial" panose="020B0604020202020204" pitchFamily="34" charset="0"/>
              <a:buChar char="•"/>
            </a:pPr>
            <a:endParaRPr lang="en-US" sz="1400" dirty="0">
              <a:latin typeface="Roboto" charset="0"/>
              <a:ea typeface="Roboto" charset="0"/>
              <a:cs typeface="Roboto" charset="0"/>
            </a:endParaRPr>
          </a:p>
        </p:txBody>
      </p:sp>
      <p:sp>
        <p:nvSpPr>
          <p:cNvPr id="4" name="TextBox 3">
            <a:extLst>
              <a:ext uri="{FF2B5EF4-FFF2-40B4-BE49-F238E27FC236}">
                <a16:creationId xmlns:a16="http://schemas.microsoft.com/office/drawing/2014/main" id="{57D27DE8-C03E-4FD5-B48A-AB3A3F71FB30}"/>
              </a:ext>
            </a:extLst>
          </p:cNvPr>
          <p:cNvSpPr txBox="1"/>
          <p:nvPr/>
        </p:nvSpPr>
        <p:spPr>
          <a:xfrm>
            <a:off x="474444" y="6301212"/>
            <a:ext cx="10651986" cy="362138"/>
          </a:xfrm>
          <a:prstGeom prst="rect">
            <a:avLst/>
          </a:prstGeom>
          <a:noFill/>
        </p:spPr>
        <p:txBody>
          <a:bodyPr wrap="square" lIns="0" tIns="0" rIns="0" bIns="0" rtlCol="0">
            <a:noAutofit/>
          </a:bodyPr>
          <a:lstStyle/>
          <a:p>
            <a:pPr algn="l">
              <a:lnSpc>
                <a:spcPct val="90000"/>
              </a:lnSpc>
              <a:spcAft>
                <a:spcPts val="1000"/>
              </a:spcAft>
            </a:pPr>
            <a:r>
              <a:rPr lang="en-US" dirty="0">
                <a:solidFill>
                  <a:schemeClr val="accent1"/>
                </a:solidFill>
                <a:latin typeface="Roboto" charset="0"/>
                <a:ea typeface="Roboto" charset="0"/>
                <a:cs typeface="Roboto" charset="0"/>
              </a:rPr>
              <a:t> For any issues with Org Provisioning, please escalate with Informatica Support</a:t>
            </a:r>
          </a:p>
        </p:txBody>
      </p:sp>
    </p:spTree>
    <p:extLst>
      <p:ext uri="{BB962C8B-B14F-4D97-AF65-F5344CB8AC3E}">
        <p14:creationId xmlns:p14="http://schemas.microsoft.com/office/powerpoint/2010/main" val="13499628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A7039CD-C619-44D9-82C9-60D980A320C5}"/>
              </a:ext>
            </a:extLst>
          </p:cNvPr>
          <p:cNvSpPr>
            <a:spLocks noGrp="1"/>
          </p:cNvSpPr>
          <p:nvPr>
            <p:ph type="body" sz="quarter" idx="11"/>
          </p:nvPr>
        </p:nvSpPr>
        <p:spPr/>
        <p:txBody>
          <a:bodyPr/>
          <a:lstStyle/>
          <a:p>
            <a:r>
              <a:rPr lang="en-US" dirty="0"/>
              <a:t>Cloud Architecture</a:t>
            </a:r>
          </a:p>
        </p:txBody>
      </p:sp>
      <p:sp>
        <p:nvSpPr>
          <p:cNvPr id="3" name="Text Placeholder 2">
            <a:extLst>
              <a:ext uri="{FF2B5EF4-FFF2-40B4-BE49-F238E27FC236}">
                <a16:creationId xmlns:a16="http://schemas.microsoft.com/office/drawing/2014/main" id="{8A09905D-694E-4797-ACD8-DB4C6175F5A8}"/>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4013552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22">
            <a:extLst>
              <a:ext uri="{FF2B5EF4-FFF2-40B4-BE49-F238E27FC236}">
                <a16:creationId xmlns:a16="http://schemas.microsoft.com/office/drawing/2014/main" id="{24FB8532-3D96-47AA-BEA8-1988E25F8487}"/>
              </a:ext>
            </a:extLst>
          </p:cNvPr>
          <p:cNvSpPr txBox="1"/>
          <p:nvPr/>
        </p:nvSpPr>
        <p:spPr>
          <a:xfrm>
            <a:off x="483969" y="263644"/>
            <a:ext cx="6215163" cy="707758"/>
          </a:xfrm>
          <a:prstGeom prst="rect">
            <a:avLst/>
          </a:prstGeom>
          <a:noFill/>
        </p:spPr>
        <p:txBody>
          <a:bodyPr wrap="none" rtlCol="0">
            <a:spAutoFit/>
          </a:bodyPr>
          <a:lstStyle/>
          <a:p>
            <a:pPr defTabSz="457063">
              <a:defRPr/>
            </a:pPr>
            <a:r>
              <a:rPr lang="en-US" sz="3999" b="1" spc="50" dirty="0">
                <a:gradFill>
                  <a:gsLst>
                    <a:gs pos="0">
                      <a:srgbClr val="FF4D00">
                        <a:alpha val="85000"/>
                      </a:srgbClr>
                    </a:gs>
                    <a:gs pos="97000">
                      <a:srgbClr val="FF7D00">
                        <a:alpha val="88000"/>
                      </a:srgbClr>
                    </a:gs>
                  </a:gsLst>
                  <a:lin ang="10200000" scaled="0"/>
                </a:gradFill>
                <a:latin typeface="+mj-lt"/>
                <a:ea typeface="Roboto" panose="02000000000000000000" pitchFamily="2" charset="0"/>
                <a:cs typeface="Roboto" panose="02000000000000000000" pitchFamily="2" charset="0"/>
              </a:rPr>
              <a:t>IICS Platform Architecture</a:t>
            </a:r>
          </a:p>
        </p:txBody>
      </p:sp>
      <p:sp>
        <p:nvSpPr>
          <p:cNvPr id="4" name="TextBox 3">
            <a:extLst>
              <a:ext uri="{FF2B5EF4-FFF2-40B4-BE49-F238E27FC236}">
                <a16:creationId xmlns:a16="http://schemas.microsoft.com/office/drawing/2014/main" id="{E65D4282-220D-484D-B0C2-CC3AE6E5B9F0}"/>
              </a:ext>
            </a:extLst>
          </p:cNvPr>
          <p:cNvSpPr txBox="1"/>
          <p:nvPr/>
        </p:nvSpPr>
        <p:spPr>
          <a:xfrm>
            <a:off x="273339" y="752204"/>
            <a:ext cx="6301081" cy="5677171"/>
          </a:xfrm>
          <a:prstGeom prst="rect">
            <a:avLst/>
          </a:prstGeom>
          <a:noFill/>
        </p:spPr>
        <p:txBody>
          <a:bodyPr wrap="square" lIns="0" tIns="0" rIns="0" bIns="0" rtlCol="0">
            <a:noAutofit/>
          </a:bodyPr>
          <a:lstStyle/>
          <a:p>
            <a:pPr marL="457063" indent="-457063">
              <a:lnSpc>
                <a:spcPct val="90000"/>
              </a:lnSpc>
              <a:spcAft>
                <a:spcPts val="1000"/>
              </a:spcAft>
              <a:buFont typeface="Arial" panose="020B0604020202020204" pitchFamily="34" charset="0"/>
              <a:buChar char="•"/>
            </a:pPr>
            <a:endParaRPr lang="en-US" sz="1400" b="1" dirty="0">
              <a:latin typeface="Roboto" charset="0"/>
              <a:ea typeface="Roboto" charset="0"/>
              <a:cs typeface="Roboto" charset="0"/>
            </a:endParaRPr>
          </a:p>
          <a:p>
            <a:pPr marL="914263" lvl="1" indent="-457063">
              <a:lnSpc>
                <a:spcPct val="90000"/>
              </a:lnSpc>
              <a:spcAft>
                <a:spcPts val="1000"/>
              </a:spcAft>
              <a:buFont typeface="Arial" panose="020B0604020202020204" pitchFamily="34" charset="0"/>
              <a:buChar char="•"/>
            </a:pPr>
            <a:endParaRPr lang="en-US" sz="1400" b="1" dirty="0">
              <a:latin typeface="Roboto" charset="0"/>
              <a:ea typeface="Roboto" charset="0"/>
              <a:cs typeface="Roboto" charset="0"/>
            </a:endParaRPr>
          </a:p>
          <a:p>
            <a:pPr marL="457063" indent="-457063">
              <a:lnSpc>
                <a:spcPct val="90000"/>
              </a:lnSpc>
              <a:spcAft>
                <a:spcPts val="1000"/>
              </a:spcAft>
              <a:buFont typeface="Arial" panose="020B0604020202020204" pitchFamily="34" charset="0"/>
              <a:buChar char="•"/>
            </a:pPr>
            <a:endParaRPr lang="en-US" sz="1400" dirty="0">
              <a:latin typeface="Roboto" charset="0"/>
              <a:ea typeface="Roboto" charset="0"/>
              <a:cs typeface="Roboto" charset="0"/>
            </a:endParaRPr>
          </a:p>
        </p:txBody>
      </p:sp>
      <p:pic>
        <p:nvPicPr>
          <p:cNvPr id="6" name="Picture 5">
            <a:extLst>
              <a:ext uri="{FF2B5EF4-FFF2-40B4-BE49-F238E27FC236}">
                <a16:creationId xmlns:a16="http://schemas.microsoft.com/office/drawing/2014/main" id="{FBA3EE5A-B1C9-4658-AFD9-1123D1DAD3E4}"/>
              </a:ext>
            </a:extLst>
          </p:cNvPr>
          <p:cNvPicPr>
            <a:picLocks noChangeAspect="1"/>
          </p:cNvPicPr>
          <p:nvPr/>
        </p:nvPicPr>
        <p:blipFill>
          <a:blip r:embed="rId3"/>
          <a:stretch>
            <a:fillRect/>
          </a:stretch>
        </p:blipFill>
        <p:spPr>
          <a:xfrm>
            <a:off x="2344672" y="1459962"/>
            <a:ext cx="7241739" cy="4891142"/>
          </a:xfrm>
          <a:prstGeom prst="rect">
            <a:avLst/>
          </a:prstGeom>
        </p:spPr>
      </p:pic>
    </p:spTree>
    <p:extLst>
      <p:ext uri="{BB962C8B-B14F-4D97-AF65-F5344CB8AC3E}">
        <p14:creationId xmlns:p14="http://schemas.microsoft.com/office/powerpoint/2010/main" val="95994946"/>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22">
            <a:extLst>
              <a:ext uri="{FF2B5EF4-FFF2-40B4-BE49-F238E27FC236}">
                <a16:creationId xmlns:a16="http://schemas.microsoft.com/office/drawing/2014/main" id="{24FB8532-3D96-47AA-BEA8-1988E25F8487}"/>
              </a:ext>
            </a:extLst>
          </p:cNvPr>
          <p:cNvSpPr txBox="1"/>
          <p:nvPr/>
        </p:nvSpPr>
        <p:spPr>
          <a:xfrm>
            <a:off x="483969" y="263644"/>
            <a:ext cx="2555508" cy="707758"/>
          </a:xfrm>
          <a:prstGeom prst="rect">
            <a:avLst/>
          </a:prstGeom>
          <a:noFill/>
        </p:spPr>
        <p:txBody>
          <a:bodyPr wrap="none" rtlCol="0">
            <a:spAutoFit/>
          </a:bodyPr>
          <a:lstStyle/>
          <a:p>
            <a:pPr defTabSz="457063">
              <a:defRPr/>
            </a:pPr>
            <a:r>
              <a:rPr lang="en-US" sz="3999" b="1" spc="50" dirty="0">
                <a:gradFill>
                  <a:gsLst>
                    <a:gs pos="0">
                      <a:srgbClr val="FF4D00">
                        <a:alpha val="85000"/>
                      </a:srgbClr>
                    </a:gs>
                    <a:gs pos="97000">
                      <a:srgbClr val="FF7D00">
                        <a:alpha val="88000"/>
                      </a:srgbClr>
                    </a:gs>
                  </a:gsLst>
                  <a:lin ang="10200000" scaled="0"/>
                </a:gradFill>
                <a:latin typeface="+mj-lt"/>
                <a:ea typeface="Roboto" panose="02000000000000000000" pitchFamily="2" charset="0"/>
                <a:cs typeface="Roboto" panose="02000000000000000000" pitchFamily="2" charset="0"/>
              </a:rPr>
              <a:t>IICS Agent</a:t>
            </a:r>
          </a:p>
        </p:txBody>
      </p:sp>
      <p:sp>
        <p:nvSpPr>
          <p:cNvPr id="4" name="TextBox 3">
            <a:extLst>
              <a:ext uri="{FF2B5EF4-FFF2-40B4-BE49-F238E27FC236}">
                <a16:creationId xmlns:a16="http://schemas.microsoft.com/office/drawing/2014/main" id="{E65D4282-220D-484D-B0C2-CC3AE6E5B9F0}"/>
              </a:ext>
            </a:extLst>
          </p:cNvPr>
          <p:cNvSpPr txBox="1"/>
          <p:nvPr/>
        </p:nvSpPr>
        <p:spPr>
          <a:xfrm>
            <a:off x="273339" y="752204"/>
            <a:ext cx="6301081" cy="5677171"/>
          </a:xfrm>
          <a:prstGeom prst="rect">
            <a:avLst/>
          </a:prstGeom>
          <a:noFill/>
        </p:spPr>
        <p:txBody>
          <a:bodyPr wrap="square" lIns="0" tIns="0" rIns="0" bIns="0" rtlCol="0">
            <a:noAutofit/>
          </a:bodyPr>
          <a:lstStyle/>
          <a:p>
            <a:pPr marL="457063" indent="-457063">
              <a:lnSpc>
                <a:spcPct val="90000"/>
              </a:lnSpc>
              <a:spcAft>
                <a:spcPts val="1000"/>
              </a:spcAft>
              <a:buFont typeface="Arial" panose="020B0604020202020204" pitchFamily="34" charset="0"/>
              <a:buChar char="•"/>
            </a:pPr>
            <a:endParaRPr lang="en-US" sz="1400" b="1" dirty="0">
              <a:latin typeface="Roboto" charset="0"/>
              <a:ea typeface="Roboto" charset="0"/>
              <a:cs typeface="Roboto" charset="0"/>
            </a:endParaRPr>
          </a:p>
          <a:p>
            <a:pPr marL="914263" lvl="1" indent="-457063">
              <a:lnSpc>
                <a:spcPct val="90000"/>
              </a:lnSpc>
              <a:spcAft>
                <a:spcPts val="1000"/>
              </a:spcAft>
              <a:buFont typeface="Arial" panose="020B0604020202020204" pitchFamily="34" charset="0"/>
              <a:buChar char="•"/>
            </a:pPr>
            <a:endParaRPr lang="en-US" sz="1400" b="1" dirty="0">
              <a:latin typeface="Roboto" charset="0"/>
              <a:ea typeface="Roboto" charset="0"/>
              <a:cs typeface="Roboto" charset="0"/>
            </a:endParaRPr>
          </a:p>
          <a:p>
            <a:pPr marL="457063" indent="-457063">
              <a:lnSpc>
                <a:spcPct val="90000"/>
              </a:lnSpc>
              <a:spcAft>
                <a:spcPts val="1000"/>
              </a:spcAft>
              <a:buFont typeface="Arial" panose="020B0604020202020204" pitchFamily="34" charset="0"/>
              <a:buChar char="•"/>
            </a:pPr>
            <a:endParaRPr lang="en-US" sz="1400" dirty="0">
              <a:latin typeface="Roboto" charset="0"/>
              <a:ea typeface="Roboto" charset="0"/>
              <a:cs typeface="Roboto" charset="0"/>
            </a:endParaRPr>
          </a:p>
        </p:txBody>
      </p:sp>
      <p:pic>
        <p:nvPicPr>
          <p:cNvPr id="3" name="Picture 2">
            <a:extLst>
              <a:ext uri="{FF2B5EF4-FFF2-40B4-BE49-F238E27FC236}">
                <a16:creationId xmlns:a16="http://schemas.microsoft.com/office/drawing/2014/main" id="{0385B09B-C7D2-472F-99FC-6795C005CA60}"/>
              </a:ext>
            </a:extLst>
          </p:cNvPr>
          <p:cNvPicPr>
            <a:picLocks noChangeAspect="1"/>
          </p:cNvPicPr>
          <p:nvPr/>
        </p:nvPicPr>
        <p:blipFill>
          <a:blip r:embed="rId3"/>
          <a:stretch>
            <a:fillRect/>
          </a:stretch>
        </p:blipFill>
        <p:spPr>
          <a:xfrm>
            <a:off x="3039477" y="1364025"/>
            <a:ext cx="4359721" cy="4672727"/>
          </a:xfrm>
          <a:prstGeom prst="rect">
            <a:avLst/>
          </a:prstGeom>
        </p:spPr>
      </p:pic>
    </p:spTree>
    <p:extLst>
      <p:ext uri="{BB962C8B-B14F-4D97-AF65-F5344CB8AC3E}">
        <p14:creationId xmlns:p14="http://schemas.microsoft.com/office/powerpoint/2010/main" val="1931614973"/>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AA7931A-E2B8-44E0-9335-B31FD0EEA9A0}"/>
              </a:ext>
            </a:extLst>
          </p:cNvPr>
          <p:cNvSpPr>
            <a:spLocks noGrp="1"/>
          </p:cNvSpPr>
          <p:nvPr>
            <p:ph type="body" sz="quarter" idx="11"/>
          </p:nvPr>
        </p:nvSpPr>
        <p:spPr/>
        <p:txBody>
          <a:bodyPr/>
          <a:lstStyle/>
          <a:p>
            <a:r>
              <a:rPr lang="en-US" dirty="0"/>
              <a:t>ICDM / IPU</a:t>
            </a:r>
          </a:p>
        </p:txBody>
      </p:sp>
      <p:sp>
        <p:nvSpPr>
          <p:cNvPr id="3" name="Text Placeholder 2">
            <a:extLst>
              <a:ext uri="{FF2B5EF4-FFF2-40B4-BE49-F238E27FC236}">
                <a16:creationId xmlns:a16="http://schemas.microsoft.com/office/drawing/2014/main" id="{C18B1D7B-CDE3-43BB-8ED1-4352E218F8FE}"/>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3474775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 name="Picture 70" descr="Background pattern&#10;&#10;Description automatically generated">
            <a:extLst>
              <a:ext uri="{FF2B5EF4-FFF2-40B4-BE49-F238E27FC236}">
                <a16:creationId xmlns:a16="http://schemas.microsoft.com/office/drawing/2014/main" id="{274F2C40-CE80-714D-AB09-813AEC9C1AD5}"/>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backgroundMark x1="67240" y1="50741" x2="67240" y2="50741"/>
                        <a14:backgroundMark x1="28646" y1="18889" x2="35365" y2="19630"/>
                        <a14:backgroundMark x1="35365" y1="19630" x2="86146" y2="10741"/>
                        <a14:backgroundMark x1="86146" y1="10741" x2="90052" y2="15741"/>
                        <a14:backgroundMark x1="90052" y1="15741" x2="94271" y2="63241"/>
                        <a14:backgroundMark x1="94271" y1="63241" x2="87188" y2="70926"/>
                        <a14:backgroundMark x1="87188" y1="70926" x2="37292" y2="77130"/>
                        <a14:backgroundMark x1="37292" y1="77130" x2="30104" y2="60648"/>
                        <a14:backgroundMark x1="30104" y1="60648" x2="26615" y2="19537"/>
                        <a14:backgroundMark x1="26615" y1="19537" x2="27865" y2="19167"/>
                        <a14:backgroundMark x1="29740" y1="21296" x2="35833" y2="37593"/>
                        <a14:backgroundMark x1="35833" y1="37593" x2="35417" y2="45000"/>
                        <a14:backgroundMark x1="35417" y1="45000" x2="32656" y2="23981"/>
                        <a14:backgroundMark x1="32656" y1="23981" x2="32656" y2="36667"/>
                        <a14:backgroundMark x1="32656" y1="36667" x2="30990" y2="41667"/>
                        <a14:backgroundMark x1="55104" y1="30741" x2="50156" y2="30278"/>
                        <a14:backgroundMark x1="50156" y1="30278" x2="46198" y2="35185"/>
                        <a14:backgroundMark x1="46198" y1="35185" x2="50104" y2="52407"/>
                        <a14:backgroundMark x1="50104" y1="52407" x2="43490" y2="41481"/>
                        <a14:backgroundMark x1="43490" y1="41481" x2="51094" y2="43981"/>
                        <a14:backgroundMark x1="51094" y1="43981" x2="52344" y2="65463"/>
                        <a14:backgroundMark x1="52344" y1="65463" x2="49844" y2="56574"/>
                        <a14:backgroundMark x1="49844" y1="56574" x2="87292" y2="43704"/>
                        <a14:backgroundMark x1="87292" y1="43704" x2="85938" y2="32593"/>
                        <a14:backgroundMark x1="85938" y1="32593" x2="78594" y2="28148"/>
                        <a14:backgroundMark x1="78594" y1="28148" x2="70104" y2="58611"/>
                        <a14:backgroundMark x1="70104" y1="58611" x2="78906" y2="42500"/>
                        <a14:backgroundMark x1="78906" y1="42500" x2="78906" y2="39259"/>
                        <a14:backgroundMark x1="54844" y1="32037" x2="58542" y2="41852"/>
                        <a14:backgroundMark x1="58542" y1="41852" x2="66979" y2="48796"/>
                        <a14:backgroundMark x1="66979" y1="48796" x2="59896" y2="42130"/>
                        <a14:backgroundMark x1="59896" y1="42130" x2="56042" y2="33426"/>
                        <a14:backgroundMark x1="56042" y1="33426" x2="55625" y2="45000"/>
                        <a14:backgroundMark x1="55625" y1="45000" x2="60417" y2="42685"/>
                        <a14:backgroundMark x1="77344" y1="19167" x2="81875" y2="26852"/>
                        <a14:backgroundMark x1="81875" y1="26852" x2="80990" y2="24259"/>
                      </a14:backgroundRemoval>
                    </a14:imgEffect>
                  </a14:imgLayer>
                </a14:imgProps>
              </a:ext>
            </a:extLst>
          </a:blip>
          <a:stretch>
            <a:fillRect/>
          </a:stretch>
        </p:blipFill>
        <p:spPr>
          <a:xfrm>
            <a:off x="0" y="-836313"/>
            <a:ext cx="12185651" cy="6854429"/>
          </a:xfrm>
          <a:prstGeom prst="rect">
            <a:avLst/>
          </a:prstGeom>
          <a:noFill/>
        </p:spPr>
      </p:pic>
      <p:sp>
        <p:nvSpPr>
          <p:cNvPr id="51" name="Text Placeholder 50">
            <a:extLst>
              <a:ext uri="{FF2B5EF4-FFF2-40B4-BE49-F238E27FC236}">
                <a16:creationId xmlns:a16="http://schemas.microsoft.com/office/drawing/2014/main" id="{0FFFEA35-652C-4EAA-8181-705EA8B61700}"/>
              </a:ext>
            </a:extLst>
          </p:cNvPr>
          <p:cNvSpPr>
            <a:spLocks noGrp="1"/>
          </p:cNvSpPr>
          <p:nvPr>
            <p:ph type="body" sz="quarter" idx="13"/>
          </p:nvPr>
        </p:nvSpPr>
        <p:spPr>
          <a:xfrm>
            <a:off x="617385" y="987262"/>
            <a:ext cx="11251923" cy="329848"/>
          </a:xfrm>
        </p:spPr>
        <p:txBody>
          <a:bodyPr/>
          <a:lstStyle/>
          <a:p>
            <a:pPr algn="ctr"/>
            <a:r>
              <a:rPr lang="en-US" dirty="0">
                <a:solidFill>
                  <a:schemeClr val="tx1"/>
                </a:solidFill>
              </a:rPr>
              <a:t>Consumption model based on the Informatica Processing Unit </a:t>
            </a:r>
          </a:p>
        </p:txBody>
      </p:sp>
      <p:sp>
        <p:nvSpPr>
          <p:cNvPr id="8" name="Rectangle 7">
            <a:extLst>
              <a:ext uri="{FF2B5EF4-FFF2-40B4-BE49-F238E27FC236}">
                <a16:creationId xmlns:a16="http://schemas.microsoft.com/office/drawing/2014/main" id="{95946968-3326-44DF-B8A9-2A943FC3A310}"/>
              </a:ext>
            </a:extLst>
          </p:cNvPr>
          <p:cNvSpPr/>
          <p:nvPr/>
        </p:nvSpPr>
        <p:spPr>
          <a:xfrm>
            <a:off x="181868" y="1466776"/>
            <a:ext cx="2389221" cy="313686"/>
          </a:xfrm>
          <a:prstGeom prst="rect">
            <a:avLst/>
          </a:prstGeom>
        </p:spPr>
        <p:txBody>
          <a:bodyPr wrap="square" anchor="t">
            <a:spAutoFit/>
          </a:bodyPr>
          <a:lstStyle/>
          <a:p>
            <a:pPr algn="ctr" defTabSz="456652">
              <a:lnSpc>
                <a:spcPct val="90000"/>
              </a:lnSpc>
              <a:spcAft>
                <a:spcPts val="1000"/>
              </a:spcAft>
              <a:defRPr/>
            </a:pPr>
            <a:r>
              <a:rPr lang="en-US" sz="1600" dirty="0">
                <a:latin typeface="Roboto" panose="02000000000000000000" pitchFamily="2" charset="0"/>
                <a:ea typeface="Roboto" panose="02000000000000000000" pitchFamily="2" charset="0"/>
                <a:cs typeface="Roboto" panose="02000000000000000000" pitchFamily="2" charset="0"/>
              </a:rPr>
              <a:t>Cloud Friendly</a:t>
            </a:r>
          </a:p>
        </p:txBody>
      </p:sp>
      <p:grpSp>
        <p:nvGrpSpPr>
          <p:cNvPr id="2" name="Group 1">
            <a:extLst>
              <a:ext uri="{FF2B5EF4-FFF2-40B4-BE49-F238E27FC236}">
                <a16:creationId xmlns:a16="http://schemas.microsoft.com/office/drawing/2014/main" id="{50B05DD7-9259-48CA-BCEC-F5B2E6C50B49}"/>
              </a:ext>
            </a:extLst>
          </p:cNvPr>
          <p:cNvGrpSpPr/>
          <p:nvPr/>
        </p:nvGrpSpPr>
        <p:grpSpPr>
          <a:xfrm>
            <a:off x="966752" y="1797933"/>
            <a:ext cx="679133" cy="679133"/>
            <a:chOff x="967004" y="1797508"/>
            <a:chExt cx="679310" cy="679310"/>
          </a:xfrm>
        </p:grpSpPr>
        <p:grpSp>
          <p:nvGrpSpPr>
            <p:cNvPr id="7" name="Group 6">
              <a:extLst>
                <a:ext uri="{FF2B5EF4-FFF2-40B4-BE49-F238E27FC236}">
                  <a16:creationId xmlns:a16="http://schemas.microsoft.com/office/drawing/2014/main" id="{A95873E0-EF33-474C-B6F2-FFA7B32005E9}"/>
                </a:ext>
              </a:extLst>
            </p:cNvPr>
            <p:cNvGrpSpPr/>
            <p:nvPr/>
          </p:nvGrpSpPr>
          <p:grpSpPr>
            <a:xfrm>
              <a:off x="967004" y="1797508"/>
              <a:ext cx="679310" cy="679310"/>
              <a:chOff x="4160515" y="1320335"/>
              <a:chExt cx="4189624" cy="4189624"/>
            </a:xfrm>
          </p:grpSpPr>
          <p:sp>
            <p:nvSpPr>
              <p:cNvPr id="9" name="Diamond 8">
                <a:extLst>
                  <a:ext uri="{FF2B5EF4-FFF2-40B4-BE49-F238E27FC236}">
                    <a16:creationId xmlns:a16="http://schemas.microsoft.com/office/drawing/2014/main" id="{02510FFC-DBE8-4E4E-A51C-EFB3E296C03A}"/>
                  </a:ext>
                </a:extLst>
              </p:cNvPr>
              <p:cNvSpPr/>
              <p:nvPr/>
            </p:nvSpPr>
            <p:spPr>
              <a:xfrm>
                <a:off x="4372860" y="1532680"/>
                <a:ext cx="3764936" cy="3764936"/>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36980" tIns="91320" rIns="136980" bIns="91320" rtlCol="0" anchor="ctr"/>
              <a:lstStyle/>
              <a:p>
                <a:pPr algn="ctr" defTabSz="913030">
                  <a:defRPr/>
                </a:pPr>
                <a:endParaRPr lang="en-US" sz="1795">
                  <a:solidFill>
                    <a:schemeClr val="tx1"/>
                  </a:solidFill>
                  <a:latin typeface="Roboto" charset="0"/>
                </a:endParaRPr>
              </a:p>
            </p:txBody>
          </p:sp>
          <p:sp>
            <p:nvSpPr>
              <p:cNvPr id="10" name="Diamond 9">
                <a:extLst>
                  <a:ext uri="{FF2B5EF4-FFF2-40B4-BE49-F238E27FC236}">
                    <a16:creationId xmlns:a16="http://schemas.microsoft.com/office/drawing/2014/main" id="{ABC22EDF-62CB-4026-8863-B737CA617142}"/>
                  </a:ext>
                </a:extLst>
              </p:cNvPr>
              <p:cNvSpPr/>
              <p:nvPr/>
            </p:nvSpPr>
            <p:spPr>
              <a:xfrm>
                <a:off x="4160515" y="1320335"/>
                <a:ext cx="4189624" cy="4189624"/>
              </a:xfrm>
              <a:prstGeom prst="diamond">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36980" tIns="91320" rIns="136980" bIns="91320" rtlCol="0" anchor="ctr"/>
              <a:lstStyle/>
              <a:p>
                <a:pPr algn="ctr" defTabSz="913030">
                  <a:defRPr/>
                </a:pPr>
                <a:endParaRPr lang="en-US" sz="1795">
                  <a:solidFill>
                    <a:schemeClr val="tx1"/>
                  </a:solidFill>
                  <a:latin typeface="Roboto" charset="0"/>
                  <a:ea typeface="Roboto" charset="0"/>
                  <a:cs typeface="Roboto" charset="0"/>
                </a:endParaRPr>
              </a:p>
            </p:txBody>
          </p:sp>
        </p:grpSp>
        <p:grpSp>
          <p:nvGrpSpPr>
            <p:cNvPr id="3" name="Group 2">
              <a:extLst>
                <a:ext uri="{FF2B5EF4-FFF2-40B4-BE49-F238E27FC236}">
                  <a16:creationId xmlns:a16="http://schemas.microsoft.com/office/drawing/2014/main" id="{14E8B77E-21F5-1540-AAB4-E7ABFC4B2772}"/>
                </a:ext>
              </a:extLst>
            </p:cNvPr>
            <p:cNvGrpSpPr/>
            <p:nvPr/>
          </p:nvGrpSpPr>
          <p:grpSpPr>
            <a:xfrm>
              <a:off x="1126984" y="2009990"/>
              <a:ext cx="334356" cy="207765"/>
              <a:chOff x="953490" y="1940001"/>
              <a:chExt cx="610012" cy="379054"/>
            </a:xfrm>
          </p:grpSpPr>
          <p:pic>
            <p:nvPicPr>
              <p:cNvPr id="5" name="Picture 4">
                <a:extLst>
                  <a:ext uri="{FF2B5EF4-FFF2-40B4-BE49-F238E27FC236}">
                    <a16:creationId xmlns:a16="http://schemas.microsoft.com/office/drawing/2014/main" id="{C6CF4FC8-5298-4D07-BF40-8C92998B115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53490" y="1940001"/>
                <a:ext cx="610012" cy="379054"/>
              </a:xfrm>
              <a:prstGeom prst="rect">
                <a:avLst/>
              </a:prstGeom>
            </p:spPr>
          </p:pic>
          <p:pic>
            <p:nvPicPr>
              <p:cNvPr id="6" name="Picture 5">
                <a:extLst>
                  <a:ext uri="{FF2B5EF4-FFF2-40B4-BE49-F238E27FC236}">
                    <a16:creationId xmlns:a16="http://schemas.microsoft.com/office/drawing/2014/main" id="{C798D39F-5514-481E-8D73-44A0D6BA06F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192426" y="2047145"/>
                <a:ext cx="212264" cy="212264"/>
              </a:xfrm>
              <a:prstGeom prst="rect">
                <a:avLst/>
              </a:prstGeom>
            </p:spPr>
          </p:pic>
        </p:grpSp>
      </p:grpSp>
      <p:sp>
        <p:nvSpPr>
          <p:cNvPr id="15" name="Rectangle 14">
            <a:extLst>
              <a:ext uri="{FF2B5EF4-FFF2-40B4-BE49-F238E27FC236}">
                <a16:creationId xmlns:a16="http://schemas.microsoft.com/office/drawing/2014/main" id="{87965EA0-8FE2-4040-9777-3AF5E0E3A824}"/>
              </a:ext>
            </a:extLst>
          </p:cNvPr>
          <p:cNvSpPr/>
          <p:nvPr/>
        </p:nvSpPr>
        <p:spPr>
          <a:xfrm>
            <a:off x="2543323" y="1466776"/>
            <a:ext cx="2389221" cy="313686"/>
          </a:xfrm>
          <a:prstGeom prst="rect">
            <a:avLst/>
          </a:prstGeom>
        </p:spPr>
        <p:txBody>
          <a:bodyPr wrap="square" anchor="b">
            <a:spAutoFit/>
          </a:bodyPr>
          <a:lstStyle/>
          <a:p>
            <a:pPr algn="ctr" defTabSz="456652">
              <a:lnSpc>
                <a:spcPct val="90000"/>
              </a:lnSpc>
              <a:spcAft>
                <a:spcPts val="1000"/>
              </a:spcAft>
              <a:defRPr/>
            </a:pPr>
            <a:r>
              <a:rPr lang="en-US" sz="1600">
                <a:latin typeface="Roboto" panose="02000000000000000000" pitchFamily="2" charset="0"/>
                <a:ea typeface="Roboto" panose="02000000000000000000" pitchFamily="2" charset="0"/>
                <a:cs typeface="Roboto" panose="02000000000000000000" pitchFamily="2" charset="0"/>
              </a:rPr>
              <a:t>Usage Based</a:t>
            </a:r>
          </a:p>
        </p:txBody>
      </p:sp>
      <p:grpSp>
        <p:nvGrpSpPr>
          <p:cNvPr id="34" name="Group 33">
            <a:extLst>
              <a:ext uri="{FF2B5EF4-FFF2-40B4-BE49-F238E27FC236}">
                <a16:creationId xmlns:a16="http://schemas.microsoft.com/office/drawing/2014/main" id="{65F112DB-7D0F-4C97-9DAF-251598C0EC26}"/>
              </a:ext>
            </a:extLst>
          </p:cNvPr>
          <p:cNvGrpSpPr/>
          <p:nvPr/>
        </p:nvGrpSpPr>
        <p:grpSpPr>
          <a:xfrm>
            <a:off x="3376307" y="1797936"/>
            <a:ext cx="679133" cy="679132"/>
            <a:chOff x="3377187" y="1797511"/>
            <a:chExt cx="679310" cy="679309"/>
          </a:xfrm>
        </p:grpSpPr>
        <p:grpSp>
          <p:nvGrpSpPr>
            <p:cNvPr id="14" name="Group 13">
              <a:extLst>
                <a:ext uri="{FF2B5EF4-FFF2-40B4-BE49-F238E27FC236}">
                  <a16:creationId xmlns:a16="http://schemas.microsoft.com/office/drawing/2014/main" id="{D1752741-D83E-4E0A-9171-10128269BA4E}"/>
                </a:ext>
              </a:extLst>
            </p:cNvPr>
            <p:cNvGrpSpPr/>
            <p:nvPr/>
          </p:nvGrpSpPr>
          <p:grpSpPr>
            <a:xfrm>
              <a:off x="3377187" y="1797511"/>
              <a:ext cx="679310" cy="679309"/>
              <a:chOff x="4160515" y="1320335"/>
              <a:chExt cx="4189624" cy="4189624"/>
            </a:xfrm>
          </p:grpSpPr>
          <p:sp>
            <p:nvSpPr>
              <p:cNvPr id="16" name="Diamond 15">
                <a:extLst>
                  <a:ext uri="{FF2B5EF4-FFF2-40B4-BE49-F238E27FC236}">
                    <a16:creationId xmlns:a16="http://schemas.microsoft.com/office/drawing/2014/main" id="{3B04FB57-A14A-492F-88DA-E3F6C1570C1A}"/>
                  </a:ext>
                </a:extLst>
              </p:cNvPr>
              <p:cNvSpPr/>
              <p:nvPr/>
            </p:nvSpPr>
            <p:spPr>
              <a:xfrm>
                <a:off x="4372859" y="1532679"/>
                <a:ext cx="3764937" cy="3764937"/>
              </a:xfrm>
              <a:prstGeom prst="diamond">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36980" tIns="91320" rIns="136980" bIns="91320" rtlCol="0" anchor="ctr"/>
              <a:lstStyle/>
              <a:p>
                <a:pPr algn="ctr" defTabSz="913030">
                  <a:defRPr/>
                </a:pPr>
                <a:endParaRPr lang="en-US" sz="1795">
                  <a:solidFill>
                    <a:schemeClr val="tx1"/>
                  </a:solidFill>
                  <a:latin typeface="Roboto" charset="0"/>
                </a:endParaRPr>
              </a:p>
            </p:txBody>
          </p:sp>
          <p:sp>
            <p:nvSpPr>
              <p:cNvPr id="17" name="Diamond 16">
                <a:extLst>
                  <a:ext uri="{FF2B5EF4-FFF2-40B4-BE49-F238E27FC236}">
                    <a16:creationId xmlns:a16="http://schemas.microsoft.com/office/drawing/2014/main" id="{009486CE-0DF8-4582-8DD4-DD58CD6D49C0}"/>
                  </a:ext>
                </a:extLst>
              </p:cNvPr>
              <p:cNvSpPr/>
              <p:nvPr/>
            </p:nvSpPr>
            <p:spPr>
              <a:xfrm>
                <a:off x="4160515" y="1320335"/>
                <a:ext cx="4189624" cy="4189624"/>
              </a:xfrm>
              <a:prstGeom prst="diamond">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36980" tIns="91320" rIns="136980" bIns="91320" rtlCol="0" anchor="ctr"/>
              <a:lstStyle/>
              <a:p>
                <a:pPr algn="ctr" defTabSz="913030">
                  <a:defRPr/>
                </a:pPr>
                <a:endParaRPr lang="en-US" sz="1795">
                  <a:solidFill>
                    <a:schemeClr val="tx1"/>
                  </a:solidFill>
                  <a:latin typeface="Roboto" charset="0"/>
                  <a:ea typeface="Roboto" charset="0"/>
                  <a:cs typeface="Roboto" charset="0"/>
                </a:endParaRPr>
              </a:p>
            </p:txBody>
          </p:sp>
        </p:grpSp>
        <p:pic>
          <p:nvPicPr>
            <p:cNvPr id="13" name="Picture 12" descr="A close up of a logo&#10;&#10;Description automatically generated">
              <a:extLst>
                <a:ext uri="{FF2B5EF4-FFF2-40B4-BE49-F238E27FC236}">
                  <a16:creationId xmlns:a16="http://schemas.microsoft.com/office/drawing/2014/main" id="{43F3E18B-43E7-490A-8DB6-E8912803638F}"/>
                </a:ext>
              </a:extLst>
            </p:cNvPr>
            <p:cNvPicPr>
              <a:picLocks noChangeAspect="1"/>
            </p:cNvPicPr>
            <p:nvPr/>
          </p:nvPicPr>
          <p:blipFill>
            <a:blip r:embed="rId7" cstate="screen">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3564898" y="2000709"/>
              <a:ext cx="269465" cy="215472"/>
            </a:xfrm>
            <a:prstGeom prst="rect">
              <a:avLst/>
            </a:prstGeom>
          </p:spPr>
        </p:pic>
      </p:grpSp>
      <p:sp>
        <p:nvSpPr>
          <p:cNvPr id="25" name="Rectangle 24">
            <a:extLst>
              <a:ext uri="{FF2B5EF4-FFF2-40B4-BE49-F238E27FC236}">
                <a16:creationId xmlns:a16="http://schemas.microsoft.com/office/drawing/2014/main" id="{EA493DCD-1101-4548-84B8-8EAD7B02D61D}"/>
              </a:ext>
            </a:extLst>
          </p:cNvPr>
          <p:cNvSpPr/>
          <p:nvPr/>
        </p:nvSpPr>
        <p:spPr>
          <a:xfrm>
            <a:off x="10170892" y="1466694"/>
            <a:ext cx="1579972" cy="313768"/>
          </a:xfrm>
          <a:prstGeom prst="rect">
            <a:avLst/>
          </a:prstGeom>
        </p:spPr>
        <p:txBody>
          <a:bodyPr wrap="square" anchor="b">
            <a:spAutoFit/>
          </a:bodyPr>
          <a:lstStyle/>
          <a:p>
            <a:pPr algn="ctr" defTabSz="456652">
              <a:lnSpc>
                <a:spcPct val="90000"/>
              </a:lnSpc>
              <a:spcAft>
                <a:spcPts val="1000"/>
              </a:spcAft>
              <a:defRPr/>
            </a:pPr>
            <a:r>
              <a:rPr lang="en-US" sz="1600">
                <a:latin typeface="Roboto" panose="02000000000000000000" pitchFamily="2" charset="0"/>
                <a:ea typeface="Roboto" panose="02000000000000000000" pitchFamily="2" charset="0"/>
                <a:cs typeface="Roboto" panose="02000000000000000000" pitchFamily="2" charset="0"/>
              </a:rPr>
              <a:t>Elastic</a:t>
            </a:r>
          </a:p>
        </p:txBody>
      </p:sp>
      <p:grpSp>
        <p:nvGrpSpPr>
          <p:cNvPr id="44" name="Group 43">
            <a:extLst>
              <a:ext uri="{FF2B5EF4-FFF2-40B4-BE49-F238E27FC236}">
                <a16:creationId xmlns:a16="http://schemas.microsoft.com/office/drawing/2014/main" id="{15A744B6-173D-45B2-AD32-D2D4F3539661}"/>
              </a:ext>
            </a:extLst>
          </p:cNvPr>
          <p:cNvGrpSpPr/>
          <p:nvPr/>
        </p:nvGrpSpPr>
        <p:grpSpPr>
          <a:xfrm>
            <a:off x="10604973" y="1826936"/>
            <a:ext cx="679133" cy="679132"/>
            <a:chOff x="10607736" y="1826518"/>
            <a:chExt cx="679310" cy="679309"/>
          </a:xfrm>
        </p:grpSpPr>
        <p:grpSp>
          <p:nvGrpSpPr>
            <p:cNvPr id="24" name="Group 23">
              <a:extLst>
                <a:ext uri="{FF2B5EF4-FFF2-40B4-BE49-F238E27FC236}">
                  <a16:creationId xmlns:a16="http://schemas.microsoft.com/office/drawing/2014/main" id="{5035B671-FC96-4991-957C-B859532E47EF}"/>
                </a:ext>
              </a:extLst>
            </p:cNvPr>
            <p:cNvGrpSpPr/>
            <p:nvPr/>
          </p:nvGrpSpPr>
          <p:grpSpPr>
            <a:xfrm>
              <a:off x="10607736" y="1826518"/>
              <a:ext cx="679310" cy="679309"/>
              <a:chOff x="4160515" y="1320335"/>
              <a:chExt cx="4189624" cy="4189624"/>
            </a:xfrm>
          </p:grpSpPr>
          <p:sp>
            <p:nvSpPr>
              <p:cNvPr id="26" name="Diamond 25">
                <a:extLst>
                  <a:ext uri="{FF2B5EF4-FFF2-40B4-BE49-F238E27FC236}">
                    <a16:creationId xmlns:a16="http://schemas.microsoft.com/office/drawing/2014/main" id="{75088502-D171-454C-AF66-D3922BD47D3E}"/>
                  </a:ext>
                </a:extLst>
              </p:cNvPr>
              <p:cNvSpPr/>
              <p:nvPr/>
            </p:nvSpPr>
            <p:spPr>
              <a:xfrm>
                <a:off x="4372859" y="1532679"/>
                <a:ext cx="3764937" cy="3764937"/>
              </a:xfrm>
              <a:prstGeom prst="diamond">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36980" tIns="91320" rIns="136980" bIns="91320" rtlCol="0" anchor="ctr"/>
              <a:lstStyle/>
              <a:p>
                <a:pPr algn="ctr" defTabSz="913030">
                  <a:defRPr/>
                </a:pPr>
                <a:endParaRPr lang="en-US" sz="1795">
                  <a:solidFill>
                    <a:schemeClr val="tx1"/>
                  </a:solidFill>
                  <a:latin typeface="Roboto" charset="0"/>
                </a:endParaRPr>
              </a:p>
            </p:txBody>
          </p:sp>
          <p:sp>
            <p:nvSpPr>
              <p:cNvPr id="27" name="Diamond 26">
                <a:extLst>
                  <a:ext uri="{FF2B5EF4-FFF2-40B4-BE49-F238E27FC236}">
                    <a16:creationId xmlns:a16="http://schemas.microsoft.com/office/drawing/2014/main" id="{B3E064EF-DCCF-4FF0-A4E6-A40133DEF52B}"/>
                  </a:ext>
                </a:extLst>
              </p:cNvPr>
              <p:cNvSpPr/>
              <p:nvPr/>
            </p:nvSpPr>
            <p:spPr>
              <a:xfrm>
                <a:off x="4160515" y="1320335"/>
                <a:ext cx="4189624" cy="4189624"/>
              </a:xfrm>
              <a:prstGeom prst="diamond">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36980" tIns="91320" rIns="136980" bIns="91320" rtlCol="0" anchor="ctr"/>
              <a:lstStyle/>
              <a:p>
                <a:pPr algn="ctr" defTabSz="913030">
                  <a:defRPr/>
                </a:pPr>
                <a:endParaRPr lang="en-US" sz="1795">
                  <a:solidFill>
                    <a:schemeClr val="tx1"/>
                  </a:solidFill>
                  <a:latin typeface="Roboto" charset="0"/>
                  <a:ea typeface="Roboto" charset="0"/>
                  <a:cs typeface="Roboto" charset="0"/>
                </a:endParaRPr>
              </a:p>
            </p:txBody>
          </p:sp>
        </p:grpSp>
        <p:grpSp>
          <p:nvGrpSpPr>
            <p:cNvPr id="20" name="Group 19">
              <a:extLst>
                <a:ext uri="{FF2B5EF4-FFF2-40B4-BE49-F238E27FC236}">
                  <a16:creationId xmlns:a16="http://schemas.microsoft.com/office/drawing/2014/main" id="{5A80809C-EC74-44AC-BC7B-CA183C7DAE58}"/>
                </a:ext>
              </a:extLst>
            </p:cNvPr>
            <p:cNvGrpSpPr/>
            <p:nvPr/>
          </p:nvGrpSpPr>
          <p:grpSpPr>
            <a:xfrm>
              <a:off x="10829197" y="1973668"/>
              <a:ext cx="257266" cy="397029"/>
              <a:chOff x="10348484" y="1295837"/>
              <a:chExt cx="1655503" cy="2368713"/>
            </a:xfrm>
          </p:grpSpPr>
          <p:pic>
            <p:nvPicPr>
              <p:cNvPr id="21" name="Picture 20">
                <a:extLst>
                  <a:ext uri="{FF2B5EF4-FFF2-40B4-BE49-F238E27FC236}">
                    <a16:creationId xmlns:a16="http://schemas.microsoft.com/office/drawing/2014/main" id="{F50E8C7D-062F-4F8C-AC07-1E94B08721C5}"/>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0845235" y="2054845"/>
                <a:ext cx="1158752" cy="922498"/>
              </a:xfrm>
              <a:prstGeom prst="rect">
                <a:avLst/>
              </a:prstGeom>
            </p:spPr>
          </p:pic>
          <p:pic>
            <p:nvPicPr>
              <p:cNvPr id="22" name="Picture 21">
                <a:extLst>
                  <a:ext uri="{FF2B5EF4-FFF2-40B4-BE49-F238E27FC236}">
                    <a16:creationId xmlns:a16="http://schemas.microsoft.com/office/drawing/2014/main" id="{D34BF4DC-F111-40AA-93E1-8FB1AE0C9D48}"/>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0348491" y="1295837"/>
                <a:ext cx="1158754" cy="922498"/>
              </a:xfrm>
              <a:prstGeom prst="rect">
                <a:avLst/>
              </a:prstGeom>
            </p:spPr>
          </p:pic>
          <p:pic>
            <p:nvPicPr>
              <p:cNvPr id="23" name="Picture 22">
                <a:extLst>
                  <a:ext uri="{FF2B5EF4-FFF2-40B4-BE49-F238E27FC236}">
                    <a16:creationId xmlns:a16="http://schemas.microsoft.com/office/drawing/2014/main" id="{CD344B8B-16B7-48C0-AE37-D84F45E84553}"/>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0348484" y="2742052"/>
                <a:ext cx="1158752" cy="922498"/>
              </a:xfrm>
              <a:prstGeom prst="rect">
                <a:avLst/>
              </a:prstGeom>
            </p:spPr>
          </p:pic>
        </p:grpSp>
      </p:grpSp>
      <p:sp>
        <p:nvSpPr>
          <p:cNvPr id="28" name="Rectangle 27">
            <a:extLst>
              <a:ext uri="{FF2B5EF4-FFF2-40B4-BE49-F238E27FC236}">
                <a16:creationId xmlns:a16="http://schemas.microsoft.com/office/drawing/2014/main" id="{0B20BA26-80A0-4380-A9A7-13C5BEA76F41}"/>
              </a:ext>
            </a:extLst>
          </p:cNvPr>
          <p:cNvSpPr/>
          <p:nvPr/>
        </p:nvSpPr>
        <p:spPr>
          <a:xfrm>
            <a:off x="2658301" y="2500243"/>
            <a:ext cx="2159264" cy="830565"/>
          </a:xfrm>
          <a:prstGeom prst="rect">
            <a:avLst/>
          </a:prstGeom>
        </p:spPr>
        <p:txBody>
          <a:bodyPr wrap="square">
            <a:spAutoFit/>
          </a:bodyPr>
          <a:lstStyle/>
          <a:p>
            <a:pPr algn="ctr" defTabSz="456926">
              <a:defRPr/>
            </a:pPr>
            <a:r>
              <a:rPr lang="en-US" sz="1200" dirty="0">
                <a:latin typeface="Roboto Lt" panose="02000000000000000000" pitchFamily="2" charset="0"/>
                <a:ea typeface="Roboto Lt" panose="02000000000000000000" pitchFamily="2" charset="0"/>
                <a:cs typeface="Roboto Lt" panose="02000000000000000000" pitchFamily="2" charset="0"/>
              </a:rPr>
              <a:t>Informatica Processing Unit (IPU) is a unit of software licensing capacity measured by service usage</a:t>
            </a:r>
          </a:p>
        </p:txBody>
      </p:sp>
      <p:sp>
        <p:nvSpPr>
          <p:cNvPr id="29" name="Rectangle 28">
            <a:extLst>
              <a:ext uri="{FF2B5EF4-FFF2-40B4-BE49-F238E27FC236}">
                <a16:creationId xmlns:a16="http://schemas.microsoft.com/office/drawing/2014/main" id="{7A506AEE-45A6-431F-84EB-590F5C4AC367}"/>
              </a:ext>
            </a:extLst>
          </p:cNvPr>
          <p:cNvSpPr/>
          <p:nvPr/>
        </p:nvSpPr>
        <p:spPr>
          <a:xfrm>
            <a:off x="433255" y="2500243"/>
            <a:ext cx="1774512" cy="830565"/>
          </a:xfrm>
          <a:prstGeom prst="rect">
            <a:avLst/>
          </a:prstGeom>
        </p:spPr>
        <p:txBody>
          <a:bodyPr wrap="square">
            <a:spAutoFit/>
          </a:bodyPr>
          <a:lstStyle/>
          <a:p>
            <a:pPr algn="ctr" defTabSz="456926">
              <a:defRPr/>
            </a:pPr>
            <a:r>
              <a:rPr lang="en-US" sz="1200" dirty="0">
                <a:latin typeface="Roboto Lt" panose="02000000000000000000" pitchFamily="2" charset="0"/>
                <a:ea typeface="Roboto Lt" panose="02000000000000000000" pitchFamily="2" charset="0"/>
                <a:cs typeface="Roboto Lt" panose="02000000000000000000" pitchFamily="2" charset="0"/>
              </a:rPr>
              <a:t>Cloud native services aligned to customer journey and preferences</a:t>
            </a:r>
          </a:p>
        </p:txBody>
      </p:sp>
      <p:sp>
        <p:nvSpPr>
          <p:cNvPr id="30" name="Rectangle 29">
            <a:extLst>
              <a:ext uri="{FF2B5EF4-FFF2-40B4-BE49-F238E27FC236}">
                <a16:creationId xmlns:a16="http://schemas.microsoft.com/office/drawing/2014/main" id="{4F8EC10B-71AA-4710-9C07-AA2C1784749D}"/>
              </a:ext>
            </a:extLst>
          </p:cNvPr>
          <p:cNvSpPr/>
          <p:nvPr/>
        </p:nvSpPr>
        <p:spPr>
          <a:xfrm>
            <a:off x="4981408" y="2500243"/>
            <a:ext cx="2311577" cy="830565"/>
          </a:xfrm>
          <a:prstGeom prst="rect">
            <a:avLst/>
          </a:prstGeom>
        </p:spPr>
        <p:txBody>
          <a:bodyPr wrap="square">
            <a:spAutoFit/>
          </a:bodyPr>
          <a:lstStyle/>
          <a:p>
            <a:pPr algn="ctr" defTabSz="456926">
              <a:defRPr/>
            </a:pPr>
            <a:r>
              <a:rPr lang="en-US" sz="1200" dirty="0">
                <a:latin typeface="Arial"/>
                <a:ea typeface="Roboto" panose="02000000000000000000" pitchFamily="2" charset="0"/>
                <a:cs typeface="Roboto" panose="02000000000000000000" pitchFamily="2" charset="0"/>
              </a:rPr>
              <a:t>Interchangeably use units across integration and quality services, with included connectivity</a:t>
            </a:r>
          </a:p>
        </p:txBody>
      </p:sp>
      <p:sp>
        <p:nvSpPr>
          <p:cNvPr id="31" name="Rectangle 30">
            <a:extLst>
              <a:ext uri="{FF2B5EF4-FFF2-40B4-BE49-F238E27FC236}">
                <a16:creationId xmlns:a16="http://schemas.microsoft.com/office/drawing/2014/main" id="{09379A8B-35B9-498A-97A7-D36B0DA6556F}"/>
              </a:ext>
            </a:extLst>
          </p:cNvPr>
          <p:cNvSpPr/>
          <p:nvPr/>
        </p:nvSpPr>
        <p:spPr>
          <a:xfrm>
            <a:off x="9900987" y="2500243"/>
            <a:ext cx="2090092" cy="830565"/>
          </a:xfrm>
          <a:prstGeom prst="rect">
            <a:avLst/>
          </a:prstGeom>
        </p:spPr>
        <p:txBody>
          <a:bodyPr wrap="square">
            <a:spAutoFit/>
          </a:bodyPr>
          <a:lstStyle/>
          <a:p>
            <a:pPr algn="ctr" defTabSz="456926">
              <a:defRPr/>
            </a:pPr>
            <a:r>
              <a:rPr lang="en-US" sz="1200">
                <a:latin typeface="Arial"/>
                <a:ea typeface="Roboto" panose="02000000000000000000" pitchFamily="2" charset="0"/>
                <a:cs typeface="Roboto" panose="02000000000000000000" pitchFamily="2" charset="0"/>
              </a:rPr>
              <a:t>Scale up and down to meet demand as data volumes and performance requirements evolve</a:t>
            </a:r>
          </a:p>
        </p:txBody>
      </p:sp>
      <p:sp>
        <p:nvSpPr>
          <p:cNvPr id="32" name="Rectangle 31">
            <a:extLst>
              <a:ext uri="{FF2B5EF4-FFF2-40B4-BE49-F238E27FC236}">
                <a16:creationId xmlns:a16="http://schemas.microsoft.com/office/drawing/2014/main" id="{85F9F36E-B6EB-4539-B5E8-E41BEDEFCCD4}"/>
              </a:ext>
            </a:extLst>
          </p:cNvPr>
          <p:cNvSpPr/>
          <p:nvPr/>
        </p:nvSpPr>
        <p:spPr>
          <a:xfrm>
            <a:off x="7493073" y="2500243"/>
            <a:ext cx="2090092" cy="830565"/>
          </a:xfrm>
          <a:prstGeom prst="rect">
            <a:avLst/>
          </a:prstGeom>
        </p:spPr>
        <p:txBody>
          <a:bodyPr wrap="square">
            <a:spAutoFit/>
          </a:bodyPr>
          <a:lstStyle/>
          <a:p>
            <a:pPr algn="ctr" defTabSz="456926">
              <a:defRPr/>
            </a:pPr>
            <a:r>
              <a:rPr lang="en-US" sz="1200" dirty="0">
                <a:latin typeface="Arial"/>
                <a:ea typeface="Roboto" panose="02000000000000000000" pitchFamily="2" charset="0"/>
                <a:cs typeface="Roboto" panose="02000000000000000000" pitchFamily="2" charset="0"/>
              </a:rPr>
              <a:t>Monthly measurements allow different architecture and deployment options as business needs change</a:t>
            </a:r>
          </a:p>
        </p:txBody>
      </p:sp>
      <p:sp>
        <p:nvSpPr>
          <p:cNvPr id="40" name="Rectangle 39">
            <a:extLst>
              <a:ext uri="{FF2B5EF4-FFF2-40B4-BE49-F238E27FC236}">
                <a16:creationId xmlns:a16="http://schemas.microsoft.com/office/drawing/2014/main" id="{7A76A1E8-A26D-471C-A6A1-353C442637F2}"/>
              </a:ext>
            </a:extLst>
          </p:cNvPr>
          <p:cNvSpPr/>
          <p:nvPr/>
        </p:nvSpPr>
        <p:spPr>
          <a:xfrm>
            <a:off x="7142751" y="1466776"/>
            <a:ext cx="2866004" cy="313686"/>
          </a:xfrm>
          <a:prstGeom prst="rect">
            <a:avLst/>
          </a:prstGeom>
        </p:spPr>
        <p:txBody>
          <a:bodyPr wrap="square" anchor="b">
            <a:spAutoFit/>
          </a:bodyPr>
          <a:lstStyle/>
          <a:p>
            <a:pPr algn="ctr" defTabSz="456652">
              <a:lnSpc>
                <a:spcPct val="90000"/>
              </a:lnSpc>
              <a:spcAft>
                <a:spcPts val="1000"/>
              </a:spcAft>
              <a:defRPr/>
            </a:pPr>
            <a:r>
              <a:rPr lang="en-US" sz="1600">
                <a:latin typeface="Roboto" panose="02000000000000000000" pitchFamily="2" charset="0"/>
                <a:ea typeface="Roboto" panose="02000000000000000000" pitchFamily="2" charset="0"/>
                <a:cs typeface="Roboto" panose="02000000000000000000" pitchFamily="2" charset="0"/>
              </a:rPr>
              <a:t>Flexible</a:t>
            </a:r>
          </a:p>
        </p:txBody>
      </p:sp>
      <p:grpSp>
        <p:nvGrpSpPr>
          <p:cNvPr id="50" name="Group 49">
            <a:extLst>
              <a:ext uri="{FF2B5EF4-FFF2-40B4-BE49-F238E27FC236}">
                <a16:creationId xmlns:a16="http://schemas.microsoft.com/office/drawing/2014/main" id="{37D1FE7D-354D-443C-A8BF-99373EFFC768}"/>
              </a:ext>
            </a:extLst>
          </p:cNvPr>
          <p:cNvGrpSpPr/>
          <p:nvPr/>
        </p:nvGrpSpPr>
        <p:grpSpPr>
          <a:xfrm>
            <a:off x="8195419" y="1795796"/>
            <a:ext cx="679133" cy="679132"/>
            <a:chOff x="8197554" y="1795370"/>
            <a:chExt cx="679310" cy="679309"/>
          </a:xfrm>
        </p:grpSpPr>
        <p:grpSp>
          <p:nvGrpSpPr>
            <p:cNvPr id="39" name="Group 38">
              <a:extLst>
                <a:ext uri="{FF2B5EF4-FFF2-40B4-BE49-F238E27FC236}">
                  <a16:creationId xmlns:a16="http://schemas.microsoft.com/office/drawing/2014/main" id="{790AD002-4F44-4A99-A3C1-EBC65578BD51}"/>
                </a:ext>
              </a:extLst>
            </p:cNvPr>
            <p:cNvGrpSpPr/>
            <p:nvPr/>
          </p:nvGrpSpPr>
          <p:grpSpPr>
            <a:xfrm>
              <a:off x="8197554" y="1795370"/>
              <a:ext cx="679310" cy="679309"/>
              <a:chOff x="4160515" y="1320335"/>
              <a:chExt cx="4189624" cy="4189624"/>
            </a:xfrm>
          </p:grpSpPr>
          <p:sp>
            <p:nvSpPr>
              <p:cNvPr id="41" name="Diamond 40">
                <a:extLst>
                  <a:ext uri="{FF2B5EF4-FFF2-40B4-BE49-F238E27FC236}">
                    <a16:creationId xmlns:a16="http://schemas.microsoft.com/office/drawing/2014/main" id="{BBF73E39-5736-4A32-AA9E-B33E619FB7D4}"/>
                  </a:ext>
                </a:extLst>
              </p:cNvPr>
              <p:cNvSpPr/>
              <p:nvPr/>
            </p:nvSpPr>
            <p:spPr>
              <a:xfrm>
                <a:off x="4372859" y="1532679"/>
                <a:ext cx="3764937" cy="3764937"/>
              </a:xfrm>
              <a:prstGeom prst="diamond">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6980" tIns="91320" rIns="136980" bIns="91320" rtlCol="0" anchor="ctr"/>
              <a:lstStyle/>
              <a:p>
                <a:pPr algn="ctr" defTabSz="913030">
                  <a:defRPr/>
                </a:pPr>
                <a:endParaRPr lang="en-US" sz="1795">
                  <a:solidFill>
                    <a:schemeClr val="tx1"/>
                  </a:solidFill>
                  <a:latin typeface="Roboto" charset="0"/>
                </a:endParaRPr>
              </a:p>
            </p:txBody>
          </p:sp>
          <p:sp>
            <p:nvSpPr>
              <p:cNvPr id="42" name="Diamond 41">
                <a:extLst>
                  <a:ext uri="{FF2B5EF4-FFF2-40B4-BE49-F238E27FC236}">
                    <a16:creationId xmlns:a16="http://schemas.microsoft.com/office/drawing/2014/main" id="{58F2EC82-A76B-4364-816B-B5C1D1DA2164}"/>
                  </a:ext>
                </a:extLst>
              </p:cNvPr>
              <p:cNvSpPr/>
              <p:nvPr/>
            </p:nvSpPr>
            <p:spPr>
              <a:xfrm>
                <a:off x="4160515" y="1320335"/>
                <a:ext cx="4189624" cy="4189624"/>
              </a:xfrm>
              <a:prstGeom prst="diamond">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36980" tIns="91320" rIns="136980" bIns="91320" rtlCol="0" anchor="ctr"/>
              <a:lstStyle/>
              <a:p>
                <a:pPr algn="ctr" defTabSz="913030">
                  <a:defRPr/>
                </a:pPr>
                <a:endParaRPr lang="en-US" sz="1795">
                  <a:solidFill>
                    <a:schemeClr val="tx1"/>
                  </a:solidFill>
                  <a:latin typeface="Roboto" charset="0"/>
                  <a:ea typeface="Roboto" charset="0"/>
                  <a:cs typeface="Roboto" charset="0"/>
                </a:endParaRPr>
              </a:p>
            </p:txBody>
          </p:sp>
        </p:grpSp>
        <p:grpSp>
          <p:nvGrpSpPr>
            <p:cNvPr id="35" name="Group 34">
              <a:extLst>
                <a:ext uri="{FF2B5EF4-FFF2-40B4-BE49-F238E27FC236}">
                  <a16:creationId xmlns:a16="http://schemas.microsoft.com/office/drawing/2014/main" id="{58ECF2B1-8E73-4579-895D-60498EBD4AF8}"/>
                </a:ext>
              </a:extLst>
            </p:cNvPr>
            <p:cNvGrpSpPr/>
            <p:nvPr/>
          </p:nvGrpSpPr>
          <p:grpSpPr>
            <a:xfrm>
              <a:off x="8384778" y="1962677"/>
              <a:ext cx="304861" cy="368970"/>
              <a:chOff x="9899347" y="1804660"/>
              <a:chExt cx="1680268" cy="1836004"/>
            </a:xfrm>
          </p:grpSpPr>
          <p:pic>
            <p:nvPicPr>
              <p:cNvPr id="36" name="Picture 35">
                <a:extLst>
                  <a:ext uri="{FF2B5EF4-FFF2-40B4-BE49-F238E27FC236}">
                    <a16:creationId xmlns:a16="http://schemas.microsoft.com/office/drawing/2014/main" id="{6A1584EC-70D5-4E91-A165-041E5B975BF0}"/>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rot="16200000">
                <a:off x="10164151" y="1922785"/>
                <a:ext cx="1158750" cy="922499"/>
              </a:xfrm>
              <a:prstGeom prst="rect">
                <a:avLst/>
              </a:prstGeom>
            </p:spPr>
          </p:pic>
          <p:pic>
            <p:nvPicPr>
              <p:cNvPr id="37" name="Picture 36">
                <a:extLst>
                  <a:ext uri="{FF2B5EF4-FFF2-40B4-BE49-F238E27FC236}">
                    <a16:creationId xmlns:a16="http://schemas.microsoft.com/office/drawing/2014/main" id="{87B7B064-D7DA-45EE-BCF4-FDDC786C02D2}"/>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9899347" y="2481915"/>
                <a:ext cx="866250" cy="1158749"/>
              </a:xfrm>
              <a:prstGeom prst="rect">
                <a:avLst/>
              </a:prstGeom>
            </p:spPr>
          </p:pic>
          <p:pic>
            <p:nvPicPr>
              <p:cNvPr id="38" name="Picture 37">
                <a:extLst>
                  <a:ext uri="{FF2B5EF4-FFF2-40B4-BE49-F238E27FC236}">
                    <a16:creationId xmlns:a16="http://schemas.microsoft.com/office/drawing/2014/main" id="{96B8E2E6-E48C-44F4-ADFB-851209CD43B0}"/>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rot="10800000" flipV="1">
                <a:off x="10744131" y="2481915"/>
                <a:ext cx="835484" cy="1117594"/>
              </a:xfrm>
              <a:prstGeom prst="rect">
                <a:avLst/>
              </a:prstGeom>
            </p:spPr>
          </p:pic>
        </p:grpSp>
      </p:grpSp>
      <p:sp>
        <p:nvSpPr>
          <p:cNvPr id="47" name="Rectangle 46">
            <a:extLst>
              <a:ext uri="{FF2B5EF4-FFF2-40B4-BE49-F238E27FC236}">
                <a16:creationId xmlns:a16="http://schemas.microsoft.com/office/drawing/2014/main" id="{3287A123-B62C-4C0C-B6A0-CA3273DDFC63}"/>
              </a:ext>
            </a:extLst>
          </p:cNvPr>
          <p:cNvSpPr/>
          <p:nvPr/>
        </p:nvSpPr>
        <p:spPr>
          <a:xfrm>
            <a:off x="4720812" y="1466776"/>
            <a:ext cx="2866004" cy="313686"/>
          </a:xfrm>
          <a:prstGeom prst="rect">
            <a:avLst/>
          </a:prstGeom>
        </p:spPr>
        <p:txBody>
          <a:bodyPr wrap="square" anchor="b">
            <a:spAutoFit/>
          </a:bodyPr>
          <a:lstStyle/>
          <a:p>
            <a:pPr algn="ctr" defTabSz="456652">
              <a:lnSpc>
                <a:spcPct val="90000"/>
              </a:lnSpc>
              <a:spcAft>
                <a:spcPts val="1000"/>
              </a:spcAft>
              <a:defRPr/>
            </a:pPr>
            <a:r>
              <a:rPr lang="en-US" sz="1600" dirty="0">
                <a:latin typeface="Roboto" panose="02000000000000000000" pitchFamily="2" charset="0"/>
                <a:ea typeface="Roboto" panose="02000000000000000000" pitchFamily="2" charset="0"/>
                <a:cs typeface="Roboto" panose="02000000000000000000" pitchFamily="2" charset="0"/>
              </a:rPr>
              <a:t>Comprehensive</a:t>
            </a:r>
          </a:p>
        </p:txBody>
      </p:sp>
      <p:grpSp>
        <p:nvGrpSpPr>
          <p:cNvPr id="43" name="Group 42">
            <a:extLst>
              <a:ext uri="{FF2B5EF4-FFF2-40B4-BE49-F238E27FC236}">
                <a16:creationId xmlns:a16="http://schemas.microsoft.com/office/drawing/2014/main" id="{09066703-8E44-40EC-A7E2-D1AB42336FF3}"/>
              </a:ext>
            </a:extLst>
          </p:cNvPr>
          <p:cNvGrpSpPr/>
          <p:nvPr/>
        </p:nvGrpSpPr>
        <p:grpSpPr>
          <a:xfrm>
            <a:off x="5785863" y="1784198"/>
            <a:ext cx="679133" cy="679132"/>
            <a:chOff x="5787371" y="1783769"/>
            <a:chExt cx="679310" cy="679309"/>
          </a:xfrm>
        </p:grpSpPr>
        <p:grpSp>
          <p:nvGrpSpPr>
            <p:cNvPr id="46" name="Group 45">
              <a:extLst>
                <a:ext uri="{FF2B5EF4-FFF2-40B4-BE49-F238E27FC236}">
                  <a16:creationId xmlns:a16="http://schemas.microsoft.com/office/drawing/2014/main" id="{B3529555-65A5-4048-92D1-9A509CA07319}"/>
                </a:ext>
              </a:extLst>
            </p:cNvPr>
            <p:cNvGrpSpPr/>
            <p:nvPr/>
          </p:nvGrpSpPr>
          <p:grpSpPr>
            <a:xfrm>
              <a:off x="5787371" y="1783769"/>
              <a:ext cx="679310" cy="679309"/>
              <a:chOff x="4160515" y="1320335"/>
              <a:chExt cx="4189624" cy="4189624"/>
            </a:xfrm>
          </p:grpSpPr>
          <p:sp>
            <p:nvSpPr>
              <p:cNvPr id="48" name="Diamond 47">
                <a:extLst>
                  <a:ext uri="{FF2B5EF4-FFF2-40B4-BE49-F238E27FC236}">
                    <a16:creationId xmlns:a16="http://schemas.microsoft.com/office/drawing/2014/main" id="{B2876DF8-C96A-48D3-8A3F-74D030AC3904}"/>
                  </a:ext>
                </a:extLst>
              </p:cNvPr>
              <p:cNvSpPr/>
              <p:nvPr/>
            </p:nvSpPr>
            <p:spPr>
              <a:xfrm>
                <a:off x="4372859" y="1532679"/>
                <a:ext cx="3764937" cy="3764937"/>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36980" tIns="91320" rIns="136980" bIns="91320" rtlCol="0" anchor="ctr"/>
              <a:lstStyle/>
              <a:p>
                <a:pPr algn="ctr" defTabSz="913030">
                  <a:defRPr/>
                </a:pPr>
                <a:endParaRPr lang="en-US" sz="1795">
                  <a:solidFill>
                    <a:schemeClr val="tx1"/>
                  </a:solidFill>
                  <a:latin typeface="Roboto" charset="0"/>
                </a:endParaRPr>
              </a:p>
            </p:txBody>
          </p:sp>
          <p:sp>
            <p:nvSpPr>
              <p:cNvPr id="49" name="Diamond 48">
                <a:extLst>
                  <a:ext uri="{FF2B5EF4-FFF2-40B4-BE49-F238E27FC236}">
                    <a16:creationId xmlns:a16="http://schemas.microsoft.com/office/drawing/2014/main" id="{FF72621D-E354-4E49-86AC-FB1E7E6C39A0}"/>
                  </a:ext>
                </a:extLst>
              </p:cNvPr>
              <p:cNvSpPr/>
              <p:nvPr/>
            </p:nvSpPr>
            <p:spPr>
              <a:xfrm>
                <a:off x="4160515" y="1320335"/>
                <a:ext cx="4189624" cy="4189624"/>
              </a:xfrm>
              <a:prstGeom prst="diamond">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36980" tIns="91320" rIns="136980" bIns="91320" rtlCol="0" anchor="ctr"/>
              <a:lstStyle/>
              <a:p>
                <a:pPr algn="ctr" defTabSz="913030">
                  <a:defRPr/>
                </a:pPr>
                <a:endParaRPr lang="en-US" sz="1795">
                  <a:solidFill>
                    <a:schemeClr val="tx1"/>
                  </a:solidFill>
                  <a:latin typeface="Roboto" charset="0"/>
                  <a:ea typeface="Roboto" charset="0"/>
                  <a:cs typeface="Roboto" charset="0"/>
                </a:endParaRPr>
              </a:p>
            </p:txBody>
          </p:sp>
        </p:grpSp>
        <p:pic>
          <p:nvPicPr>
            <p:cNvPr id="45" name="Picture 44">
              <a:extLst>
                <a:ext uri="{FF2B5EF4-FFF2-40B4-BE49-F238E27FC236}">
                  <a16:creationId xmlns:a16="http://schemas.microsoft.com/office/drawing/2014/main" id="{187A1D9B-56A0-44FB-BFDB-8653D59E3AB6}"/>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020248" y="1980248"/>
              <a:ext cx="230484" cy="287399"/>
            </a:xfrm>
            <a:prstGeom prst="rect">
              <a:avLst/>
            </a:prstGeom>
          </p:spPr>
        </p:pic>
      </p:grpSp>
      <p:sp>
        <p:nvSpPr>
          <p:cNvPr id="33" name="Rounded Rectangle 32">
            <a:extLst>
              <a:ext uri="{FF2B5EF4-FFF2-40B4-BE49-F238E27FC236}">
                <a16:creationId xmlns:a16="http://schemas.microsoft.com/office/drawing/2014/main" id="{D81AC77A-C2FB-5143-8676-9C596FA7D763}"/>
              </a:ext>
            </a:extLst>
          </p:cNvPr>
          <p:cNvSpPr/>
          <p:nvPr/>
        </p:nvSpPr>
        <p:spPr>
          <a:xfrm>
            <a:off x="306514" y="879278"/>
            <a:ext cx="11683509" cy="2502618"/>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37088" tIns="91392" rIns="137088" bIns="91392" rtlCol="0" anchor="ctr"/>
          <a:lstStyle/>
          <a:p>
            <a:pPr algn="ctr" defTabSz="913852">
              <a:defRPr/>
            </a:pPr>
            <a:endParaRPr lang="en-US" sz="1798">
              <a:solidFill>
                <a:schemeClr val="tx1"/>
              </a:solidFill>
              <a:latin typeface="Roboto" charset="0"/>
              <a:ea typeface="Roboto" charset="0"/>
              <a:cs typeface="Roboto" charset="0"/>
            </a:endParaRPr>
          </a:p>
        </p:txBody>
      </p:sp>
      <p:sp>
        <p:nvSpPr>
          <p:cNvPr id="72" name="Title 2">
            <a:extLst>
              <a:ext uri="{FF2B5EF4-FFF2-40B4-BE49-F238E27FC236}">
                <a16:creationId xmlns:a16="http://schemas.microsoft.com/office/drawing/2014/main" id="{B0C045F7-E543-7A43-AF30-740F795655FB}"/>
              </a:ext>
            </a:extLst>
          </p:cNvPr>
          <p:cNvSpPr txBox="1">
            <a:spLocks/>
          </p:cNvSpPr>
          <p:nvPr/>
        </p:nvSpPr>
        <p:spPr>
          <a:xfrm>
            <a:off x="555466" y="204070"/>
            <a:ext cx="11186047" cy="514249"/>
          </a:xfrm>
          <a:prstGeom prst="rect">
            <a:avLst/>
          </a:prstGeom>
        </p:spPr>
        <p:txBody>
          <a:bodyPr vert="horz" lIns="0" tIns="0" rIns="0" bIns="0" rtlCol="0" anchor="t" anchorCtr="0">
            <a:noAutofit/>
          </a:bodyPr>
          <a:lstStyle>
            <a:lvl1pPr algn="l" defTabSz="913943" rtl="0" eaLnBrk="1" latinLnBrk="0" hangingPunct="1">
              <a:lnSpc>
                <a:spcPct val="90000"/>
              </a:lnSpc>
              <a:spcBef>
                <a:spcPct val="0"/>
              </a:spcBef>
              <a:buNone/>
              <a:defRPr sz="3599" b="0" i="0" kern="1200" baseline="0">
                <a:solidFill>
                  <a:schemeClr val="tx1"/>
                </a:solidFill>
                <a:latin typeface="Roboto Lt" charset="0"/>
                <a:ea typeface="Roboto Lt" charset="0"/>
                <a:cs typeface="Roboto Lt" charset="0"/>
              </a:defRPr>
            </a:lvl1pPr>
          </a:lstStyle>
          <a:p>
            <a:pPr algn="ctr">
              <a:defRPr/>
            </a:pPr>
            <a:r>
              <a:rPr lang="en-US" sz="3598" dirty="0">
                <a:latin typeface="Roboto Lt" panose="02000000000000000000" pitchFamily="2" charset="0"/>
                <a:ea typeface="Roboto Lt" panose="02000000000000000000" pitchFamily="2" charset="0"/>
              </a:rPr>
              <a:t>Flexible License Aligned to Your Journey</a:t>
            </a:r>
          </a:p>
        </p:txBody>
      </p:sp>
      <p:sp>
        <p:nvSpPr>
          <p:cNvPr id="74" name="Round Same Side Corner Rectangle 73">
            <a:extLst>
              <a:ext uri="{FF2B5EF4-FFF2-40B4-BE49-F238E27FC236}">
                <a16:creationId xmlns:a16="http://schemas.microsoft.com/office/drawing/2014/main" id="{98DC19C8-69D4-6047-90C1-29D86C203B47}"/>
              </a:ext>
            </a:extLst>
          </p:cNvPr>
          <p:cNvSpPr/>
          <p:nvPr/>
        </p:nvSpPr>
        <p:spPr>
          <a:xfrm>
            <a:off x="555658" y="3498216"/>
            <a:ext cx="11074335" cy="1752933"/>
          </a:xfrm>
          <a:prstGeom prst="round2SameRect">
            <a:avLst/>
          </a:prstGeom>
          <a:gradFill flip="none" rotWithShape="1">
            <a:gsLst>
              <a:gs pos="95000">
                <a:schemeClr val="accent5">
                  <a:lumMod val="75000"/>
                </a:schemeClr>
              </a:gs>
              <a:gs pos="94000">
                <a:schemeClr val="accent5"/>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37052" tIns="91368" rIns="137052" bIns="91368" rtlCol="0" anchor="t"/>
          <a:lstStyle/>
          <a:p>
            <a:pPr algn="ctr" defTabSz="456789">
              <a:defRPr/>
            </a:pPr>
            <a:r>
              <a:rPr lang="en-US" sz="1998" dirty="0">
                <a:solidFill>
                  <a:schemeClr val="tx1"/>
                </a:solidFill>
                <a:latin typeface="Roboto" charset="0"/>
                <a:ea typeface="Roboto" charset="0"/>
                <a:cs typeface="Roboto" charset="0"/>
              </a:rPr>
              <a:t>Informatica Intelligent Cloud Services</a:t>
            </a:r>
          </a:p>
        </p:txBody>
      </p:sp>
      <p:cxnSp>
        <p:nvCxnSpPr>
          <p:cNvPr id="76" name="Straight Connector 75">
            <a:extLst>
              <a:ext uri="{FF2B5EF4-FFF2-40B4-BE49-F238E27FC236}">
                <a16:creationId xmlns:a16="http://schemas.microsoft.com/office/drawing/2014/main" id="{FED7AECA-C551-3A4B-9AFD-07FBBF7D0864}"/>
              </a:ext>
            </a:extLst>
          </p:cNvPr>
          <p:cNvCxnSpPr>
            <a:cxnSpLocks/>
          </p:cNvCxnSpPr>
          <p:nvPr/>
        </p:nvCxnSpPr>
        <p:spPr>
          <a:xfrm>
            <a:off x="1414126" y="4144843"/>
            <a:ext cx="0" cy="72693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E958B560-0FB0-E344-AADF-084511FDA6A7}"/>
              </a:ext>
            </a:extLst>
          </p:cNvPr>
          <p:cNvCxnSpPr>
            <a:cxnSpLocks/>
          </p:cNvCxnSpPr>
          <p:nvPr/>
        </p:nvCxnSpPr>
        <p:spPr>
          <a:xfrm>
            <a:off x="3116771" y="4144843"/>
            <a:ext cx="0" cy="72693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C373643E-840F-5B41-AC98-A4D7AE677C9C}"/>
              </a:ext>
            </a:extLst>
          </p:cNvPr>
          <p:cNvCxnSpPr>
            <a:cxnSpLocks/>
          </p:cNvCxnSpPr>
          <p:nvPr/>
        </p:nvCxnSpPr>
        <p:spPr>
          <a:xfrm>
            <a:off x="7373382" y="4144843"/>
            <a:ext cx="0" cy="72693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B5FB13E0-9247-D14E-9C72-2F899C27B672}"/>
              </a:ext>
            </a:extLst>
          </p:cNvPr>
          <p:cNvCxnSpPr>
            <a:cxnSpLocks/>
          </p:cNvCxnSpPr>
          <p:nvPr/>
        </p:nvCxnSpPr>
        <p:spPr>
          <a:xfrm>
            <a:off x="8224704" y="4144843"/>
            <a:ext cx="0" cy="72693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1A012C22-93C3-8840-9702-81B07C8AFB4E}"/>
              </a:ext>
            </a:extLst>
          </p:cNvPr>
          <p:cNvCxnSpPr>
            <a:cxnSpLocks/>
          </p:cNvCxnSpPr>
          <p:nvPr/>
        </p:nvCxnSpPr>
        <p:spPr>
          <a:xfrm>
            <a:off x="9076026" y="4144843"/>
            <a:ext cx="0" cy="72693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0A8E8682-5412-0446-ADF5-AB2913FB2112}"/>
              </a:ext>
            </a:extLst>
          </p:cNvPr>
          <p:cNvCxnSpPr>
            <a:cxnSpLocks/>
          </p:cNvCxnSpPr>
          <p:nvPr/>
        </p:nvCxnSpPr>
        <p:spPr>
          <a:xfrm>
            <a:off x="4819415" y="4144843"/>
            <a:ext cx="0" cy="72693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9CF1C0B1-0918-754E-894F-95553E2340DE}"/>
              </a:ext>
            </a:extLst>
          </p:cNvPr>
          <p:cNvCxnSpPr>
            <a:cxnSpLocks/>
          </p:cNvCxnSpPr>
          <p:nvPr/>
        </p:nvCxnSpPr>
        <p:spPr>
          <a:xfrm>
            <a:off x="3968093" y="4144843"/>
            <a:ext cx="0" cy="72693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5ED897B6-2539-9F4A-AC6E-1C618446AC25}"/>
              </a:ext>
            </a:extLst>
          </p:cNvPr>
          <p:cNvCxnSpPr>
            <a:cxnSpLocks/>
          </p:cNvCxnSpPr>
          <p:nvPr/>
        </p:nvCxnSpPr>
        <p:spPr>
          <a:xfrm>
            <a:off x="6522060" y="4144843"/>
            <a:ext cx="0" cy="72693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84" name="Rectangle 83">
            <a:extLst>
              <a:ext uri="{FF2B5EF4-FFF2-40B4-BE49-F238E27FC236}">
                <a16:creationId xmlns:a16="http://schemas.microsoft.com/office/drawing/2014/main" id="{BDCEDF32-2FCF-4648-9C4F-C25C2708FDB1}"/>
              </a:ext>
            </a:extLst>
          </p:cNvPr>
          <p:cNvSpPr/>
          <p:nvPr/>
        </p:nvSpPr>
        <p:spPr>
          <a:xfrm>
            <a:off x="10770418" y="4310199"/>
            <a:ext cx="866725" cy="415390"/>
          </a:xfrm>
          <a:prstGeom prst="rect">
            <a:avLst/>
          </a:prstGeom>
        </p:spPr>
        <p:txBody>
          <a:bodyPr wrap="square" anchor="ctr">
            <a:spAutoFit/>
          </a:bodyPr>
          <a:lstStyle/>
          <a:p>
            <a:pPr algn="ctr" defTabSz="456926">
              <a:defRPr/>
            </a:pPr>
            <a:r>
              <a:rPr lang="en-US" sz="1050">
                <a:latin typeface="Roboto"/>
                <a:cs typeface="Arial" panose="020B0604020202020204" pitchFamily="34" charset="0"/>
                <a:sym typeface="Arial" panose="020B0604020202020204" pitchFamily="34" charset="0"/>
              </a:rPr>
              <a:t>Integration </a:t>
            </a:r>
            <a:br>
              <a:rPr lang="en-US" sz="1050">
                <a:latin typeface="Roboto"/>
                <a:cs typeface="Arial" panose="020B0604020202020204" pitchFamily="34" charset="0"/>
                <a:sym typeface="Arial" panose="020B0604020202020204" pitchFamily="34" charset="0"/>
              </a:rPr>
            </a:br>
            <a:r>
              <a:rPr lang="en-US" sz="1050">
                <a:latin typeface="Roboto"/>
                <a:cs typeface="Arial" panose="020B0604020202020204" pitchFamily="34" charset="0"/>
                <a:sym typeface="Arial" panose="020B0604020202020204" pitchFamily="34" charset="0"/>
              </a:rPr>
              <a:t>Hub</a:t>
            </a:r>
            <a:endParaRPr lang="en-US" sz="1050">
              <a:latin typeface="Roboto"/>
            </a:endParaRPr>
          </a:p>
        </p:txBody>
      </p:sp>
      <p:sp>
        <p:nvSpPr>
          <p:cNvPr id="85" name="Rectangle 84">
            <a:extLst>
              <a:ext uri="{FF2B5EF4-FFF2-40B4-BE49-F238E27FC236}">
                <a16:creationId xmlns:a16="http://schemas.microsoft.com/office/drawing/2014/main" id="{9CEDDFA4-FC10-8A42-8A54-2D5C081D05D5}"/>
              </a:ext>
            </a:extLst>
          </p:cNvPr>
          <p:cNvSpPr/>
          <p:nvPr/>
        </p:nvSpPr>
        <p:spPr>
          <a:xfrm>
            <a:off x="5662482" y="4256353"/>
            <a:ext cx="876086" cy="523084"/>
          </a:xfrm>
          <a:prstGeom prst="rect">
            <a:avLst/>
          </a:prstGeom>
        </p:spPr>
        <p:txBody>
          <a:bodyPr wrap="square" anchor="ctr">
            <a:spAutoFit/>
          </a:bodyPr>
          <a:lstStyle/>
          <a:p>
            <a:pPr algn="ctr" defTabSz="456926">
              <a:defRPr/>
            </a:pPr>
            <a:r>
              <a:rPr lang="en-US" sz="1400">
                <a:latin typeface="Roboto"/>
                <a:cs typeface="Arial" panose="020B0604020202020204" pitchFamily="34" charset="0"/>
                <a:sym typeface="Arial" panose="020B0604020202020204" pitchFamily="34" charset="0"/>
              </a:rPr>
              <a:t>Data</a:t>
            </a:r>
            <a:br>
              <a:rPr lang="en-US" sz="1400">
                <a:latin typeface="Roboto"/>
                <a:cs typeface="Arial" panose="020B0604020202020204" pitchFamily="34" charset="0"/>
                <a:sym typeface="Arial" panose="020B0604020202020204" pitchFamily="34" charset="0"/>
              </a:rPr>
            </a:br>
            <a:r>
              <a:rPr lang="en-US" sz="1400">
                <a:latin typeface="Roboto"/>
                <a:cs typeface="Arial" panose="020B0604020202020204" pitchFamily="34" charset="0"/>
                <a:sym typeface="Arial" panose="020B0604020202020204" pitchFamily="34" charset="0"/>
              </a:rPr>
              <a:t>Masking</a:t>
            </a:r>
            <a:endParaRPr lang="en-US" sz="1400">
              <a:latin typeface="Roboto"/>
            </a:endParaRPr>
          </a:p>
        </p:txBody>
      </p:sp>
      <p:sp>
        <p:nvSpPr>
          <p:cNvPr id="86" name="Rectangle 85">
            <a:extLst>
              <a:ext uri="{FF2B5EF4-FFF2-40B4-BE49-F238E27FC236}">
                <a16:creationId xmlns:a16="http://schemas.microsoft.com/office/drawing/2014/main" id="{A67DFAAB-05EA-8E45-8C9B-E246E4015940}"/>
              </a:ext>
            </a:extLst>
          </p:cNvPr>
          <p:cNvSpPr/>
          <p:nvPr/>
        </p:nvSpPr>
        <p:spPr>
          <a:xfrm>
            <a:off x="3099338" y="4225586"/>
            <a:ext cx="868189" cy="584623"/>
          </a:xfrm>
          <a:prstGeom prst="rect">
            <a:avLst/>
          </a:prstGeom>
        </p:spPr>
        <p:txBody>
          <a:bodyPr wrap="square" anchor="ctr">
            <a:spAutoFit/>
          </a:bodyPr>
          <a:lstStyle/>
          <a:p>
            <a:pPr algn="ctr" defTabSz="456926">
              <a:defRPr/>
            </a:pPr>
            <a:r>
              <a:rPr lang="en-US" sz="1600">
                <a:latin typeface="Roboto"/>
                <a:cs typeface="Arial" panose="020B0604020202020204" pitchFamily="34" charset="0"/>
                <a:sym typeface="Arial" panose="020B0604020202020204" pitchFamily="34" charset="0"/>
              </a:rPr>
              <a:t>API &amp; App</a:t>
            </a:r>
            <a:endParaRPr lang="en-US" sz="1600">
              <a:latin typeface="Roboto"/>
            </a:endParaRPr>
          </a:p>
        </p:txBody>
      </p:sp>
      <p:sp>
        <p:nvSpPr>
          <p:cNvPr id="87" name="Rectangle 86">
            <a:extLst>
              <a:ext uri="{FF2B5EF4-FFF2-40B4-BE49-F238E27FC236}">
                <a16:creationId xmlns:a16="http://schemas.microsoft.com/office/drawing/2014/main" id="{7D0A6EB7-A6D1-974E-BA2E-5E720506A47F}"/>
              </a:ext>
            </a:extLst>
          </p:cNvPr>
          <p:cNvSpPr/>
          <p:nvPr/>
        </p:nvSpPr>
        <p:spPr>
          <a:xfrm>
            <a:off x="3951224" y="4348662"/>
            <a:ext cx="862489" cy="338466"/>
          </a:xfrm>
          <a:prstGeom prst="rect">
            <a:avLst/>
          </a:prstGeom>
        </p:spPr>
        <p:txBody>
          <a:bodyPr wrap="square" anchor="ctr">
            <a:spAutoFit/>
          </a:bodyPr>
          <a:lstStyle/>
          <a:p>
            <a:pPr algn="ctr" defTabSz="456926">
              <a:defRPr/>
            </a:pPr>
            <a:r>
              <a:rPr lang="en-US" sz="1600">
                <a:latin typeface="Roboto"/>
                <a:cs typeface="Arial" panose="020B0604020202020204" pitchFamily="34" charset="0"/>
                <a:sym typeface="Arial" panose="020B0604020202020204" pitchFamily="34" charset="0"/>
              </a:rPr>
              <a:t>CDQ</a:t>
            </a:r>
            <a:endParaRPr lang="en-US" sz="1600">
              <a:latin typeface="Roboto"/>
            </a:endParaRPr>
          </a:p>
        </p:txBody>
      </p:sp>
      <p:sp>
        <p:nvSpPr>
          <p:cNvPr id="88" name="Rectangle 87">
            <a:extLst>
              <a:ext uri="{FF2B5EF4-FFF2-40B4-BE49-F238E27FC236}">
                <a16:creationId xmlns:a16="http://schemas.microsoft.com/office/drawing/2014/main" id="{82D911AA-A642-2747-8540-EB7359F1E12B}"/>
              </a:ext>
            </a:extLst>
          </p:cNvPr>
          <p:cNvSpPr/>
          <p:nvPr/>
        </p:nvSpPr>
        <p:spPr>
          <a:xfrm>
            <a:off x="8241214" y="4148659"/>
            <a:ext cx="832257" cy="738472"/>
          </a:xfrm>
          <a:prstGeom prst="rect">
            <a:avLst/>
          </a:prstGeom>
        </p:spPr>
        <p:txBody>
          <a:bodyPr wrap="square" anchor="ctr">
            <a:spAutoFit/>
          </a:bodyPr>
          <a:lstStyle/>
          <a:p>
            <a:pPr algn="ctr" defTabSz="456926">
              <a:defRPr/>
            </a:pPr>
            <a:r>
              <a:rPr lang="en-US" sz="1400">
                <a:latin typeface="Roboto"/>
                <a:cs typeface="Arial" panose="020B0604020202020204" pitchFamily="34" charset="0"/>
                <a:sym typeface="Arial" panose="020B0604020202020204" pitchFamily="34" charset="0"/>
              </a:rPr>
              <a:t>Mass Ingest Stream</a:t>
            </a:r>
            <a:endParaRPr lang="en-US" sz="1400">
              <a:latin typeface="Roboto"/>
            </a:endParaRPr>
          </a:p>
        </p:txBody>
      </p:sp>
      <p:sp>
        <p:nvSpPr>
          <p:cNvPr id="89" name="Rectangle 88">
            <a:extLst>
              <a:ext uri="{FF2B5EF4-FFF2-40B4-BE49-F238E27FC236}">
                <a16:creationId xmlns:a16="http://schemas.microsoft.com/office/drawing/2014/main" id="{E17F4029-68B2-9D47-A131-C6EFB5E36C7D}"/>
              </a:ext>
            </a:extLst>
          </p:cNvPr>
          <p:cNvSpPr/>
          <p:nvPr/>
        </p:nvSpPr>
        <p:spPr>
          <a:xfrm>
            <a:off x="7373384" y="4102507"/>
            <a:ext cx="858127" cy="830781"/>
          </a:xfrm>
          <a:prstGeom prst="rect">
            <a:avLst/>
          </a:prstGeom>
        </p:spPr>
        <p:txBody>
          <a:bodyPr wrap="square" anchor="ctr">
            <a:spAutoFit/>
          </a:bodyPr>
          <a:lstStyle/>
          <a:p>
            <a:pPr algn="ctr" defTabSz="456926">
              <a:defRPr/>
            </a:pPr>
            <a:r>
              <a:rPr lang="en-US" sz="1600">
                <a:latin typeface="Roboto"/>
                <a:cs typeface="Arial" panose="020B0604020202020204" pitchFamily="34" charset="0"/>
                <a:sym typeface="Arial" panose="020B0604020202020204" pitchFamily="34" charset="0"/>
              </a:rPr>
              <a:t>Mass Ingest DB</a:t>
            </a:r>
            <a:endParaRPr lang="en-US" sz="1600">
              <a:latin typeface="Roboto"/>
            </a:endParaRPr>
          </a:p>
        </p:txBody>
      </p:sp>
      <p:sp>
        <p:nvSpPr>
          <p:cNvPr id="90" name="Rectangle 89">
            <a:extLst>
              <a:ext uri="{FF2B5EF4-FFF2-40B4-BE49-F238E27FC236}">
                <a16:creationId xmlns:a16="http://schemas.microsoft.com/office/drawing/2014/main" id="{48D6AA63-494D-954E-B450-BE18752DCCC5}"/>
              </a:ext>
            </a:extLst>
          </p:cNvPr>
          <p:cNvSpPr/>
          <p:nvPr/>
        </p:nvSpPr>
        <p:spPr>
          <a:xfrm>
            <a:off x="6513805" y="4225586"/>
            <a:ext cx="859576" cy="584623"/>
          </a:xfrm>
          <a:prstGeom prst="rect">
            <a:avLst/>
          </a:prstGeom>
        </p:spPr>
        <p:txBody>
          <a:bodyPr wrap="square" anchor="ctr">
            <a:spAutoFit/>
          </a:bodyPr>
          <a:lstStyle/>
          <a:p>
            <a:pPr algn="ctr" defTabSz="456926">
              <a:defRPr/>
            </a:pPr>
            <a:r>
              <a:rPr lang="en-US" sz="1600">
                <a:latin typeface="Roboto"/>
                <a:cs typeface="Arial" panose="020B0604020202020204" pitchFamily="34" charset="0"/>
                <a:sym typeface="Arial" panose="020B0604020202020204" pitchFamily="34" charset="0"/>
              </a:rPr>
              <a:t>Mass</a:t>
            </a:r>
          </a:p>
          <a:p>
            <a:pPr algn="ctr" defTabSz="456926">
              <a:defRPr/>
            </a:pPr>
            <a:r>
              <a:rPr lang="en-US" sz="1600">
                <a:latin typeface="Roboto"/>
                <a:cs typeface="Arial" panose="020B0604020202020204" pitchFamily="34" charset="0"/>
                <a:sym typeface="Arial" panose="020B0604020202020204" pitchFamily="34" charset="0"/>
              </a:rPr>
              <a:t>Ingest</a:t>
            </a:r>
            <a:endParaRPr lang="en-US" sz="1600">
              <a:latin typeface="Roboto"/>
            </a:endParaRPr>
          </a:p>
        </p:txBody>
      </p:sp>
      <p:sp>
        <p:nvSpPr>
          <p:cNvPr id="91" name="Rectangle 90">
            <a:extLst>
              <a:ext uri="{FF2B5EF4-FFF2-40B4-BE49-F238E27FC236}">
                <a16:creationId xmlns:a16="http://schemas.microsoft.com/office/drawing/2014/main" id="{2B795CC9-0ED1-1A41-9B47-F4209865A077}"/>
              </a:ext>
            </a:extLst>
          </p:cNvPr>
          <p:cNvSpPr/>
          <p:nvPr/>
        </p:nvSpPr>
        <p:spPr>
          <a:xfrm>
            <a:off x="1414126" y="4225586"/>
            <a:ext cx="850758" cy="584623"/>
          </a:xfrm>
          <a:prstGeom prst="rect">
            <a:avLst/>
          </a:prstGeom>
        </p:spPr>
        <p:txBody>
          <a:bodyPr wrap="square" anchor="ctr">
            <a:spAutoFit/>
          </a:bodyPr>
          <a:lstStyle/>
          <a:p>
            <a:pPr algn="ctr" defTabSz="456926">
              <a:defRPr/>
            </a:pPr>
            <a:r>
              <a:rPr lang="en-US" sz="1600">
                <a:latin typeface="Roboto"/>
                <a:cs typeface="Arial" panose="020B0604020202020204" pitchFamily="34" charset="0"/>
                <a:sym typeface="Arial" panose="020B0604020202020204" pitchFamily="34" charset="0"/>
              </a:rPr>
              <a:t>CDI</a:t>
            </a:r>
            <a:br>
              <a:rPr lang="en-US" sz="1600">
                <a:latin typeface="Roboto"/>
                <a:cs typeface="Arial" panose="020B0604020202020204" pitchFamily="34" charset="0"/>
                <a:sym typeface="Arial" panose="020B0604020202020204" pitchFamily="34" charset="0"/>
              </a:rPr>
            </a:br>
            <a:r>
              <a:rPr lang="en-US" sz="1600">
                <a:latin typeface="Roboto"/>
                <a:cs typeface="Arial" panose="020B0604020202020204" pitchFamily="34" charset="0"/>
                <a:sym typeface="Arial" panose="020B0604020202020204" pitchFamily="34" charset="0"/>
              </a:rPr>
              <a:t>Elastic</a:t>
            </a:r>
            <a:endParaRPr lang="en-US" sz="1600">
              <a:latin typeface="Roboto"/>
            </a:endParaRPr>
          </a:p>
        </p:txBody>
      </p:sp>
      <p:sp>
        <p:nvSpPr>
          <p:cNvPr id="92" name="Rectangle 91">
            <a:extLst>
              <a:ext uri="{FF2B5EF4-FFF2-40B4-BE49-F238E27FC236}">
                <a16:creationId xmlns:a16="http://schemas.microsoft.com/office/drawing/2014/main" id="{3ABBD770-26F8-894C-86D9-9A9145F6B313}"/>
              </a:ext>
            </a:extLst>
          </p:cNvPr>
          <p:cNvSpPr/>
          <p:nvPr/>
        </p:nvSpPr>
        <p:spPr>
          <a:xfrm>
            <a:off x="555466" y="4348662"/>
            <a:ext cx="851512" cy="338466"/>
          </a:xfrm>
          <a:prstGeom prst="rect">
            <a:avLst/>
          </a:prstGeom>
        </p:spPr>
        <p:txBody>
          <a:bodyPr wrap="square" anchor="ctr">
            <a:spAutoFit/>
          </a:bodyPr>
          <a:lstStyle/>
          <a:p>
            <a:pPr algn="ctr" defTabSz="456926">
              <a:defRPr/>
            </a:pPr>
            <a:r>
              <a:rPr lang="en-US" sz="1600">
                <a:latin typeface="Roboto"/>
                <a:cs typeface="Arial" panose="020B0604020202020204" pitchFamily="34" charset="0"/>
                <a:sym typeface="Arial" panose="020B0604020202020204" pitchFamily="34" charset="0"/>
              </a:rPr>
              <a:t>CDI</a:t>
            </a:r>
            <a:endParaRPr lang="en-US" sz="1600">
              <a:latin typeface="Roboto"/>
            </a:endParaRPr>
          </a:p>
        </p:txBody>
      </p:sp>
      <p:sp>
        <p:nvSpPr>
          <p:cNvPr id="93" name="Rectangle: Rounded Corners 46">
            <a:extLst>
              <a:ext uri="{FF2B5EF4-FFF2-40B4-BE49-F238E27FC236}">
                <a16:creationId xmlns:a16="http://schemas.microsoft.com/office/drawing/2014/main" id="{21C20E00-848A-7B45-B5BE-5792C52434BB}"/>
              </a:ext>
            </a:extLst>
          </p:cNvPr>
          <p:cNvSpPr/>
          <p:nvPr/>
        </p:nvSpPr>
        <p:spPr>
          <a:xfrm>
            <a:off x="666986" y="5872696"/>
            <a:ext cx="11074527" cy="365492"/>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37052" tIns="91368" rIns="137052" bIns="91368" rtlCol="0" anchor="ctr"/>
          <a:lstStyle/>
          <a:p>
            <a:pPr algn="ctr" defTabSz="456789">
              <a:defRPr/>
            </a:pPr>
            <a:r>
              <a:rPr lang="en-US" sz="1600">
                <a:solidFill>
                  <a:schemeClr val="tx1"/>
                </a:solidFill>
                <a:latin typeface="Roboto Lt"/>
                <a:ea typeface="Roboto" charset="0"/>
                <a:cs typeface="Roboto" charset="0"/>
              </a:rPr>
              <a:t>IPUs</a:t>
            </a:r>
          </a:p>
        </p:txBody>
      </p:sp>
      <p:sp>
        <p:nvSpPr>
          <p:cNvPr id="94" name="Rectangle: Rounded Corners 46">
            <a:extLst>
              <a:ext uri="{FF2B5EF4-FFF2-40B4-BE49-F238E27FC236}">
                <a16:creationId xmlns:a16="http://schemas.microsoft.com/office/drawing/2014/main" id="{E72A2162-6BB3-8D40-8AD3-31CE77BA69DA}"/>
              </a:ext>
            </a:extLst>
          </p:cNvPr>
          <p:cNvSpPr/>
          <p:nvPr/>
        </p:nvSpPr>
        <p:spPr>
          <a:xfrm>
            <a:off x="576286" y="5434586"/>
            <a:ext cx="6028964" cy="365492"/>
          </a:xfrm>
          <a:prstGeom prst="roundRect">
            <a:avLst/>
          </a:prstGeom>
          <a:solidFill>
            <a:schemeClr val="bg2"/>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37052" tIns="91368" rIns="137052" bIns="91368" rtlCol="0" anchor="ctr"/>
          <a:lstStyle/>
          <a:p>
            <a:pPr algn="ctr" defTabSz="456789">
              <a:defRPr/>
            </a:pPr>
            <a:r>
              <a:rPr lang="en-US" sz="1400">
                <a:solidFill>
                  <a:schemeClr val="tx1"/>
                </a:solidFill>
                <a:latin typeface="Roboto Lt"/>
                <a:ea typeface="Roboto" charset="0"/>
                <a:cs typeface="Roboto" charset="0"/>
              </a:rPr>
              <a:t>Compute Hours</a:t>
            </a:r>
          </a:p>
        </p:txBody>
      </p:sp>
      <p:sp>
        <p:nvSpPr>
          <p:cNvPr id="95" name="Rectangle: Rounded Corners 46">
            <a:extLst>
              <a:ext uri="{FF2B5EF4-FFF2-40B4-BE49-F238E27FC236}">
                <a16:creationId xmlns:a16="http://schemas.microsoft.com/office/drawing/2014/main" id="{487AA7C9-AFB0-B144-989E-3C034DF0C64E}"/>
              </a:ext>
            </a:extLst>
          </p:cNvPr>
          <p:cNvSpPr/>
          <p:nvPr/>
        </p:nvSpPr>
        <p:spPr>
          <a:xfrm>
            <a:off x="9095569" y="5434586"/>
            <a:ext cx="1663560" cy="365492"/>
          </a:xfrm>
          <a:prstGeom prst="roundRect">
            <a:avLst/>
          </a:prstGeom>
          <a:solidFill>
            <a:schemeClr val="bg2"/>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37052" tIns="91368" rIns="137052" bIns="91368" rtlCol="0" anchor="ctr"/>
          <a:lstStyle/>
          <a:p>
            <a:pPr algn="ctr" defTabSz="456789">
              <a:defRPr/>
            </a:pPr>
            <a:r>
              <a:rPr lang="en-US" sz="1400">
                <a:solidFill>
                  <a:schemeClr val="tx1"/>
                </a:solidFill>
                <a:latin typeface="Roboto Lt"/>
                <a:ea typeface="Roboto" charset="0"/>
                <a:cs typeface="Roboto" charset="0"/>
              </a:rPr>
              <a:t>Rows Processed</a:t>
            </a:r>
          </a:p>
        </p:txBody>
      </p:sp>
      <p:sp>
        <p:nvSpPr>
          <p:cNvPr id="96" name="Rectangle: Rounded Corners 46">
            <a:extLst>
              <a:ext uri="{FF2B5EF4-FFF2-40B4-BE49-F238E27FC236}">
                <a16:creationId xmlns:a16="http://schemas.microsoft.com/office/drawing/2014/main" id="{1451F825-C050-C448-8784-762FC2DB9B4D}"/>
              </a:ext>
            </a:extLst>
          </p:cNvPr>
          <p:cNvSpPr/>
          <p:nvPr/>
        </p:nvSpPr>
        <p:spPr>
          <a:xfrm>
            <a:off x="10800767" y="5434586"/>
            <a:ext cx="866724" cy="345523"/>
          </a:xfrm>
          <a:prstGeom prst="roundRect">
            <a:avLst/>
          </a:prstGeom>
          <a:solidFill>
            <a:schemeClr val="bg2"/>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37052" tIns="91368" rIns="137052" bIns="91368" rtlCol="0" anchor="ctr"/>
          <a:lstStyle/>
          <a:p>
            <a:pPr algn="ctr" defTabSz="456789">
              <a:defRPr/>
            </a:pPr>
            <a:r>
              <a:rPr lang="en-US" sz="1400" dirty="0">
                <a:solidFill>
                  <a:schemeClr val="tx1"/>
                </a:solidFill>
                <a:latin typeface="Roboto Lt"/>
                <a:ea typeface="Roboto" charset="0"/>
                <a:cs typeface="Roboto" charset="0"/>
              </a:rPr>
              <a:t>Events</a:t>
            </a:r>
          </a:p>
        </p:txBody>
      </p:sp>
      <p:sp>
        <p:nvSpPr>
          <p:cNvPr id="97" name="Rectangle: Rounded Corners 46">
            <a:extLst>
              <a:ext uri="{FF2B5EF4-FFF2-40B4-BE49-F238E27FC236}">
                <a16:creationId xmlns:a16="http://schemas.microsoft.com/office/drawing/2014/main" id="{98DAE18A-5E83-F14F-9BEF-6573FFF8102A}"/>
              </a:ext>
            </a:extLst>
          </p:cNvPr>
          <p:cNvSpPr/>
          <p:nvPr/>
        </p:nvSpPr>
        <p:spPr>
          <a:xfrm>
            <a:off x="6648166" y="5434586"/>
            <a:ext cx="2405762" cy="365492"/>
          </a:xfrm>
          <a:prstGeom prst="roundRect">
            <a:avLst/>
          </a:prstGeom>
          <a:solidFill>
            <a:schemeClr val="bg2"/>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37052" tIns="91368" rIns="137052" bIns="91368" rtlCol="0" anchor="ctr"/>
          <a:lstStyle/>
          <a:p>
            <a:pPr algn="ctr" defTabSz="456789">
              <a:defRPr/>
            </a:pPr>
            <a:r>
              <a:rPr lang="en-US" sz="1400">
                <a:solidFill>
                  <a:schemeClr val="tx1"/>
                </a:solidFill>
                <a:latin typeface="Roboto Lt"/>
                <a:ea typeface="Roboto" charset="0"/>
                <a:cs typeface="Roboto" charset="0"/>
              </a:rPr>
              <a:t>Data Volume</a:t>
            </a:r>
          </a:p>
        </p:txBody>
      </p:sp>
      <p:cxnSp>
        <p:nvCxnSpPr>
          <p:cNvPr id="98" name="Straight Connector 97">
            <a:extLst>
              <a:ext uri="{FF2B5EF4-FFF2-40B4-BE49-F238E27FC236}">
                <a16:creationId xmlns:a16="http://schemas.microsoft.com/office/drawing/2014/main" id="{2C613099-9B5A-254F-B627-34311F208333}"/>
              </a:ext>
            </a:extLst>
          </p:cNvPr>
          <p:cNvCxnSpPr>
            <a:cxnSpLocks/>
          </p:cNvCxnSpPr>
          <p:nvPr/>
        </p:nvCxnSpPr>
        <p:spPr>
          <a:xfrm>
            <a:off x="2265448" y="4144843"/>
            <a:ext cx="0" cy="72693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9" name="Rectangle 98">
            <a:extLst>
              <a:ext uri="{FF2B5EF4-FFF2-40B4-BE49-F238E27FC236}">
                <a16:creationId xmlns:a16="http://schemas.microsoft.com/office/drawing/2014/main" id="{75B77983-6A9B-D446-94D9-8AE6E7AD8666}"/>
              </a:ext>
            </a:extLst>
          </p:cNvPr>
          <p:cNvSpPr/>
          <p:nvPr/>
        </p:nvSpPr>
        <p:spPr>
          <a:xfrm>
            <a:off x="2258301" y="4302509"/>
            <a:ext cx="852773" cy="430775"/>
          </a:xfrm>
          <a:prstGeom prst="rect">
            <a:avLst/>
          </a:prstGeom>
        </p:spPr>
        <p:txBody>
          <a:bodyPr wrap="square" anchor="ctr">
            <a:spAutoFit/>
          </a:bodyPr>
          <a:lstStyle/>
          <a:p>
            <a:pPr algn="ctr" defTabSz="456926">
              <a:defRPr/>
            </a:pPr>
            <a:r>
              <a:rPr lang="en-US" sz="1050">
                <a:latin typeface="Roboto"/>
                <a:cs typeface="Arial" panose="020B0604020202020204" pitchFamily="34" charset="0"/>
                <a:sym typeface="Arial" panose="020B0604020202020204" pitchFamily="34" charset="0"/>
              </a:rPr>
              <a:t>CDI</a:t>
            </a:r>
            <a:br>
              <a:rPr lang="en-US" sz="1050">
                <a:latin typeface="Roboto"/>
                <a:cs typeface="Arial" panose="020B0604020202020204" pitchFamily="34" charset="0"/>
                <a:sym typeface="Arial" panose="020B0604020202020204" pitchFamily="34" charset="0"/>
              </a:rPr>
            </a:br>
            <a:r>
              <a:rPr lang="en-US" sz="1050">
                <a:latin typeface="Roboto"/>
                <a:cs typeface="Arial" panose="020B0604020202020204" pitchFamily="34" charset="0"/>
                <a:sym typeface="Arial" panose="020B0604020202020204" pitchFamily="34" charset="0"/>
              </a:rPr>
              <a:t>Serverless</a:t>
            </a:r>
            <a:endParaRPr lang="en-US" sz="1050">
              <a:latin typeface="Roboto"/>
            </a:endParaRPr>
          </a:p>
        </p:txBody>
      </p:sp>
      <p:cxnSp>
        <p:nvCxnSpPr>
          <p:cNvPr id="100" name="Straight Connector 99">
            <a:extLst>
              <a:ext uri="{FF2B5EF4-FFF2-40B4-BE49-F238E27FC236}">
                <a16:creationId xmlns:a16="http://schemas.microsoft.com/office/drawing/2014/main" id="{2AA84793-3741-814E-82E8-AEC6CDEF2506}"/>
              </a:ext>
            </a:extLst>
          </p:cNvPr>
          <p:cNvCxnSpPr>
            <a:cxnSpLocks/>
          </p:cNvCxnSpPr>
          <p:nvPr/>
        </p:nvCxnSpPr>
        <p:spPr>
          <a:xfrm>
            <a:off x="5670737" y="4144843"/>
            <a:ext cx="0" cy="72693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1" name="Rectangle 100">
            <a:extLst>
              <a:ext uri="{FF2B5EF4-FFF2-40B4-BE49-F238E27FC236}">
                <a16:creationId xmlns:a16="http://schemas.microsoft.com/office/drawing/2014/main" id="{AFDC8085-8D40-324E-8268-65668C06E26B}"/>
              </a:ext>
            </a:extLst>
          </p:cNvPr>
          <p:cNvSpPr/>
          <p:nvPr/>
        </p:nvSpPr>
        <p:spPr>
          <a:xfrm>
            <a:off x="4807677" y="4348662"/>
            <a:ext cx="868760" cy="338466"/>
          </a:xfrm>
          <a:prstGeom prst="rect">
            <a:avLst/>
          </a:prstGeom>
        </p:spPr>
        <p:txBody>
          <a:bodyPr wrap="square" anchor="ctr">
            <a:spAutoFit/>
          </a:bodyPr>
          <a:lstStyle/>
          <a:p>
            <a:pPr algn="ctr" defTabSz="456926">
              <a:defRPr/>
            </a:pPr>
            <a:r>
              <a:rPr lang="en-US" sz="1600">
                <a:latin typeface="Roboto"/>
                <a:cs typeface="Arial" panose="020B0604020202020204" pitchFamily="34" charset="0"/>
                <a:sym typeface="Arial" panose="020B0604020202020204" pitchFamily="34" charset="0"/>
              </a:rPr>
              <a:t>B2B</a:t>
            </a:r>
            <a:endParaRPr lang="en-US" sz="1600">
              <a:latin typeface="Roboto"/>
            </a:endParaRPr>
          </a:p>
        </p:txBody>
      </p:sp>
      <p:cxnSp>
        <p:nvCxnSpPr>
          <p:cNvPr id="102" name="Straight Connector 101">
            <a:extLst>
              <a:ext uri="{FF2B5EF4-FFF2-40B4-BE49-F238E27FC236}">
                <a16:creationId xmlns:a16="http://schemas.microsoft.com/office/drawing/2014/main" id="{FB2FB3B8-7E93-8B4A-A2AE-8D3BC4A06A9F}"/>
              </a:ext>
            </a:extLst>
          </p:cNvPr>
          <p:cNvCxnSpPr>
            <a:cxnSpLocks/>
          </p:cNvCxnSpPr>
          <p:nvPr/>
        </p:nvCxnSpPr>
        <p:spPr>
          <a:xfrm>
            <a:off x="10778671" y="4144843"/>
            <a:ext cx="0" cy="72693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3AF97F32-E4B2-7347-B0A5-9828A123DF36}"/>
              </a:ext>
            </a:extLst>
          </p:cNvPr>
          <p:cNvCxnSpPr>
            <a:cxnSpLocks/>
          </p:cNvCxnSpPr>
          <p:nvPr/>
        </p:nvCxnSpPr>
        <p:spPr>
          <a:xfrm>
            <a:off x="9927349" y="4144843"/>
            <a:ext cx="0" cy="72693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4" name="Rectangle 103">
            <a:extLst>
              <a:ext uri="{FF2B5EF4-FFF2-40B4-BE49-F238E27FC236}">
                <a16:creationId xmlns:a16="http://schemas.microsoft.com/office/drawing/2014/main" id="{A177CC47-F93C-9947-B2EE-8090FA03DBAD}"/>
              </a:ext>
            </a:extLst>
          </p:cNvPr>
          <p:cNvSpPr/>
          <p:nvPr/>
        </p:nvSpPr>
        <p:spPr>
          <a:xfrm>
            <a:off x="9066322" y="4348662"/>
            <a:ext cx="869282" cy="338466"/>
          </a:xfrm>
          <a:prstGeom prst="rect">
            <a:avLst/>
          </a:prstGeom>
        </p:spPr>
        <p:txBody>
          <a:bodyPr wrap="square" anchor="ctr">
            <a:spAutoFit/>
          </a:bodyPr>
          <a:lstStyle/>
          <a:p>
            <a:pPr algn="ctr" defTabSz="456926">
              <a:defRPr/>
            </a:pPr>
            <a:r>
              <a:rPr lang="en-US" sz="1600">
                <a:latin typeface="Roboto"/>
                <a:cs typeface="Arial" panose="020B0604020202020204" pitchFamily="34" charset="0"/>
                <a:sym typeface="Arial" panose="020B0604020202020204" pitchFamily="34" charset="0"/>
              </a:rPr>
              <a:t>APDO</a:t>
            </a:r>
            <a:endParaRPr lang="en-US" sz="1600">
              <a:latin typeface="Roboto"/>
            </a:endParaRPr>
          </a:p>
        </p:txBody>
      </p:sp>
      <p:sp>
        <p:nvSpPr>
          <p:cNvPr id="105" name="Rectangle 104">
            <a:extLst>
              <a:ext uri="{FF2B5EF4-FFF2-40B4-BE49-F238E27FC236}">
                <a16:creationId xmlns:a16="http://schemas.microsoft.com/office/drawing/2014/main" id="{8A10BFFE-0494-8440-A1A9-8571C9BDE57F}"/>
              </a:ext>
            </a:extLst>
          </p:cNvPr>
          <p:cNvSpPr/>
          <p:nvPr/>
        </p:nvSpPr>
        <p:spPr>
          <a:xfrm>
            <a:off x="9927350" y="4348662"/>
            <a:ext cx="843067" cy="338466"/>
          </a:xfrm>
          <a:prstGeom prst="rect">
            <a:avLst/>
          </a:prstGeom>
        </p:spPr>
        <p:txBody>
          <a:bodyPr wrap="square" anchor="ctr">
            <a:spAutoFit/>
          </a:bodyPr>
          <a:lstStyle/>
          <a:p>
            <a:pPr algn="ctr" defTabSz="456926">
              <a:defRPr/>
            </a:pPr>
            <a:r>
              <a:rPr lang="en-US" sz="1600">
                <a:latin typeface="Roboto"/>
                <a:cs typeface="Arial" panose="020B0604020202020204" pitchFamily="34" charset="0"/>
                <a:sym typeface="Arial" panose="020B0604020202020204" pitchFamily="34" charset="0"/>
              </a:rPr>
              <a:t>CDC</a:t>
            </a:r>
            <a:endParaRPr lang="en-US" sz="1600">
              <a:latin typeface="Roboto"/>
            </a:endParaRPr>
          </a:p>
        </p:txBody>
      </p:sp>
      <p:sp>
        <p:nvSpPr>
          <p:cNvPr id="106" name="TextBox 105">
            <a:extLst>
              <a:ext uri="{FF2B5EF4-FFF2-40B4-BE49-F238E27FC236}">
                <a16:creationId xmlns:a16="http://schemas.microsoft.com/office/drawing/2014/main" id="{660AB492-44D6-3940-B229-670FF9FD7003}"/>
              </a:ext>
            </a:extLst>
          </p:cNvPr>
          <p:cNvSpPr txBox="1"/>
          <p:nvPr/>
        </p:nvSpPr>
        <p:spPr>
          <a:xfrm>
            <a:off x="-226469" y="4662788"/>
            <a:ext cx="0" cy="0"/>
          </a:xfrm>
          <a:prstGeom prst="rect">
            <a:avLst/>
          </a:prstGeom>
          <a:noFill/>
        </p:spPr>
        <p:txBody>
          <a:bodyPr wrap="none" lIns="0" tIns="0" rIns="0" bIns="0" rtlCol="0">
            <a:noAutofit/>
          </a:bodyPr>
          <a:lstStyle/>
          <a:p>
            <a:pPr defTabSz="456926">
              <a:lnSpc>
                <a:spcPct val="90000"/>
              </a:lnSpc>
              <a:spcAft>
                <a:spcPts val="1000"/>
              </a:spcAft>
              <a:defRPr/>
            </a:pPr>
            <a:endParaRPr lang="en-US" sz="1998">
              <a:latin typeface="Roboto" charset="0"/>
              <a:ea typeface="Roboto" charset="0"/>
              <a:cs typeface="Roboto" charset="0"/>
            </a:endParaRPr>
          </a:p>
        </p:txBody>
      </p:sp>
      <p:sp>
        <p:nvSpPr>
          <p:cNvPr id="107" name="Rounded Rectangle 32">
            <a:extLst>
              <a:ext uri="{FF2B5EF4-FFF2-40B4-BE49-F238E27FC236}">
                <a16:creationId xmlns:a16="http://schemas.microsoft.com/office/drawing/2014/main" id="{ABCFCA3A-DE6B-4106-8B23-65604CB4BE11}"/>
              </a:ext>
            </a:extLst>
          </p:cNvPr>
          <p:cNvSpPr/>
          <p:nvPr/>
        </p:nvSpPr>
        <p:spPr>
          <a:xfrm>
            <a:off x="401592" y="847818"/>
            <a:ext cx="11683509" cy="2502618"/>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37088" tIns="91392" rIns="137088" bIns="91392" rtlCol="0" anchor="ctr"/>
          <a:lstStyle/>
          <a:p>
            <a:pPr algn="ctr" defTabSz="913852">
              <a:defRPr/>
            </a:pPr>
            <a:endParaRPr lang="en-US" sz="1798">
              <a:solidFill>
                <a:srgbClr val="FFFFFF"/>
              </a:solidFill>
              <a:latin typeface="Roboto" charset="0"/>
              <a:ea typeface="Roboto" charset="0"/>
              <a:cs typeface="Roboto" charset="0"/>
            </a:endParaRPr>
          </a:p>
        </p:txBody>
      </p:sp>
    </p:spTree>
    <p:extLst>
      <p:ext uri="{BB962C8B-B14F-4D97-AF65-F5344CB8AC3E}">
        <p14:creationId xmlns:p14="http://schemas.microsoft.com/office/powerpoint/2010/main" val="4109042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A04D7-7DBA-4B47-95AC-90C63F1374A5}"/>
              </a:ext>
            </a:extLst>
          </p:cNvPr>
          <p:cNvSpPr>
            <a:spLocks noGrp="1"/>
          </p:cNvSpPr>
          <p:nvPr>
            <p:ph type="title"/>
          </p:nvPr>
        </p:nvSpPr>
        <p:spPr/>
        <p:txBody>
          <a:bodyPr/>
          <a:lstStyle/>
          <a:p>
            <a:r>
              <a:rPr lang="en-US" dirty="0"/>
              <a:t>Overage Protection</a:t>
            </a:r>
          </a:p>
        </p:txBody>
      </p:sp>
      <p:pic>
        <p:nvPicPr>
          <p:cNvPr id="4" name="Picture 3">
            <a:extLst>
              <a:ext uri="{FF2B5EF4-FFF2-40B4-BE49-F238E27FC236}">
                <a16:creationId xmlns:a16="http://schemas.microsoft.com/office/drawing/2014/main" id="{097BDE8C-E959-410E-96BE-7F566D66F52C}"/>
              </a:ext>
            </a:extLst>
          </p:cNvPr>
          <p:cNvPicPr>
            <a:picLocks noChangeAspect="1"/>
          </p:cNvPicPr>
          <p:nvPr/>
        </p:nvPicPr>
        <p:blipFill>
          <a:blip r:embed="rId2"/>
          <a:stretch>
            <a:fillRect/>
          </a:stretch>
        </p:blipFill>
        <p:spPr>
          <a:xfrm>
            <a:off x="1070919" y="1995210"/>
            <a:ext cx="10046986" cy="3202432"/>
          </a:xfrm>
          <a:prstGeom prst="rect">
            <a:avLst/>
          </a:prstGeom>
        </p:spPr>
      </p:pic>
    </p:spTree>
    <p:extLst>
      <p:ext uri="{BB962C8B-B14F-4D97-AF65-F5344CB8AC3E}">
        <p14:creationId xmlns:p14="http://schemas.microsoft.com/office/powerpoint/2010/main" val="2112345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Group 29"/>
          <p:cNvGrpSpPr/>
          <p:nvPr/>
        </p:nvGrpSpPr>
        <p:grpSpPr>
          <a:xfrm>
            <a:off x="1098711" y="1857109"/>
            <a:ext cx="9991403" cy="6177129"/>
            <a:chOff x="1855094" y="1856700"/>
            <a:chExt cx="9994006" cy="6178738"/>
          </a:xfrm>
        </p:grpSpPr>
        <p:sp>
          <p:nvSpPr>
            <p:cNvPr id="33" name="Moon 32"/>
            <p:cNvSpPr/>
            <p:nvPr/>
          </p:nvSpPr>
          <p:spPr>
            <a:xfrm rot="9684742">
              <a:off x="5728198" y="4256191"/>
              <a:ext cx="1344395" cy="3779247"/>
            </a:xfrm>
            <a:prstGeom prst="moon">
              <a:avLst>
                <a:gd name="adj" fmla="val 4221"/>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a:defRPr/>
              </a:pPr>
              <a:endParaRPr lang="en-US" sz="1799">
                <a:solidFill>
                  <a:srgbClr val="FFFFFF"/>
                </a:solidFill>
                <a:latin typeface="Roboto"/>
              </a:endParaRPr>
            </a:p>
          </p:txBody>
        </p:sp>
        <p:sp>
          <p:nvSpPr>
            <p:cNvPr id="32" name="Moon 31"/>
            <p:cNvSpPr/>
            <p:nvPr/>
          </p:nvSpPr>
          <p:spPr>
            <a:xfrm rot="2836462" flipH="1">
              <a:off x="5221353" y="3516260"/>
              <a:ext cx="1111245" cy="4622500"/>
            </a:xfrm>
            <a:prstGeom prst="moon">
              <a:avLst>
                <a:gd name="adj" fmla="val 422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a:defRPr/>
              </a:pPr>
              <a:endParaRPr lang="en-US" sz="1799">
                <a:solidFill>
                  <a:srgbClr val="FFFFFF"/>
                </a:solidFill>
                <a:latin typeface="Roboto"/>
              </a:endParaRPr>
            </a:p>
          </p:txBody>
        </p:sp>
        <p:sp>
          <p:nvSpPr>
            <p:cNvPr id="5" name="Moon 4"/>
            <p:cNvSpPr/>
            <p:nvPr/>
          </p:nvSpPr>
          <p:spPr>
            <a:xfrm rot="20459344">
              <a:off x="6818859" y="2457611"/>
              <a:ext cx="1704242" cy="4845430"/>
            </a:xfrm>
            <a:prstGeom prst="moon">
              <a:avLst>
                <a:gd name="adj" fmla="val 426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a:defRPr/>
              </a:pPr>
              <a:endParaRPr lang="en-US" sz="1799">
                <a:solidFill>
                  <a:srgbClr val="FFFFFF"/>
                </a:solidFill>
                <a:latin typeface="Roboto"/>
              </a:endParaRPr>
            </a:p>
          </p:txBody>
        </p:sp>
        <p:sp>
          <p:nvSpPr>
            <p:cNvPr id="2" name="Round Diagonal Corner Rectangle 1"/>
            <p:cNvSpPr/>
            <p:nvPr/>
          </p:nvSpPr>
          <p:spPr>
            <a:xfrm>
              <a:off x="6850719" y="1856700"/>
              <a:ext cx="1484090" cy="1363221"/>
            </a:xfrm>
            <a:prstGeom prst="round2DiagRect">
              <a:avLst>
                <a:gd name="adj1" fmla="val 50000"/>
                <a:gd name="adj2" fmla="val 0"/>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57150">
              <a:solidFill>
                <a:schemeClr val="accent2"/>
              </a:solidFill>
            </a:ln>
            <a:effectLst>
              <a:outerShdw blurRad="292100" dist="38100" dir="2700000" sx="103000" sy="103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a:defRPr/>
              </a:pPr>
              <a:endParaRPr lang="en-US" sz="1799">
                <a:solidFill>
                  <a:srgbClr val="FFFFFF"/>
                </a:solidFill>
                <a:latin typeface="Roboto"/>
              </a:endParaRPr>
            </a:p>
          </p:txBody>
        </p:sp>
        <p:sp>
          <p:nvSpPr>
            <p:cNvPr id="4" name="Round Diagonal Corner Rectangle 3"/>
            <p:cNvSpPr/>
            <p:nvPr/>
          </p:nvSpPr>
          <p:spPr>
            <a:xfrm>
              <a:off x="7023130" y="3503883"/>
              <a:ext cx="1514900" cy="1590593"/>
            </a:xfrm>
            <a:prstGeom prst="round2DiagRect">
              <a:avLst>
                <a:gd name="adj1" fmla="val 50000"/>
                <a:gd name="adj2" fmla="val 0"/>
              </a:avLst>
            </a:prstGeom>
            <a:gradFill flip="none" rotWithShape="1">
              <a:gsLst>
                <a:gs pos="0">
                  <a:schemeClr val="accent4">
                    <a:lumMod val="40000"/>
                    <a:lumOff val="60000"/>
                  </a:schemeClr>
                </a:gs>
                <a:gs pos="46000">
                  <a:schemeClr val="accent4">
                    <a:lumMod val="95000"/>
                    <a:lumOff val="5000"/>
                  </a:schemeClr>
                </a:gs>
                <a:gs pos="100000">
                  <a:schemeClr val="accent4">
                    <a:lumMod val="60000"/>
                  </a:schemeClr>
                </a:gs>
              </a:gsLst>
              <a:path path="circle">
                <a:fillToRect l="50000" t="130000" r="50000" b="-30000"/>
              </a:path>
              <a:tileRect/>
            </a:gradFill>
            <a:ln w="57150">
              <a:solidFill>
                <a:schemeClr val="accent4">
                  <a:lumMod val="75000"/>
                </a:schemeClr>
              </a:solidFill>
            </a:ln>
            <a:effectLst>
              <a:outerShdw blurRad="292100" dist="38100" dir="2700000" sx="103000" sy="103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a:defRPr/>
              </a:pPr>
              <a:endParaRPr lang="en-US" sz="1799">
                <a:solidFill>
                  <a:srgbClr val="FFFFFF"/>
                </a:solidFill>
                <a:latin typeface="Roboto"/>
              </a:endParaRPr>
            </a:p>
          </p:txBody>
        </p:sp>
        <p:sp>
          <p:nvSpPr>
            <p:cNvPr id="3" name="Round Diagonal Corner Rectangle 2"/>
            <p:cNvSpPr/>
            <p:nvPr/>
          </p:nvSpPr>
          <p:spPr>
            <a:xfrm rot="16200000">
              <a:off x="4685888" y="3218376"/>
              <a:ext cx="1901544" cy="1850656"/>
            </a:xfrm>
            <a:prstGeom prst="round2DiagRect">
              <a:avLst>
                <a:gd name="adj1" fmla="val 50000"/>
                <a:gd name="adj2" fmla="val 0"/>
              </a:avLst>
            </a:prstGeom>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ln w="57150">
              <a:solidFill>
                <a:schemeClr val="accent6"/>
              </a:solidFill>
            </a:ln>
            <a:effectLst>
              <a:outerShdw blurRad="292100" dist="38100" dir="8100000" sx="103000" sy="103000" algn="tr" rotWithShape="0">
                <a:schemeClr val="tx1">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a:defRPr/>
              </a:pPr>
              <a:endParaRPr lang="en-US" sz="1799">
                <a:solidFill>
                  <a:srgbClr val="FFFFFF"/>
                </a:solidFill>
                <a:latin typeface="Roboto"/>
              </a:endParaRPr>
            </a:p>
          </p:txBody>
        </p:sp>
        <p:sp>
          <p:nvSpPr>
            <p:cNvPr id="53" name="Rectangle 52"/>
            <p:cNvSpPr/>
            <p:nvPr/>
          </p:nvSpPr>
          <p:spPr>
            <a:xfrm>
              <a:off x="1855094" y="3650894"/>
              <a:ext cx="2589274" cy="584775"/>
            </a:xfrm>
            <a:prstGeom prst="rect">
              <a:avLst/>
            </a:prstGeom>
          </p:spPr>
          <p:txBody>
            <a:bodyPr wrap="square">
              <a:spAutoFit/>
            </a:bodyPr>
            <a:lstStyle/>
            <a:p>
              <a:pPr algn="r" defTabSz="457063">
                <a:defRPr/>
              </a:pPr>
              <a:r>
                <a:rPr lang="en-US" sz="3199" dirty="0">
                  <a:solidFill>
                    <a:srgbClr val="373737">
                      <a:lumMod val="75000"/>
                      <a:lumOff val="25000"/>
                    </a:srgbClr>
                  </a:solidFill>
                  <a:latin typeface="Roboto"/>
                </a:rPr>
                <a:t>Entitlements</a:t>
              </a:r>
            </a:p>
          </p:txBody>
        </p:sp>
        <p:sp>
          <p:nvSpPr>
            <p:cNvPr id="54" name="Rectangle 53"/>
            <p:cNvSpPr/>
            <p:nvPr/>
          </p:nvSpPr>
          <p:spPr>
            <a:xfrm>
              <a:off x="8786123" y="3796614"/>
              <a:ext cx="2660831" cy="584775"/>
            </a:xfrm>
            <a:prstGeom prst="rect">
              <a:avLst/>
            </a:prstGeom>
          </p:spPr>
          <p:txBody>
            <a:bodyPr wrap="square">
              <a:spAutoFit/>
            </a:bodyPr>
            <a:lstStyle/>
            <a:p>
              <a:pPr defTabSz="457063">
                <a:defRPr/>
              </a:pPr>
              <a:r>
                <a:rPr lang="en-US" sz="3199" kern="0" dirty="0">
                  <a:solidFill>
                    <a:srgbClr val="373737">
                      <a:lumMod val="75000"/>
                      <a:lumOff val="25000"/>
                    </a:srgbClr>
                  </a:solidFill>
                  <a:latin typeface="Arial" pitchFamily="34" charset="0"/>
                  <a:cs typeface="Arial" pitchFamily="34" charset="0"/>
                </a:rPr>
                <a:t>Ask Cassini</a:t>
              </a:r>
              <a:endParaRPr lang="en-US" sz="3199" dirty="0">
                <a:solidFill>
                  <a:srgbClr val="373737">
                    <a:lumMod val="75000"/>
                    <a:lumOff val="25000"/>
                  </a:srgbClr>
                </a:solidFill>
                <a:latin typeface="Roboto"/>
              </a:endParaRPr>
            </a:p>
          </p:txBody>
        </p:sp>
        <p:sp>
          <p:nvSpPr>
            <p:cNvPr id="55" name="Rectangle 54"/>
            <p:cNvSpPr/>
            <p:nvPr/>
          </p:nvSpPr>
          <p:spPr>
            <a:xfrm>
              <a:off x="8682282" y="1928675"/>
              <a:ext cx="3166818" cy="646331"/>
            </a:xfrm>
            <a:prstGeom prst="rect">
              <a:avLst/>
            </a:prstGeom>
          </p:spPr>
          <p:txBody>
            <a:bodyPr wrap="square">
              <a:spAutoFit/>
            </a:bodyPr>
            <a:lstStyle/>
            <a:p>
              <a:pPr defTabSz="457063">
                <a:defRPr/>
              </a:pPr>
              <a:r>
                <a:rPr lang="en-US" sz="3599" kern="0" dirty="0">
                  <a:solidFill>
                    <a:srgbClr val="373737">
                      <a:lumMod val="75000"/>
                      <a:lumOff val="25000"/>
                    </a:srgbClr>
                  </a:solidFill>
                  <a:cs typeface="Arial" pitchFamily="34" charset="0"/>
                </a:rPr>
                <a:t>Consumption</a:t>
              </a:r>
              <a:endParaRPr lang="en-US" sz="3599" dirty="0">
                <a:solidFill>
                  <a:srgbClr val="373737">
                    <a:lumMod val="75000"/>
                    <a:lumOff val="25000"/>
                  </a:srgbClr>
                </a:solidFill>
              </a:endParaRPr>
            </a:p>
          </p:txBody>
        </p:sp>
        <p:sp>
          <p:nvSpPr>
            <p:cNvPr id="24" name="Freeform 11"/>
            <p:cNvSpPr>
              <a:spLocks noEditPoints="1"/>
            </p:cNvSpPr>
            <p:nvPr/>
          </p:nvSpPr>
          <p:spPr bwMode="auto">
            <a:xfrm>
              <a:off x="5133740" y="3640783"/>
              <a:ext cx="1005840" cy="1005840"/>
            </a:xfrm>
            <a:custGeom>
              <a:avLst/>
              <a:gdLst>
                <a:gd name="T0" fmla="*/ 1432 w 3335"/>
                <a:gd name="T1" fmla="*/ 1825 h 3335"/>
                <a:gd name="T2" fmla="*/ 646 w 3335"/>
                <a:gd name="T3" fmla="*/ 1668 h 3335"/>
                <a:gd name="T4" fmla="*/ 2689 w 3335"/>
                <a:gd name="T5" fmla="*/ 1197 h 3335"/>
                <a:gd name="T6" fmla="*/ 1668 w 3335"/>
                <a:gd name="T7" fmla="*/ 0 h 3335"/>
                <a:gd name="T8" fmla="*/ 1869 w 3335"/>
                <a:gd name="T9" fmla="*/ 12 h 3335"/>
                <a:gd name="T10" fmla="*/ 2064 w 3335"/>
                <a:gd name="T11" fmla="*/ 47 h 3335"/>
                <a:gd name="T12" fmla="*/ 2250 w 3335"/>
                <a:gd name="T13" fmla="*/ 104 h 3335"/>
                <a:gd name="T14" fmla="*/ 2425 w 3335"/>
                <a:gd name="T15" fmla="*/ 182 h 3335"/>
                <a:gd name="T16" fmla="*/ 2590 w 3335"/>
                <a:gd name="T17" fmla="*/ 278 h 3335"/>
                <a:gd name="T18" fmla="*/ 2742 w 3335"/>
                <a:gd name="T19" fmla="*/ 392 h 3335"/>
                <a:gd name="T20" fmla="*/ 2879 w 3335"/>
                <a:gd name="T21" fmla="*/ 522 h 3335"/>
                <a:gd name="T22" fmla="*/ 3002 w 3335"/>
                <a:gd name="T23" fmla="*/ 668 h 3335"/>
                <a:gd name="T24" fmla="*/ 3108 w 3335"/>
                <a:gd name="T25" fmla="*/ 826 h 3335"/>
                <a:gd name="T26" fmla="*/ 3195 w 3335"/>
                <a:gd name="T27" fmla="*/ 996 h 3335"/>
                <a:gd name="T28" fmla="*/ 3262 w 3335"/>
                <a:gd name="T29" fmla="*/ 1177 h 3335"/>
                <a:gd name="T30" fmla="*/ 3308 w 3335"/>
                <a:gd name="T31" fmla="*/ 1368 h 3335"/>
                <a:gd name="T32" fmla="*/ 3332 w 3335"/>
                <a:gd name="T33" fmla="*/ 1566 h 3335"/>
                <a:gd name="T34" fmla="*/ 3332 w 3335"/>
                <a:gd name="T35" fmla="*/ 1769 h 3335"/>
                <a:gd name="T36" fmla="*/ 3308 w 3335"/>
                <a:gd name="T37" fmla="*/ 1967 h 3335"/>
                <a:gd name="T38" fmla="*/ 3262 w 3335"/>
                <a:gd name="T39" fmla="*/ 2158 h 3335"/>
                <a:gd name="T40" fmla="*/ 3195 w 3335"/>
                <a:gd name="T41" fmla="*/ 2339 h 3335"/>
                <a:gd name="T42" fmla="*/ 3108 w 3335"/>
                <a:gd name="T43" fmla="*/ 2509 h 3335"/>
                <a:gd name="T44" fmla="*/ 3002 w 3335"/>
                <a:gd name="T45" fmla="*/ 2667 h 3335"/>
                <a:gd name="T46" fmla="*/ 2879 w 3335"/>
                <a:gd name="T47" fmla="*/ 2813 h 3335"/>
                <a:gd name="T48" fmla="*/ 2742 w 3335"/>
                <a:gd name="T49" fmla="*/ 2943 h 3335"/>
                <a:gd name="T50" fmla="*/ 2590 w 3335"/>
                <a:gd name="T51" fmla="*/ 3057 h 3335"/>
                <a:gd name="T52" fmla="*/ 2425 w 3335"/>
                <a:gd name="T53" fmla="*/ 3153 h 3335"/>
                <a:gd name="T54" fmla="*/ 2250 w 3335"/>
                <a:gd name="T55" fmla="*/ 3231 h 3335"/>
                <a:gd name="T56" fmla="*/ 2064 w 3335"/>
                <a:gd name="T57" fmla="*/ 3288 h 3335"/>
                <a:gd name="T58" fmla="*/ 1869 w 3335"/>
                <a:gd name="T59" fmla="*/ 3323 h 3335"/>
                <a:gd name="T60" fmla="*/ 1668 w 3335"/>
                <a:gd name="T61" fmla="*/ 3335 h 3335"/>
                <a:gd name="T62" fmla="*/ 1466 w 3335"/>
                <a:gd name="T63" fmla="*/ 3323 h 3335"/>
                <a:gd name="T64" fmla="*/ 1271 w 3335"/>
                <a:gd name="T65" fmla="*/ 3288 h 3335"/>
                <a:gd name="T66" fmla="*/ 1085 w 3335"/>
                <a:gd name="T67" fmla="*/ 3231 h 3335"/>
                <a:gd name="T68" fmla="*/ 910 w 3335"/>
                <a:gd name="T69" fmla="*/ 3153 h 3335"/>
                <a:gd name="T70" fmla="*/ 745 w 3335"/>
                <a:gd name="T71" fmla="*/ 3057 h 3335"/>
                <a:gd name="T72" fmla="*/ 593 w 3335"/>
                <a:gd name="T73" fmla="*/ 2943 h 3335"/>
                <a:gd name="T74" fmla="*/ 456 w 3335"/>
                <a:gd name="T75" fmla="*/ 2813 h 3335"/>
                <a:gd name="T76" fmla="*/ 334 w 3335"/>
                <a:gd name="T77" fmla="*/ 2667 h 3335"/>
                <a:gd name="T78" fmla="*/ 227 w 3335"/>
                <a:gd name="T79" fmla="*/ 2509 h 3335"/>
                <a:gd name="T80" fmla="*/ 140 w 3335"/>
                <a:gd name="T81" fmla="*/ 2339 h 3335"/>
                <a:gd name="T82" fmla="*/ 73 w 3335"/>
                <a:gd name="T83" fmla="*/ 2158 h 3335"/>
                <a:gd name="T84" fmla="*/ 27 w 3335"/>
                <a:gd name="T85" fmla="*/ 1967 h 3335"/>
                <a:gd name="T86" fmla="*/ 3 w 3335"/>
                <a:gd name="T87" fmla="*/ 1769 h 3335"/>
                <a:gd name="T88" fmla="*/ 3 w 3335"/>
                <a:gd name="T89" fmla="*/ 1566 h 3335"/>
                <a:gd name="T90" fmla="*/ 27 w 3335"/>
                <a:gd name="T91" fmla="*/ 1368 h 3335"/>
                <a:gd name="T92" fmla="*/ 73 w 3335"/>
                <a:gd name="T93" fmla="*/ 1177 h 3335"/>
                <a:gd name="T94" fmla="*/ 140 w 3335"/>
                <a:gd name="T95" fmla="*/ 996 h 3335"/>
                <a:gd name="T96" fmla="*/ 227 w 3335"/>
                <a:gd name="T97" fmla="*/ 826 h 3335"/>
                <a:gd name="T98" fmla="*/ 334 w 3335"/>
                <a:gd name="T99" fmla="*/ 668 h 3335"/>
                <a:gd name="T100" fmla="*/ 456 w 3335"/>
                <a:gd name="T101" fmla="*/ 522 h 3335"/>
                <a:gd name="T102" fmla="*/ 593 w 3335"/>
                <a:gd name="T103" fmla="*/ 392 h 3335"/>
                <a:gd name="T104" fmla="*/ 745 w 3335"/>
                <a:gd name="T105" fmla="*/ 278 h 3335"/>
                <a:gd name="T106" fmla="*/ 910 w 3335"/>
                <a:gd name="T107" fmla="*/ 182 h 3335"/>
                <a:gd name="T108" fmla="*/ 1085 w 3335"/>
                <a:gd name="T109" fmla="*/ 104 h 3335"/>
                <a:gd name="T110" fmla="*/ 1271 w 3335"/>
                <a:gd name="T111" fmla="*/ 47 h 3335"/>
                <a:gd name="T112" fmla="*/ 1466 w 3335"/>
                <a:gd name="T113" fmla="*/ 12 h 3335"/>
                <a:gd name="T114" fmla="*/ 1668 w 3335"/>
                <a:gd name="T115" fmla="*/ 0 h 3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335" h="3335">
                  <a:moveTo>
                    <a:pt x="2374" y="881"/>
                  </a:moveTo>
                  <a:lnTo>
                    <a:pt x="1432" y="1825"/>
                  </a:lnTo>
                  <a:lnTo>
                    <a:pt x="960" y="1352"/>
                  </a:lnTo>
                  <a:lnTo>
                    <a:pt x="646" y="1668"/>
                  </a:lnTo>
                  <a:lnTo>
                    <a:pt x="1432" y="2454"/>
                  </a:lnTo>
                  <a:lnTo>
                    <a:pt x="2689" y="1197"/>
                  </a:lnTo>
                  <a:lnTo>
                    <a:pt x="2374" y="881"/>
                  </a:lnTo>
                  <a:close/>
                  <a:moveTo>
                    <a:pt x="1668" y="0"/>
                  </a:moveTo>
                  <a:lnTo>
                    <a:pt x="1769" y="3"/>
                  </a:lnTo>
                  <a:lnTo>
                    <a:pt x="1869" y="12"/>
                  </a:lnTo>
                  <a:lnTo>
                    <a:pt x="1967" y="27"/>
                  </a:lnTo>
                  <a:lnTo>
                    <a:pt x="2064" y="47"/>
                  </a:lnTo>
                  <a:lnTo>
                    <a:pt x="2158" y="73"/>
                  </a:lnTo>
                  <a:lnTo>
                    <a:pt x="2250" y="104"/>
                  </a:lnTo>
                  <a:lnTo>
                    <a:pt x="2339" y="140"/>
                  </a:lnTo>
                  <a:lnTo>
                    <a:pt x="2425" y="182"/>
                  </a:lnTo>
                  <a:lnTo>
                    <a:pt x="2509" y="227"/>
                  </a:lnTo>
                  <a:lnTo>
                    <a:pt x="2590" y="278"/>
                  </a:lnTo>
                  <a:lnTo>
                    <a:pt x="2667" y="334"/>
                  </a:lnTo>
                  <a:lnTo>
                    <a:pt x="2742" y="392"/>
                  </a:lnTo>
                  <a:lnTo>
                    <a:pt x="2813" y="456"/>
                  </a:lnTo>
                  <a:lnTo>
                    <a:pt x="2879" y="522"/>
                  </a:lnTo>
                  <a:lnTo>
                    <a:pt x="2943" y="593"/>
                  </a:lnTo>
                  <a:lnTo>
                    <a:pt x="3002" y="668"/>
                  </a:lnTo>
                  <a:lnTo>
                    <a:pt x="3057" y="745"/>
                  </a:lnTo>
                  <a:lnTo>
                    <a:pt x="3108" y="826"/>
                  </a:lnTo>
                  <a:lnTo>
                    <a:pt x="3153" y="910"/>
                  </a:lnTo>
                  <a:lnTo>
                    <a:pt x="3195" y="996"/>
                  </a:lnTo>
                  <a:lnTo>
                    <a:pt x="3231" y="1085"/>
                  </a:lnTo>
                  <a:lnTo>
                    <a:pt x="3262" y="1177"/>
                  </a:lnTo>
                  <a:lnTo>
                    <a:pt x="3288" y="1271"/>
                  </a:lnTo>
                  <a:lnTo>
                    <a:pt x="3308" y="1368"/>
                  </a:lnTo>
                  <a:lnTo>
                    <a:pt x="3323" y="1466"/>
                  </a:lnTo>
                  <a:lnTo>
                    <a:pt x="3332" y="1566"/>
                  </a:lnTo>
                  <a:lnTo>
                    <a:pt x="3335" y="1668"/>
                  </a:lnTo>
                  <a:lnTo>
                    <a:pt x="3332" y="1769"/>
                  </a:lnTo>
                  <a:lnTo>
                    <a:pt x="3323" y="1869"/>
                  </a:lnTo>
                  <a:lnTo>
                    <a:pt x="3308" y="1967"/>
                  </a:lnTo>
                  <a:lnTo>
                    <a:pt x="3288" y="2064"/>
                  </a:lnTo>
                  <a:lnTo>
                    <a:pt x="3262" y="2158"/>
                  </a:lnTo>
                  <a:lnTo>
                    <a:pt x="3231" y="2250"/>
                  </a:lnTo>
                  <a:lnTo>
                    <a:pt x="3195" y="2339"/>
                  </a:lnTo>
                  <a:lnTo>
                    <a:pt x="3153" y="2425"/>
                  </a:lnTo>
                  <a:lnTo>
                    <a:pt x="3108" y="2509"/>
                  </a:lnTo>
                  <a:lnTo>
                    <a:pt x="3057" y="2590"/>
                  </a:lnTo>
                  <a:lnTo>
                    <a:pt x="3002" y="2667"/>
                  </a:lnTo>
                  <a:lnTo>
                    <a:pt x="2943" y="2742"/>
                  </a:lnTo>
                  <a:lnTo>
                    <a:pt x="2879" y="2813"/>
                  </a:lnTo>
                  <a:lnTo>
                    <a:pt x="2813" y="2879"/>
                  </a:lnTo>
                  <a:lnTo>
                    <a:pt x="2742" y="2943"/>
                  </a:lnTo>
                  <a:lnTo>
                    <a:pt x="2667" y="3002"/>
                  </a:lnTo>
                  <a:lnTo>
                    <a:pt x="2590" y="3057"/>
                  </a:lnTo>
                  <a:lnTo>
                    <a:pt x="2509" y="3108"/>
                  </a:lnTo>
                  <a:lnTo>
                    <a:pt x="2425" y="3153"/>
                  </a:lnTo>
                  <a:lnTo>
                    <a:pt x="2339" y="3195"/>
                  </a:lnTo>
                  <a:lnTo>
                    <a:pt x="2250" y="3231"/>
                  </a:lnTo>
                  <a:lnTo>
                    <a:pt x="2158" y="3262"/>
                  </a:lnTo>
                  <a:lnTo>
                    <a:pt x="2064" y="3288"/>
                  </a:lnTo>
                  <a:lnTo>
                    <a:pt x="1967" y="3308"/>
                  </a:lnTo>
                  <a:lnTo>
                    <a:pt x="1869" y="3323"/>
                  </a:lnTo>
                  <a:lnTo>
                    <a:pt x="1769" y="3332"/>
                  </a:lnTo>
                  <a:lnTo>
                    <a:pt x="1668" y="3335"/>
                  </a:lnTo>
                  <a:lnTo>
                    <a:pt x="1566" y="3332"/>
                  </a:lnTo>
                  <a:lnTo>
                    <a:pt x="1466" y="3323"/>
                  </a:lnTo>
                  <a:lnTo>
                    <a:pt x="1368" y="3308"/>
                  </a:lnTo>
                  <a:lnTo>
                    <a:pt x="1271" y="3288"/>
                  </a:lnTo>
                  <a:lnTo>
                    <a:pt x="1177" y="3262"/>
                  </a:lnTo>
                  <a:lnTo>
                    <a:pt x="1085" y="3231"/>
                  </a:lnTo>
                  <a:lnTo>
                    <a:pt x="996" y="3195"/>
                  </a:lnTo>
                  <a:lnTo>
                    <a:pt x="910" y="3153"/>
                  </a:lnTo>
                  <a:lnTo>
                    <a:pt x="826" y="3108"/>
                  </a:lnTo>
                  <a:lnTo>
                    <a:pt x="745" y="3057"/>
                  </a:lnTo>
                  <a:lnTo>
                    <a:pt x="668" y="3002"/>
                  </a:lnTo>
                  <a:lnTo>
                    <a:pt x="593" y="2943"/>
                  </a:lnTo>
                  <a:lnTo>
                    <a:pt x="522" y="2879"/>
                  </a:lnTo>
                  <a:lnTo>
                    <a:pt x="456" y="2813"/>
                  </a:lnTo>
                  <a:lnTo>
                    <a:pt x="392" y="2742"/>
                  </a:lnTo>
                  <a:lnTo>
                    <a:pt x="334" y="2667"/>
                  </a:lnTo>
                  <a:lnTo>
                    <a:pt x="278" y="2590"/>
                  </a:lnTo>
                  <a:lnTo>
                    <a:pt x="227" y="2509"/>
                  </a:lnTo>
                  <a:lnTo>
                    <a:pt x="182" y="2425"/>
                  </a:lnTo>
                  <a:lnTo>
                    <a:pt x="140" y="2339"/>
                  </a:lnTo>
                  <a:lnTo>
                    <a:pt x="104" y="2250"/>
                  </a:lnTo>
                  <a:lnTo>
                    <a:pt x="73" y="2158"/>
                  </a:lnTo>
                  <a:lnTo>
                    <a:pt x="47" y="2064"/>
                  </a:lnTo>
                  <a:lnTo>
                    <a:pt x="27" y="1967"/>
                  </a:lnTo>
                  <a:lnTo>
                    <a:pt x="12" y="1869"/>
                  </a:lnTo>
                  <a:lnTo>
                    <a:pt x="3" y="1769"/>
                  </a:lnTo>
                  <a:lnTo>
                    <a:pt x="0" y="1668"/>
                  </a:lnTo>
                  <a:lnTo>
                    <a:pt x="3" y="1566"/>
                  </a:lnTo>
                  <a:lnTo>
                    <a:pt x="12" y="1466"/>
                  </a:lnTo>
                  <a:lnTo>
                    <a:pt x="27" y="1368"/>
                  </a:lnTo>
                  <a:lnTo>
                    <a:pt x="47" y="1271"/>
                  </a:lnTo>
                  <a:lnTo>
                    <a:pt x="73" y="1177"/>
                  </a:lnTo>
                  <a:lnTo>
                    <a:pt x="104" y="1085"/>
                  </a:lnTo>
                  <a:lnTo>
                    <a:pt x="140" y="996"/>
                  </a:lnTo>
                  <a:lnTo>
                    <a:pt x="182" y="910"/>
                  </a:lnTo>
                  <a:lnTo>
                    <a:pt x="227" y="826"/>
                  </a:lnTo>
                  <a:lnTo>
                    <a:pt x="278" y="745"/>
                  </a:lnTo>
                  <a:lnTo>
                    <a:pt x="334" y="668"/>
                  </a:lnTo>
                  <a:lnTo>
                    <a:pt x="392" y="593"/>
                  </a:lnTo>
                  <a:lnTo>
                    <a:pt x="456" y="522"/>
                  </a:lnTo>
                  <a:lnTo>
                    <a:pt x="522" y="456"/>
                  </a:lnTo>
                  <a:lnTo>
                    <a:pt x="593" y="392"/>
                  </a:lnTo>
                  <a:lnTo>
                    <a:pt x="668" y="334"/>
                  </a:lnTo>
                  <a:lnTo>
                    <a:pt x="745" y="278"/>
                  </a:lnTo>
                  <a:lnTo>
                    <a:pt x="826" y="227"/>
                  </a:lnTo>
                  <a:lnTo>
                    <a:pt x="910" y="182"/>
                  </a:lnTo>
                  <a:lnTo>
                    <a:pt x="996" y="140"/>
                  </a:lnTo>
                  <a:lnTo>
                    <a:pt x="1085" y="104"/>
                  </a:lnTo>
                  <a:lnTo>
                    <a:pt x="1177" y="73"/>
                  </a:lnTo>
                  <a:lnTo>
                    <a:pt x="1271" y="47"/>
                  </a:lnTo>
                  <a:lnTo>
                    <a:pt x="1368" y="27"/>
                  </a:lnTo>
                  <a:lnTo>
                    <a:pt x="1466" y="12"/>
                  </a:lnTo>
                  <a:lnTo>
                    <a:pt x="1566" y="3"/>
                  </a:lnTo>
                  <a:lnTo>
                    <a:pt x="1668" y="0"/>
                  </a:lnTo>
                  <a:close/>
                </a:path>
              </a:pathLst>
            </a:custGeom>
            <a:solidFill>
              <a:schemeClr val="bg1"/>
            </a:solidFill>
            <a:ln w="0">
              <a:noFill/>
              <a:prstDash val="solid"/>
              <a:round/>
              <a:headEnd/>
              <a:tailEnd/>
            </a:ln>
          </p:spPr>
          <p:txBody>
            <a:bodyPr vert="horz" wrap="square" lIns="91416" tIns="45708" rIns="91416" bIns="45708" numCol="1" anchor="t" anchorCtr="0" compatLnSpc="1">
              <a:prstTxWarp prst="textNoShape">
                <a:avLst/>
              </a:prstTxWarp>
            </a:bodyPr>
            <a:lstStyle/>
            <a:p>
              <a:pPr defTabSz="457063">
                <a:defRPr/>
              </a:pPr>
              <a:endParaRPr lang="en-US" sz="1799">
                <a:solidFill>
                  <a:srgbClr val="373737"/>
                </a:solidFill>
                <a:latin typeface="Roboto"/>
              </a:endParaRPr>
            </a:p>
          </p:txBody>
        </p:sp>
      </p:grpSp>
      <p:sp>
        <p:nvSpPr>
          <p:cNvPr id="17" name="Oval 16" descr="Handshake">
            <a:extLst>
              <a:ext uri="{FF2B5EF4-FFF2-40B4-BE49-F238E27FC236}">
                <a16:creationId xmlns:a16="http://schemas.microsoft.com/office/drawing/2014/main" id="{7DA897B1-8330-4649-AE1F-939CFC75889B}"/>
              </a:ext>
            </a:extLst>
          </p:cNvPr>
          <p:cNvSpPr/>
          <p:nvPr/>
        </p:nvSpPr>
        <p:spPr>
          <a:xfrm>
            <a:off x="6372694" y="2115602"/>
            <a:ext cx="924386" cy="924386"/>
          </a:xfrm>
          <a:prstGeom prst="ellipse">
            <a:avLst/>
          </a:prstGeom>
          <a:solidFill>
            <a:schemeClr val="bg1"/>
          </a:solidFill>
        </p:spPr>
        <p:style>
          <a:lnRef idx="2">
            <a:schemeClr val="lt1">
              <a:hueOff val="0"/>
              <a:satOff val="0"/>
              <a:lumOff val="0"/>
              <a:alphaOff val="0"/>
            </a:schemeClr>
          </a:lnRef>
          <a:fillRef idx="1">
            <a:scrgbClr r="0" g="0" b="0"/>
          </a:fillRef>
          <a:effectRef idx="0">
            <a:schemeClr val="accent4">
              <a:hueOff val="0"/>
              <a:satOff val="0"/>
              <a:lumOff val="0"/>
              <a:alphaOff val="0"/>
            </a:schemeClr>
          </a:effectRef>
          <a:fontRef idx="minor">
            <a:schemeClr val="lt1"/>
          </a:fontRef>
        </p:style>
      </p:sp>
      <p:sp>
        <p:nvSpPr>
          <p:cNvPr id="6" name="Title 5">
            <a:extLst>
              <a:ext uri="{FF2B5EF4-FFF2-40B4-BE49-F238E27FC236}">
                <a16:creationId xmlns:a16="http://schemas.microsoft.com/office/drawing/2014/main" id="{E68A316C-B824-4D3A-922E-89BC694E7F48}"/>
              </a:ext>
            </a:extLst>
          </p:cNvPr>
          <p:cNvSpPr>
            <a:spLocks noGrp="1"/>
          </p:cNvSpPr>
          <p:nvPr>
            <p:ph type="title"/>
          </p:nvPr>
        </p:nvSpPr>
        <p:spPr>
          <a:xfrm>
            <a:off x="671052" y="323963"/>
            <a:ext cx="11188699" cy="1066520"/>
          </a:xfrm>
        </p:spPr>
        <p:txBody>
          <a:bodyPr/>
          <a:lstStyle/>
          <a:p>
            <a:r>
              <a:rPr lang="en-US" dirty="0"/>
              <a:t>Cassini for ICDM</a:t>
            </a:r>
          </a:p>
        </p:txBody>
      </p:sp>
      <p:pic>
        <p:nvPicPr>
          <p:cNvPr id="9" name="Graphic 8" descr="Bar chart with solid fill">
            <a:extLst>
              <a:ext uri="{FF2B5EF4-FFF2-40B4-BE49-F238E27FC236}">
                <a16:creationId xmlns:a16="http://schemas.microsoft.com/office/drawing/2014/main" id="{A8E85724-5786-4DCF-8DE3-9E2F23EB490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525054" y="2239633"/>
            <a:ext cx="671190" cy="671190"/>
          </a:xfrm>
          <a:prstGeom prst="rect">
            <a:avLst/>
          </a:prstGeom>
        </p:spPr>
      </p:pic>
      <p:sp>
        <p:nvSpPr>
          <p:cNvPr id="20" name="Oval 19" descr="Handshake">
            <a:extLst>
              <a:ext uri="{FF2B5EF4-FFF2-40B4-BE49-F238E27FC236}">
                <a16:creationId xmlns:a16="http://schemas.microsoft.com/office/drawing/2014/main" id="{ABC5AD4D-E42F-4CD5-9C7C-A689C3604D53}"/>
              </a:ext>
            </a:extLst>
          </p:cNvPr>
          <p:cNvSpPr/>
          <p:nvPr/>
        </p:nvSpPr>
        <p:spPr>
          <a:xfrm>
            <a:off x="6525054" y="3799476"/>
            <a:ext cx="924386" cy="924386"/>
          </a:xfrm>
          <a:prstGeom prst="ellipse">
            <a:avLst/>
          </a:prstGeom>
          <a:solidFill>
            <a:schemeClr val="bg1"/>
          </a:solidFill>
        </p:spPr>
        <p:style>
          <a:lnRef idx="2">
            <a:schemeClr val="lt1">
              <a:hueOff val="0"/>
              <a:satOff val="0"/>
              <a:lumOff val="0"/>
              <a:alphaOff val="0"/>
            </a:schemeClr>
          </a:lnRef>
          <a:fillRef idx="1">
            <a:scrgbClr r="0" g="0" b="0"/>
          </a:fillRef>
          <a:effectRef idx="0">
            <a:schemeClr val="accent4">
              <a:hueOff val="0"/>
              <a:satOff val="0"/>
              <a:lumOff val="0"/>
              <a:alphaOff val="0"/>
            </a:schemeClr>
          </a:effectRef>
          <a:fontRef idx="minor">
            <a:schemeClr val="lt1"/>
          </a:fontRef>
        </p:style>
      </p:sp>
      <p:pic>
        <p:nvPicPr>
          <p:cNvPr id="13" name="Graphic 12" descr="Question Mark with solid fill">
            <a:extLst>
              <a:ext uri="{FF2B5EF4-FFF2-40B4-BE49-F238E27FC236}">
                <a16:creationId xmlns:a16="http://schemas.microsoft.com/office/drawing/2014/main" id="{47E8BAF8-85F4-4136-8F10-339C325851C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654138" y="3919404"/>
            <a:ext cx="666106" cy="666106"/>
          </a:xfrm>
          <a:prstGeom prst="rect">
            <a:avLst/>
          </a:prstGeom>
        </p:spPr>
      </p:pic>
    </p:spTree>
    <p:extLst>
      <p:ext uri="{BB962C8B-B14F-4D97-AF65-F5344CB8AC3E}">
        <p14:creationId xmlns:p14="http://schemas.microsoft.com/office/powerpoint/2010/main" val="4209780572"/>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nsumption – in detail</a:t>
            </a:r>
          </a:p>
        </p:txBody>
      </p:sp>
      <p:grpSp>
        <p:nvGrpSpPr>
          <p:cNvPr id="2" name="Group 1"/>
          <p:cNvGrpSpPr/>
          <p:nvPr/>
        </p:nvGrpSpPr>
        <p:grpSpPr>
          <a:xfrm>
            <a:off x="4178795" y="1723233"/>
            <a:ext cx="3809008" cy="4373503"/>
            <a:chOff x="4175484" y="1738567"/>
            <a:chExt cx="3810000" cy="4374642"/>
          </a:xfrm>
        </p:grpSpPr>
        <p:sp>
          <p:nvSpPr>
            <p:cNvPr id="6" name="Freeform 5"/>
            <p:cNvSpPr>
              <a:spLocks/>
            </p:cNvSpPr>
            <p:nvPr/>
          </p:nvSpPr>
          <p:spPr bwMode="auto">
            <a:xfrm>
              <a:off x="6023756" y="4258340"/>
              <a:ext cx="1961728" cy="1854869"/>
            </a:xfrm>
            <a:custGeom>
              <a:avLst/>
              <a:gdLst>
                <a:gd name="T0" fmla="*/ 816 w 1039"/>
                <a:gd name="T1" fmla="*/ 0 h 982"/>
                <a:gd name="T2" fmla="*/ 223 w 1039"/>
                <a:gd name="T3" fmla="*/ 0 h 982"/>
                <a:gd name="T4" fmla="*/ 0 w 1039"/>
                <a:gd name="T5" fmla="*/ 177 h 982"/>
                <a:gd name="T6" fmla="*/ 0 w 1039"/>
                <a:gd name="T7" fmla="*/ 459 h 982"/>
                <a:gd name="T8" fmla="*/ 0 w 1039"/>
                <a:gd name="T9" fmla="*/ 500 h 982"/>
                <a:gd name="T10" fmla="*/ 0 w 1039"/>
                <a:gd name="T11" fmla="*/ 650 h 982"/>
                <a:gd name="T12" fmla="*/ 0 w 1039"/>
                <a:gd name="T13" fmla="*/ 982 h 982"/>
                <a:gd name="T14" fmla="*/ 212 w 1039"/>
                <a:gd name="T15" fmla="*/ 828 h 982"/>
                <a:gd name="T16" fmla="*/ 211 w 1039"/>
                <a:gd name="T17" fmla="*/ 827 h 982"/>
                <a:gd name="T18" fmla="*/ 223 w 1039"/>
                <a:gd name="T19" fmla="*/ 828 h 982"/>
                <a:gd name="T20" fmla="*/ 816 w 1039"/>
                <a:gd name="T21" fmla="*/ 828 h 982"/>
                <a:gd name="T22" fmla="*/ 1039 w 1039"/>
                <a:gd name="T23" fmla="*/ 650 h 982"/>
                <a:gd name="T24" fmla="*/ 1039 w 1039"/>
                <a:gd name="T25" fmla="*/ 177 h 982"/>
                <a:gd name="T26" fmla="*/ 816 w 1039"/>
                <a:gd name="T27" fmla="*/ 0 h 9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9" h="982">
                  <a:moveTo>
                    <a:pt x="816" y="0"/>
                  </a:moveTo>
                  <a:cubicBezTo>
                    <a:pt x="223" y="0"/>
                    <a:pt x="223" y="0"/>
                    <a:pt x="223" y="0"/>
                  </a:cubicBezTo>
                  <a:cubicBezTo>
                    <a:pt x="100" y="0"/>
                    <a:pt x="0" y="79"/>
                    <a:pt x="0" y="177"/>
                  </a:cubicBezTo>
                  <a:cubicBezTo>
                    <a:pt x="0" y="459"/>
                    <a:pt x="0" y="459"/>
                    <a:pt x="0" y="459"/>
                  </a:cubicBezTo>
                  <a:cubicBezTo>
                    <a:pt x="0" y="500"/>
                    <a:pt x="0" y="500"/>
                    <a:pt x="0" y="500"/>
                  </a:cubicBezTo>
                  <a:cubicBezTo>
                    <a:pt x="0" y="650"/>
                    <a:pt x="0" y="650"/>
                    <a:pt x="0" y="650"/>
                  </a:cubicBezTo>
                  <a:cubicBezTo>
                    <a:pt x="0" y="982"/>
                    <a:pt x="0" y="982"/>
                    <a:pt x="0" y="982"/>
                  </a:cubicBezTo>
                  <a:cubicBezTo>
                    <a:pt x="63" y="850"/>
                    <a:pt x="212" y="828"/>
                    <a:pt x="212" y="828"/>
                  </a:cubicBezTo>
                  <a:cubicBezTo>
                    <a:pt x="211" y="827"/>
                    <a:pt x="211" y="827"/>
                    <a:pt x="211" y="827"/>
                  </a:cubicBezTo>
                  <a:cubicBezTo>
                    <a:pt x="215" y="828"/>
                    <a:pt x="219" y="828"/>
                    <a:pt x="223" y="828"/>
                  </a:cubicBezTo>
                  <a:cubicBezTo>
                    <a:pt x="816" y="828"/>
                    <a:pt x="816" y="828"/>
                    <a:pt x="816" y="828"/>
                  </a:cubicBezTo>
                  <a:cubicBezTo>
                    <a:pt x="939" y="828"/>
                    <a:pt x="1039" y="748"/>
                    <a:pt x="1039" y="650"/>
                  </a:cubicBezTo>
                  <a:cubicBezTo>
                    <a:pt x="1039" y="177"/>
                    <a:pt x="1039" y="177"/>
                    <a:pt x="1039" y="177"/>
                  </a:cubicBezTo>
                  <a:cubicBezTo>
                    <a:pt x="1039" y="79"/>
                    <a:pt x="939" y="0"/>
                    <a:pt x="816" y="0"/>
                  </a:cubicBezTo>
                  <a:close/>
                </a:path>
              </a:pathLst>
            </a:custGeom>
            <a:solidFill>
              <a:schemeClr val="accent4"/>
            </a:solidFill>
            <a:ln w="9525">
              <a:noFill/>
              <a:round/>
              <a:headEnd/>
              <a:tailEnd/>
            </a:ln>
            <a:effectLst>
              <a:outerShdw blurRad="101600" dist="76200" dir="2700000" algn="tl" rotWithShape="0">
                <a:prstClr val="black">
                  <a:alpha val="25000"/>
                </a:prstClr>
              </a:outerShdw>
            </a:effectLst>
          </p:spPr>
          <p:txBody>
            <a:bodyPr vert="horz" wrap="square" lIns="91416" tIns="45708" rIns="91416" bIns="45708" numCol="1" anchor="t" anchorCtr="0" compatLnSpc="1">
              <a:prstTxWarp prst="textNoShape">
                <a:avLst/>
              </a:prstTxWarp>
            </a:bodyPr>
            <a:lstStyle/>
            <a:p>
              <a:endParaRPr lang="en-US" sz="1799" dirty="0">
                <a:latin typeface="Arial" panose="020B0604020202020204" pitchFamily="34" charset="0"/>
                <a:cs typeface="Arial" panose="020B0604020202020204" pitchFamily="34" charset="0"/>
              </a:endParaRPr>
            </a:p>
          </p:txBody>
        </p:sp>
        <p:sp>
          <p:nvSpPr>
            <p:cNvPr id="7" name="Freeform 6"/>
            <p:cNvSpPr>
              <a:spLocks/>
            </p:cNvSpPr>
            <p:nvPr/>
          </p:nvSpPr>
          <p:spPr bwMode="auto">
            <a:xfrm>
              <a:off x="6027714" y="2920618"/>
              <a:ext cx="1493393" cy="1468328"/>
            </a:xfrm>
            <a:custGeom>
              <a:avLst/>
              <a:gdLst>
                <a:gd name="T0" fmla="*/ 621 w 791"/>
                <a:gd name="T1" fmla="*/ 0 h 778"/>
                <a:gd name="T2" fmla="*/ 170 w 791"/>
                <a:gd name="T3" fmla="*/ 0 h 778"/>
                <a:gd name="T4" fmla="*/ 0 w 791"/>
                <a:gd name="T5" fmla="*/ 141 h 778"/>
                <a:gd name="T6" fmla="*/ 0 w 791"/>
                <a:gd name="T7" fmla="*/ 364 h 778"/>
                <a:gd name="T8" fmla="*/ 0 w 791"/>
                <a:gd name="T9" fmla="*/ 396 h 778"/>
                <a:gd name="T10" fmla="*/ 0 w 791"/>
                <a:gd name="T11" fmla="*/ 515 h 778"/>
                <a:gd name="T12" fmla="*/ 0 w 791"/>
                <a:gd name="T13" fmla="*/ 778 h 778"/>
                <a:gd name="T14" fmla="*/ 161 w 791"/>
                <a:gd name="T15" fmla="*/ 656 h 778"/>
                <a:gd name="T16" fmla="*/ 161 w 791"/>
                <a:gd name="T17" fmla="*/ 655 h 778"/>
                <a:gd name="T18" fmla="*/ 170 w 791"/>
                <a:gd name="T19" fmla="*/ 656 h 778"/>
                <a:gd name="T20" fmla="*/ 621 w 791"/>
                <a:gd name="T21" fmla="*/ 656 h 778"/>
                <a:gd name="T22" fmla="*/ 791 w 791"/>
                <a:gd name="T23" fmla="*/ 515 h 778"/>
                <a:gd name="T24" fmla="*/ 791 w 791"/>
                <a:gd name="T25" fmla="*/ 141 h 778"/>
                <a:gd name="T26" fmla="*/ 621 w 791"/>
                <a:gd name="T27" fmla="*/ 0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91" h="778">
                  <a:moveTo>
                    <a:pt x="621" y="0"/>
                  </a:moveTo>
                  <a:cubicBezTo>
                    <a:pt x="170" y="0"/>
                    <a:pt x="170" y="0"/>
                    <a:pt x="170" y="0"/>
                  </a:cubicBezTo>
                  <a:cubicBezTo>
                    <a:pt x="76" y="0"/>
                    <a:pt x="0" y="63"/>
                    <a:pt x="0" y="141"/>
                  </a:cubicBezTo>
                  <a:cubicBezTo>
                    <a:pt x="0" y="364"/>
                    <a:pt x="0" y="364"/>
                    <a:pt x="0" y="364"/>
                  </a:cubicBezTo>
                  <a:cubicBezTo>
                    <a:pt x="0" y="396"/>
                    <a:pt x="0" y="396"/>
                    <a:pt x="0" y="396"/>
                  </a:cubicBezTo>
                  <a:cubicBezTo>
                    <a:pt x="0" y="515"/>
                    <a:pt x="0" y="515"/>
                    <a:pt x="0" y="515"/>
                  </a:cubicBezTo>
                  <a:cubicBezTo>
                    <a:pt x="0" y="778"/>
                    <a:pt x="0" y="778"/>
                    <a:pt x="0" y="778"/>
                  </a:cubicBezTo>
                  <a:cubicBezTo>
                    <a:pt x="48" y="674"/>
                    <a:pt x="161" y="656"/>
                    <a:pt x="161" y="656"/>
                  </a:cubicBezTo>
                  <a:cubicBezTo>
                    <a:pt x="161" y="655"/>
                    <a:pt x="161" y="655"/>
                    <a:pt x="161" y="655"/>
                  </a:cubicBezTo>
                  <a:cubicBezTo>
                    <a:pt x="164" y="656"/>
                    <a:pt x="167" y="656"/>
                    <a:pt x="170" y="656"/>
                  </a:cubicBezTo>
                  <a:cubicBezTo>
                    <a:pt x="621" y="656"/>
                    <a:pt x="621" y="656"/>
                    <a:pt x="621" y="656"/>
                  </a:cubicBezTo>
                  <a:cubicBezTo>
                    <a:pt x="715" y="656"/>
                    <a:pt x="791" y="593"/>
                    <a:pt x="791" y="515"/>
                  </a:cubicBezTo>
                  <a:cubicBezTo>
                    <a:pt x="791" y="141"/>
                    <a:pt x="791" y="141"/>
                    <a:pt x="791" y="141"/>
                  </a:cubicBezTo>
                  <a:cubicBezTo>
                    <a:pt x="791" y="63"/>
                    <a:pt x="715" y="0"/>
                    <a:pt x="621" y="0"/>
                  </a:cubicBezTo>
                  <a:close/>
                </a:path>
              </a:pathLst>
            </a:custGeom>
            <a:solidFill>
              <a:schemeClr val="accent2"/>
            </a:solidFill>
            <a:ln w="9525">
              <a:noFill/>
              <a:round/>
              <a:headEnd/>
              <a:tailEnd/>
            </a:ln>
            <a:effectLst>
              <a:outerShdw blurRad="101600" dist="76200" dir="2700000" algn="tl" rotWithShape="0">
                <a:prstClr val="black">
                  <a:alpha val="25000"/>
                </a:prstClr>
              </a:outerShdw>
            </a:effectLst>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endParaRPr>
            </a:p>
          </p:txBody>
        </p:sp>
        <p:sp>
          <p:nvSpPr>
            <p:cNvPr id="8" name="Freeform 7"/>
            <p:cNvSpPr>
              <a:spLocks/>
            </p:cNvSpPr>
            <p:nvPr/>
          </p:nvSpPr>
          <p:spPr bwMode="auto">
            <a:xfrm>
              <a:off x="4451207" y="2920618"/>
              <a:ext cx="1490755" cy="1468328"/>
            </a:xfrm>
            <a:custGeom>
              <a:avLst/>
              <a:gdLst>
                <a:gd name="T0" fmla="*/ 170 w 790"/>
                <a:gd name="T1" fmla="*/ 0 h 778"/>
                <a:gd name="T2" fmla="*/ 621 w 790"/>
                <a:gd name="T3" fmla="*/ 0 h 778"/>
                <a:gd name="T4" fmla="*/ 790 w 790"/>
                <a:gd name="T5" fmla="*/ 141 h 778"/>
                <a:gd name="T6" fmla="*/ 790 w 790"/>
                <a:gd name="T7" fmla="*/ 364 h 778"/>
                <a:gd name="T8" fmla="*/ 790 w 790"/>
                <a:gd name="T9" fmla="*/ 396 h 778"/>
                <a:gd name="T10" fmla="*/ 790 w 790"/>
                <a:gd name="T11" fmla="*/ 515 h 778"/>
                <a:gd name="T12" fmla="*/ 790 w 790"/>
                <a:gd name="T13" fmla="*/ 778 h 778"/>
                <a:gd name="T14" fmla="*/ 630 w 790"/>
                <a:gd name="T15" fmla="*/ 656 h 778"/>
                <a:gd name="T16" fmla="*/ 630 w 790"/>
                <a:gd name="T17" fmla="*/ 655 h 778"/>
                <a:gd name="T18" fmla="*/ 621 w 790"/>
                <a:gd name="T19" fmla="*/ 656 h 778"/>
                <a:gd name="T20" fmla="*/ 170 w 790"/>
                <a:gd name="T21" fmla="*/ 656 h 778"/>
                <a:gd name="T22" fmla="*/ 0 w 790"/>
                <a:gd name="T23" fmla="*/ 515 h 778"/>
                <a:gd name="T24" fmla="*/ 0 w 790"/>
                <a:gd name="T25" fmla="*/ 141 h 778"/>
                <a:gd name="T26" fmla="*/ 170 w 790"/>
                <a:gd name="T27" fmla="*/ 0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90" h="778">
                  <a:moveTo>
                    <a:pt x="170" y="0"/>
                  </a:moveTo>
                  <a:cubicBezTo>
                    <a:pt x="621" y="0"/>
                    <a:pt x="621" y="0"/>
                    <a:pt x="621" y="0"/>
                  </a:cubicBezTo>
                  <a:cubicBezTo>
                    <a:pt x="715" y="0"/>
                    <a:pt x="790" y="63"/>
                    <a:pt x="790" y="141"/>
                  </a:cubicBezTo>
                  <a:cubicBezTo>
                    <a:pt x="790" y="364"/>
                    <a:pt x="790" y="364"/>
                    <a:pt x="790" y="364"/>
                  </a:cubicBezTo>
                  <a:cubicBezTo>
                    <a:pt x="790" y="396"/>
                    <a:pt x="790" y="396"/>
                    <a:pt x="790" y="396"/>
                  </a:cubicBezTo>
                  <a:cubicBezTo>
                    <a:pt x="790" y="515"/>
                    <a:pt x="790" y="515"/>
                    <a:pt x="790" y="515"/>
                  </a:cubicBezTo>
                  <a:cubicBezTo>
                    <a:pt x="790" y="778"/>
                    <a:pt x="790" y="778"/>
                    <a:pt x="790" y="778"/>
                  </a:cubicBezTo>
                  <a:cubicBezTo>
                    <a:pt x="743" y="674"/>
                    <a:pt x="630" y="656"/>
                    <a:pt x="630" y="656"/>
                  </a:cubicBezTo>
                  <a:cubicBezTo>
                    <a:pt x="630" y="655"/>
                    <a:pt x="630" y="655"/>
                    <a:pt x="630" y="655"/>
                  </a:cubicBezTo>
                  <a:cubicBezTo>
                    <a:pt x="627" y="656"/>
                    <a:pt x="624" y="656"/>
                    <a:pt x="621" y="656"/>
                  </a:cubicBezTo>
                  <a:cubicBezTo>
                    <a:pt x="170" y="656"/>
                    <a:pt x="170" y="656"/>
                    <a:pt x="170" y="656"/>
                  </a:cubicBezTo>
                  <a:cubicBezTo>
                    <a:pt x="76" y="656"/>
                    <a:pt x="0" y="593"/>
                    <a:pt x="0" y="515"/>
                  </a:cubicBezTo>
                  <a:cubicBezTo>
                    <a:pt x="0" y="141"/>
                    <a:pt x="0" y="141"/>
                    <a:pt x="0" y="141"/>
                  </a:cubicBezTo>
                  <a:cubicBezTo>
                    <a:pt x="0" y="63"/>
                    <a:pt x="76" y="0"/>
                    <a:pt x="170" y="0"/>
                  </a:cubicBezTo>
                  <a:close/>
                </a:path>
              </a:pathLst>
            </a:custGeom>
            <a:solidFill>
              <a:schemeClr val="accent1"/>
            </a:solidFill>
            <a:ln w="9525">
              <a:noFill/>
              <a:round/>
              <a:headEnd/>
              <a:tailEnd/>
            </a:ln>
            <a:effectLst>
              <a:outerShdw blurRad="101600" dist="76200" dir="8100000" algn="tr" rotWithShape="0">
                <a:prstClr val="black">
                  <a:alpha val="25000"/>
                </a:prstClr>
              </a:outerShdw>
            </a:effectLst>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endParaRPr>
            </a:p>
          </p:txBody>
        </p:sp>
        <p:sp>
          <p:nvSpPr>
            <p:cNvPr id="9" name="Freeform 8"/>
            <p:cNvSpPr>
              <a:spLocks/>
            </p:cNvSpPr>
            <p:nvPr/>
          </p:nvSpPr>
          <p:spPr bwMode="auto">
            <a:xfrm>
              <a:off x="6031671" y="1738567"/>
              <a:ext cx="1179411" cy="1254610"/>
            </a:xfrm>
            <a:custGeom>
              <a:avLst/>
              <a:gdLst>
                <a:gd name="T0" fmla="*/ 491 w 625"/>
                <a:gd name="T1" fmla="*/ 0 h 665"/>
                <a:gd name="T2" fmla="*/ 134 w 625"/>
                <a:gd name="T3" fmla="*/ 0 h 665"/>
                <a:gd name="T4" fmla="*/ 0 w 625"/>
                <a:gd name="T5" fmla="*/ 120 h 665"/>
                <a:gd name="T6" fmla="*/ 0 w 625"/>
                <a:gd name="T7" fmla="*/ 311 h 665"/>
                <a:gd name="T8" fmla="*/ 0 w 625"/>
                <a:gd name="T9" fmla="*/ 338 h 665"/>
                <a:gd name="T10" fmla="*/ 0 w 625"/>
                <a:gd name="T11" fmla="*/ 440 h 665"/>
                <a:gd name="T12" fmla="*/ 0 w 625"/>
                <a:gd name="T13" fmla="*/ 665 h 665"/>
                <a:gd name="T14" fmla="*/ 127 w 625"/>
                <a:gd name="T15" fmla="*/ 560 h 665"/>
                <a:gd name="T16" fmla="*/ 127 w 625"/>
                <a:gd name="T17" fmla="*/ 560 h 665"/>
                <a:gd name="T18" fmla="*/ 134 w 625"/>
                <a:gd name="T19" fmla="*/ 560 h 665"/>
                <a:gd name="T20" fmla="*/ 491 w 625"/>
                <a:gd name="T21" fmla="*/ 560 h 665"/>
                <a:gd name="T22" fmla="*/ 625 w 625"/>
                <a:gd name="T23" fmla="*/ 440 h 665"/>
                <a:gd name="T24" fmla="*/ 625 w 625"/>
                <a:gd name="T25" fmla="*/ 120 h 665"/>
                <a:gd name="T26" fmla="*/ 491 w 625"/>
                <a:gd name="T27" fmla="*/ 0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5" h="665">
                  <a:moveTo>
                    <a:pt x="491" y="0"/>
                  </a:moveTo>
                  <a:cubicBezTo>
                    <a:pt x="134" y="0"/>
                    <a:pt x="134" y="0"/>
                    <a:pt x="134" y="0"/>
                  </a:cubicBezTo>
                  <a:cubicBezTo>
                    <a:pt x="60" y="0"/>
                    <a:pt x="0" y="54"/>
                    <a:pt x="0" y="120"/>
                  </a:cubicBezTo>
                  <a:cubicBezTo>
                    <a:pt x="0" y="311"/>
                    <a:pt x="0" y="311"/>
                    <a:pt x="0" y="311"/>
                  </a:cubicBezTo>
                  <a:cubicBezTo>
                    <a:pt x="0" y="338"/>
                    <a:pt x="0" y="338"/>
                    <a:pt x="0" y="338"/>
                  </a:cubicBezTo>
                  <a:cubicBezTo>
                    <a:pt x="0" y="440"/>
                    <a:pt x="0" y="440"/>
                    <a:pt x="0" y="440"/>
                  </a:cubicBezTo>
                  <a:cubicBezTo>
                    <a:pt x="0" y="665"/>
                    <a:pt x="0" y="665"/>
                    <a:pt x="0" y="665"/>
                  </a:cubicBezTo>
                  <a:cubicBezTo>
                    <a:pt x="38" y="575"/>
                    <a:pt x="127" y="560"/>
                    <a:pt x="127" y="560"/>
                  </a:cubicBezTo>
                  <a:cubicBezTo>
                    <a:pt x="127" y="560"/>
                    <a:pt x="127" y="560"/>
                    <a:pt x="127" y="560"/>
                  </a:cubicBezTo>
                  <a:cubicBezTo>
                    <a:pt x="129" y="560"/>
                    <a:pt x="132" y="560"/>
                    <a:pt x="134" y="560"/>
                  </a:cubicBezTo>
                  <a:cubicBezTo>
                    <a:pt x="491" y="560"/>
                    <a:pt x="491" y="560"/>
                    <a:pt x="491" y="560"/>
                  </a:cubicBezTo>
                  <a:cubicBezTo>
                    <a:pt x="565" y="560"/>
                    <a:pt x="625" y="506"/>
                    <a:pt x="625" y="440"/>
                  </a:cubicBezTo>
                  <a:cubicBezTo>
                    <a:pt x="625" y="120"/>
                    <a:pt x="625" y="120"/>
                    <a:pt x="625" y="120"/>
                  </a:cubicBezTo>
                  <a:cubicBezTo>
                    <a:pt x="625" y="54"/>
                    <a:pt x="565" y="0"/>
                    <a:pt x="491" y="0"/>
                  </a:cubicBezTo>
                  <a:close/>
                </a:path>
              </a:pathLst>
            </a:custGeom>
            <a:solidFill>
              <a:schemeClr val="tx2"/>
            </a:solidFill>
            <a:ln w="9525">
              <a:noFill/>
              <a:round/>
              <a:headEnd/>
              <a:tailEnd/>
            </a:ln>
            <a:effectLst>
              <a:outerShdw blurRad="101600" dist="76200" dir="2700000" algn="tl" rotWithShape="0">
                <a:prstClr val="black">
                  <a:alpha val="25000"/>
                </a:prstClr>
              </a:outerShdw>
            </a:effectLst>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endParaRPr>
            </a:p>
          </p:txBody>
        </p:sp>
        <p:sp>
          <p:nvSpPr>
            <p:cNvPr id="10" name="Freeform 9"/>
            <p:cNvSpPr>
              <a:spLocks/>
            </p:cNvSpPr>
            <p:nvPr/>
          </p:nvSpPr>
          <p:spPr bwMode="auto">
            <a:xfrm>
              <a:off x="5022444" y="1902155"/>
              <a:ext cx="919519" cy="1091022"/>
            </a:xfrm>
            <a:custGeom>
              <a:avLst/>
              <a:gdLst>
                <a:gd name="T0" fmla="*/ 105 w 487"/>
                <a:gd name="T1" fmla="*/ 0 h 578"/>
                <a:gd name="T2" fmla="*/ 383 w 487"/>
                <a:gd name="T3" fmla="*/ 0 h 578"/>
                <a:gd name="T4" fmla="*/ 487 w 487"/>
                <a:gd name="T5" fmla="*/ 104 h 578"/>
                <a:gd name="T6" fmla="*/ 487 w 487"/>
                <a:gd name="T7" fmla="*/ 270 h 578"/>
                <a:gd name="T8" fmla="*/ 487 w 487"/>
                <a:gd name="T9" fmla="*/ 294 h 578"/>
                <a:gd name="T10" fmla="*/ 487 w 487"/>
                <a:gd name="T11" fmla="*/ 383 h 578"/>
                <a:gd name="T12" fmla="*/ 487 w 487"/>
                <a:gd name="T13" fmla="*/ 578 h 578"/>
                <a:gd name="T14" fmla="*/ 388 w 487"/>
                <a:gd name="T15" fmla="*/ 487 h 578"/>
                <a:gd name="T16" fmla="*/ 388 w 487"/>
                <a:gd name="T17" fmla="*/ 487 h 578"/>
                <a:gd name="T18" fmla="*/ 383 w 487"/>
                <a:gd name="T19" fmla="*/ 487 h 578"/>
                <a:gd name="T20" fmla="*/ 105 w 487"/>
                <a:gd name="T21" fmla="*/ 487 h 578"/>
                <a:gd name="T22" fmla="*/ 0 w 487"/>
                <a:gd name="T23" fmla="*/ 383 h 578"/>
                <a:gd name="T24" fmla="*/ 0 w 487"/>
                <a:gd name="T25" fmla="*/ 104 h 578"/>
                <a:gd name="T26" fmla="*/ 105 w 487"/>
                <a:gd name="T27" fmla="*/ 0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7" h="578">
                  <a:moveTo>
                    <a:pt x="105" y="0"/>
                  </a:moveTo>
                  <a:cubicBezTo>
                    <a:pt x="383" y="0"/>
                    <a:pt x="383" y="0"/>
                    <a:pt x="383" y="0"/>
                  </a:cubicBezTo>
                  <a:cubicBezTo>
                    <a:pt x="440" y="0"/>
                    <a:pt x="487" y="47"/>
                    <a:pt x="487" y="104"/>
                  </a:cubicBezTo>
                  <a:cubicBezTo>
                    <a:pt x="487" y="270"/>
                    <a:pt x="487" y="270"/>
                    <a:pt x="487" y="270"/>
                  </a:cubicBezTo>
                  <a:cubicBezTo>
                    <a:pt x="487" y="294"/>
                    <a:pt x="487" y="294"/>
                    <a:pt x="487" y="294"/>
                  </a:cubicBezTo>
                  <a:cubicBezTo>
                    <a:pt x="487" y="383"/>
                    <a:pt x="487" y="383"/>
                    <a:pt x="487" y="383"/>
                  </a:cubicBezTo>
                  <a:cubicBezTo>
                    <a:pt x="487" y="578"/>
                    <a:pt x="487" y="578"/>
                    <a:pt x="487" y="578"/>
                  </a:cubicBezTo>
                  <a:cubicBezTo>
                    <a:pt x="458" y="500"/>
                    <a:pt x="388" y="487"/>
                    <a:pt x="388" y="487"/>
                  </a:cubicBezTo>
                  <a:cubicBezTo>
                    <a:pt x="388" y="487"/>
                    <a:pt x="388" y="487"/>
                    <a:pt x="388" y="487"/>
                  </a:cubicBezTo>
                  <a:cubicBezTo>
                    <a:pt x="386" y="487"/>
                    <a:pt x="385" y="487"/>
                    <a:pt x="383" y="487"/>
                  </a:cubicBezTo>
                  <a:cubicBezTo>
                    <a:pt x="105" y="487"/>
                    <a:pt x="105" y="487"/>
                    <a:pt x="105" y="487"/>
                  </a:cubicBezTo>
                  <a:cubicBezTo>
                    <a:pt x="47" y="487"/>
                    <a:pt x="0" y="440"/>
                    <a:pt x="0" y="383"/>
                  </a:cubicBezTo>
                  <a:cubicBezTo>
                    <a:pt x="0" y="104"/>
                    <a:pt x="0" y="104"/>
                    <a:pt x="0" y="104"/>
                  </a:cubicBezTo>
                  <a:cubicBezTo>
                    <a:pt x="0" y="47"/>
                    <a:pt x="47" y="0"/>
                    <a:pt x="105" y="0"/>
                  </a:cubicBezTo>
                  <a:close/>
                </a:path>
              </a:pathLst>
            </a:custGeom>
            <a:solidFill>
              <a:schemeClr val="accent6"/>
            </a:solidFill>
            <a:ln w="9525">
              <a:noFill/>
              <a:round/>
              <a:headEnd/>
              <a:tailEnd/>
            </a:ln>
            <a:effectLst>
              <a:outerShdw blurRad="101600" dist="76200" dir="8100000" algn="tr" rotWithShape="0">
                <a:prstClr val="black">
                  <a:alpha val="25000"/>
                </a:prstClr>
              </a:outerShdw>
            </a:effectLst>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endParaRPr>
            </a:p>
          </p:txBody>
        </p:sp>
        <p:sp>
          <p:nvSpPr>
            <p:cNvPr id="11" name="Freeform 10"/>
            <p:cNvSpPr>
              <a:spLocks/>
            </p:cNvSpPr>
            <p:nvPr/>
          </p:nvSpPr>
          <p:spPr bwMode="auto">
            <a:xfrm>
              <a:off x="4175484" y="4258340"/>
              <a:ext cx="1769117" cy="1579146"/>
            </a:xfrm>
            <a:custGeom>
              <a:avLst/>
              <a:gdLst>
                <a:gd name="T0" fmla="*/ 201 w 937"/>
                <a:gd name="T1" fmla="*/ 0 h 836"/>
                <a:gd name="T2" fmla="*/ 736 w 937"/>
                <a:gd name="T3" fmla="*/ 0 h 836"/>
                <a:gd name="T4" fmla="*/ 937 w 937"/>
                <a:gd name="T5" fmla="*/ 151 h 836"/>
                <a:gd name="T6" fmla="*/ 937 w 937"/>
                <a:gd name="T7" fmla="*/ 391 h 836"/>
                <a:gd name="T8" fmla="*/ 937 w 937"/>
                <a:gd name="T9" fmla="*/ 426 h 836"/>
                <a:gd name="T10" fmla="*/ 937 w 937"/>
                <a:gd name="T11" fmla="*/ 553 h 836"/>
                <a:gd name="T12" fmla="*/ 937 w 937"/>
                <a:gd name="T13" fmla="*/ 836 h 836"/>
                <a:gd name="T14" fmla="*/ 747 w 937"/>
                <a:gd name="T15" fmla="*/ 704 h 836"/>
                <a:gd name="T16" fmla="*/ 747 w 937"/>
                <a:gd name="T17" fmla="*/ 704 h 836"/>
                <a:gd name="T18" fmla="*/ 736 w 937"/>
                <a:gd name="T19" fmla="*/ 704 h 836"/>
                <a:gd name="T20" fmla="*/ 201 w 937"/>
                <a:gd name="T21" fmla="*/ 704 h 836"/>
                <a:gd name="T22" fmla="*/ 0 w 937"/>
                <a:gd name="T23" fmla="*/ 553 h 836"/>
                <a:gd name="T24" fmla="*/ 0 w 937"/>
                <a:gd name="T25" fmla="*/ 151 h 836"/>
                <a:gd name="T26" fmla="*/ 201 w 937"/>
                <a:gd name="T27" fmla="*/ 0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7" h="836">
                  <a:moveTo>
                    <a:pt x="201" y="0"/>
                  </a:moveTo>
                  <a:cubicBezTo>
                    <a:pt x="736" y="0"/>
                    <a:pt x="736" y="0"/>
                    <a:pt x="736" y="0"/>
                  </a:cubicBezTo>
                  <a:cubicBezTo>
                    <a:pt x="847" y="0"/>
                    <a:pt x="937" y="67"/>
                    <a:pt x="937" y="151"/>
                  </a:cubicBezTo>
                  <a:cubicBezTo>
                    <a:pt x="937" y="391"/>
                    <a:pt x="937" y="391"/>
                    <a:pt x="937" y="391"/>
                  </a:cubicBezTo>
                  <a:cubicBezTo>
                    <a:pt x="937" y="426"/>
                    <a:pt x="937" y="426"/>
                    <a:pt x="937" y="426"/>
                  </a:cubicBezTo>
                  <a:cubicBezTo>
                    <a:pt x="937" y="553"/>
                    <a:pt x="937" y="553"/>
                    <a:pt x="937" y="553"/>
                  </a:cubicBezTo>
                  <a:cubicBezTo>
                    <a:pt x="937" y="836"/>
                    <a:pt x="937" y="836"/>
                    <a:pt x="937" y="836"/>
                  </a:cubicBezTo>
                  <a:cubicBezTo>
                    <a:pt x="880" y="724"/>
                    <a:pt x="747" y="704"/>
                    <a:pt x="747" y="704"/>
                  </a:cubicBezTo>
                  <a:cubicBezTo>
                    <a:pt x="747" y="704"/>
                    <a:pt x="747" y="704"/>
                    <a:pt x="747" y="704"/>
                  </a:cubicBezTo>
                  <a:cubicBezTo>
                    <a:pt x="743" y="704"/>
                    <a:pt x="740" y="704"/>
                    <a:pt x="736" y="704"/>
                  </a:cubicBezTo>
                  <a:cubicBezTo>
                    <a:pt x="201" y="704"/>
                    <a:pt x="201" y="704"/>
                    <a:pt x="201" y="704"/>
                  </a:cubicBezTo>
                  <a:cubicBezTo>
                    <a:pt x="90" y="704"/>
                    <a:pt x="0" y="637"/>
                    <a:pt x="0" y="553"/>
                  </a:cubicBezTo>
                  <a:cubicBezTo>
                    <a:pt x="0" y="151"/>
                    <a:pt x="0" y="151"/>
                    <a:pt x="0" y="151"/>
                  </a:cubicBezTo>
                  <a:cubicBezTo>
                    <a:pt x="0" y="67"/>
                    <a:pt x="90" y="0"/>
                    <a:pt x="201" y="0"/>
                  </a:cubicBezTo>
                  <a:close/>
                </a:path>
              </a:pathLst>
            </a:custGeom>
            <a:solidFill>
              <a:schemeClr val="accent3"/>
            </a:solidFill>
            <a:ln w="9525">
              <a:noFill/>
              <a:round/>
              <a:headEnd/>
              <a:tailEnd/>
            </a:ln>
            <a:effectLst>
              <a:outerShdw blurRad="101600" dist="76200" dir="8100000" algn="tr" rotWithShape="0">
                <a:prstClr val="black">
                  <a:alpha val="25000"/>
                </a:prstClr>
              </a:outerShdw>
            </a:effectLst>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endParaRPr>
            </a:p>
          </p:txBody>
        </p:sp>
        <p:grpSp>
          <p:nvGrpSpPr>
            <p:cNvPr id="47" name="Group 46"/>
            <p:cNvGrpSpPr/>
            <p:nvPr/>
          </p:nvGrpSpPr>
          <p:grpSpPr>
            <a:xfrm>
              <a:off x="5265667" y="2094324"/>
              <a:ext cx="433073" cy="475822"/>
              <a:chOff x="2171700" y="1574800"/>
              <a:chExt cx="739776" cy="812800"/>
            </a:xfrm>
            <a:solidFill>
              <a:schemeClr val="bg1"/>
            </a:solidFill>
          </p:grpSpPr>
          <p:sp>
            <p:nvSpPr>
              <p:cNvPr id="48" name="Freeform 33"/>
              <p:cNvSpPr>
                <a:spLocks noEditPoints="1"/>
              </p:cNvSpPr>
              <p:nvPr/>
            </p:nvSpPr>
            <p:spPr bwMode="auto">
              <a:xfrm>
                <a:off x="2292350" y="1700213"/>
                <a:ext cx="498475" cy="687387"/>
              </a:xfrm>
              <a:custGeom>
                <a:avLst/>
                <a:gdLst>
                  <a:gd name="T0" fmla="*/ 813 w 2197"/>
                  <a:gd name="T1" fmla="*/ 324 h 3032"/>
                  <a:gd name="T2" fmla="*/ 519 w 2197"/>
                  <a:gd name="T3" fmla="*/ 505 h 3032"/>
                  <a:gd name="T4" fmla="*/ 329 w 2197"/>
                  <a:gd name="T5" fmla="*/ 783 h 3032"/>
                  <a:gd name="T6" fmla="*/ 281 w 2197"/>
                  <a:gd name="T7" fmla="*/ 1120 h 3032"/>
                  <a:gd name="T8" fmla="*/ 340 w 2197"/>
                  <a:gd name="T9" fmla="*/ 1390 h 3032"/>
                  <a:gd name="T10" fmla="*/ 449 w 2197"/>
                  <a:gd name="T11" fmla="*/ 1594 h 3032"/>
                  <a:gd name="T12" fmla="*/ 575 w 2197"/>
                  <a:gd name="T13" fmla="*/ 1783 h 3032"/>
                  <a:gd name="T14" fmla="*/ 653 w 2197"/>
                  <a:gd name="T15" fmla="*/ 1996 h 3032"/>
                  <a:gd name="T16" fmla="*/ 700 w 2197"/>
                  <a:gd name="T17" fmla="*/ 2142 h 3032"/>
                  <a:gd name="T18" fmla="*/ 1457 w 2197"/>
                  <a:gd name="T19" fmla="*/ 2178 h 3032"/>
                  <a:gd name="T20" fmla="*/ 1539 w 2197"/>
                  <a:gd name="T21" fmla="*/ 2071 h 3032"/>
                  <a:gd name="T22" fmla="*/ 1581 w 2197"/>
                  <a:gd name="T23" fmla="*/ 1864 h 3032"/>
                  <a:gd name="T24" fmla="*/ 1700 w 2197"/>
                  <a:gd name="T25" fmla="*/ 1666 h 3032"/>
                  <a:gd name="T26" fmla="*/ 1817 w 2197"/>
                  <a:gd name="T27" fmla="*/ 1478 h 3032"/>
                  <a:gd name="T28" fmla="*/ 1902 w 2197"/>
                  <a:gd name="T29" fmla="*/ 1238 h 3032"/>
                  <a:gd name="T30" fmla="*/ 1907 w 2197"/>
                  <a:gd name="T31" fmla="*/ 915 h 3032"/>
                  <a:gd name="T32" fmla="*/ 1769 w 2197"/>
                  <a:gd name="T33" fmla="*/ 606 h 3032"/>
                  <a:gd name="T34" fmla="*/ 1513 w 2197"/>
                  <a:gd name="T35" fmla="*/ 382 h 3032"/>
                  <a:gd name="T36" fmla="*/ 1174 w 2197"/>
                  <a:gd name="T37" fmla="*/ 279 h 3032"/>
                  <a:gd name="T38" fmla="*/ 1362 w 2197"/>
                  <a:gd name="T39" fmla="*/ 32 h 3032"/>
                  <a:gd name="T40" fmla="*/ 1747 w 2197"/>
                  <a:gd name="T41" fmla="*/ 204 h 3032"/>
                  <a:gd name="T42" fmla="*/ 2033 w 2197"/>
                  <a:gd name="T43" fmla="*/ 499 h 3032"/>
                  <a:gd name="T44" fmla="*/ 2182 w 2197"/>
                  <a:gd name="T45" fmla="*/ 883 h 3032"/>
                  <a:gd name="T46" fmla="*/ 2180 w 2197"/>
                  <a:gd name="T47" fmla="*/ 1263 h 3032"/>
                  <a:gd name="T48" fmla="*/ 2095 w 2197"/>
                  <a:gd name="T49" fmla="*/ 1542 h 3032"/>
                  <a:gd name="T50" fmla="*/ 1977 w 2197"/>
                  <a:gd name="T51" fmla="*/ 1752 h 3032"/>
                  <a:gd name="T52" fmla="*/ 1857 w 2197"/>
                  <a:gd name="T53" fmla="*/ 1933 h 3032"/>
                  <a:gd name="T54" fmla="*/ 1816 w 2197"/>
                  <a:gd name="T55" fmla="*/ 2095 h 3032"/>
                  <a:gd name="T56" fmla="*/ 1702 w 2197"/>
                  <a:gd name="T57" fmla="*/ 2328 h 3032"/>
                  <a:gd name="T58" fmla="*/ 1611 w 2197"/>
                  <a:gd name="T59" fmla="*/ 2485 h 3032"/>
                  <a:gd name="T60" fmla="*/ 1603 w 2197"/>
                  <a:gd name="T61" fmla="*/ 2631 h 3032"/>
                  <a:gd name="T62" fmla="*/ 1599 w 2197"/>
                  <a:gd name="T63" fmla="*/ 2699 h 3032"/>
                  <a:gd name="T64" fmla="*/ 1566 w 2197"/>
                  <a:gd name="T65" fmla="*/ 2789 h 3032"/>
                  <a:gd name="T66" fmla="*/ 1452 w 2197"/>
                  <a:gd name="T67" fmla="*/ 2888 h 3032"/>
                  <a:gd name="T68" fmla="*/ 1283 w 2197"/>
                  <a:gd name="T69" fmla="*/ 3010 h 3032"/>
                  <a:gd name="T70" fmla="*/ 965 w 2197"/>
                  <a:gd name="T71" fmla="*/ 3030 h 3032"/>
                  <a:gd name="T72" fmla="*/ 825 w 2197"/>
                  <a:gd name="T73" fmla="*/ 2922 h 3032"/>
                  <a:gd name="T74" fmla="*/ 657 w 2197"/>
                  <a:gd name="T75" fmla="*/ 2823 h 3032"/>
                  <a:gd name="T76" fmla="*/ 602 w 2197"/>
                  <a:gd name="T77" fmla="*/ 2718 h 3032"/>
                  <a:gd name="T78" fmla="*/ 597 w 2197"/>
                  <a:gd name="T79" fmla="*/ 2671 h 3032"/>
                  <a:gd name="T80" fmla="*/ 590 w 2197"/>
                  <a:gd name="T81" fmla="*/ 2546 h 3032"/>
                  <a:gd name="T82" fmla="*/ 582 w 2197"/>
                  <a:gd name="T83" fmla="*/ 2406 h 3032"/>
                  <a:gd name="T84" fmla="*/ 408 w 2197"/>
                  <a:gd name="T85" fmla="*/ 2193 h 3032"/>
                  <a:gd name="T86" fmla="*/ 368 w 2197"/>
                  <a:gd name="T87" fmla="*/ 1991 h 3032"/>
                  <a:gd name="T88" fmla="*/ 268 w 2197"/>
                  <a:gd name="T89" fmla="*/ 1821 h 3032"/>
                  <a:gd name="T90" fmla="*/ 149 w 2197"/>
                  <a:gd name="T91" fmla="*/ 1633 h 3032"/>
                  <a:gd name="T92" fmla="*/ 45 w 2197"/>
                  <a:gd name="T93" fmla="*/ 1384 h 3032"/>
                  <a:gd name="T94" fmla="*/ 0 w 2197"/>
                  <a:gd name="T95" fmla="*/ 1054 h 3032"/>
                  <a:gd name="T96" fmla="*/ 87 w 2197"/>
                  <a:gd name="T97" fmla="*/ 644 h 3032"/>
                  <a:gd name="T98" fmla="*/ 323 w 2197"/>
                  <a:gd name="T99" fmla="*/ 310 h 3032"/>
                  <a:gd name="T100" fmla="*/ 672 w 2197"/>
                  <a:gd name="T101" fmla="*/ 83 h 3032"/>
                  <a:gd name="T102" fmla="*/ 1099 w 2197"/>
                  <a:gd name="T103" fmla="*/ 0 h 3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97" h="3032">
                    <a:moveTo>
                      <a:pt x="1099" y="276"/>
                    </a:moveTo>
                    <a:lnTo>
                      <a:pt x="1024" y="279"/>
                    </a:lnTo>
                    <a:lnTo>
                      <a:pt x="951" y="288"/>
                    </a:lnTo>
                    <a:lnTo>
                      <a:pt x="881" y="304"/>
                    </a:lnTo>
                    <a:lnTo>
                      <a:pt x="813" y="324"/>
                    </a:lnTo>
                    <a:lnTo>
                      <a:pt x="747" y="352"/>
                    </a:lnTo>
                    <a:lnTo>
                      <a:pt x="685" y="383"/>
                    </a:lnTo>
                    <a:lnTo>
                      <a:pt x="626" y="419"/>
                    </a:lnTo>
                    <a:lnTo>
                      <a:pt x="571" y="460"/>
                    </a:lnTo>
                    <a:lnTo>
                      <a:pt x="519" y="505"/>
                    </a:lnTo>
                    <a:lnTo>
                      <a:pt x="471" y="553"/>
                    </a:lnTo>
                    <a:lnTo>
                      <a:pt x="429" y="606"/>
                    </a:lnTo>
                    <a:lnTo>
                      <a:pt x="391" y="662"/>
                    </a:lnTo>
                    <a:lnTo>
                      <a:pt x="358" y="721"/>
                    </a:lnTo>
                    <a:lnTo>
                      <a:pt x="329" y="783"/>
                    </a:lnTo>
                    <a:lnTo>
                      <a:pt x="308" y="848"/>
                    </a:lnTo>
                    <a:lnTo>
                      <a:pt x="292" y="915"/>
                    </a:lnTo>
                    <a:lnTo>
                      <a:pt x="282" y="983"/>
                    </a:lnTo>
                    <a:lnTo>
                      <a:pt x="278" y="1054"/>
                    </a:lnTo>
                    <a:lnTo>
                      <a:pt x="281" y="1120"/>
                    </a:lnTo>
                    <a:lnTo>
                      <a:pt x="286" y="1181"/>
                    </a:lnTo>
                    <a:lnTo>
                      <a:pt x="295" y="1238"/>
                    </a:lnTo>
                    <a:lnTo>
                      <a:pt x="308" y="1292"/>
                    </a:lnTo>
                    <a:lnTo>
                      <a:pt x="323" y="1343"/>
                    </a:lnTo>
                    <a:lnTo>
                      <a:pt x="340" y="1390"/>
                    </a:lnTo>
                    <a:lnTo>
                      <a:pt x="359" y="1435"/>
                    </a:lnTo>
                    <a:lnTo>
                      <a:pt x="380" y="1478"/>
                    </a:lnTo>
                    <a:lnTo>
                      <a:pt x="402" y="1518"/>
                    </a:lnTo>
                    <a:lnTo>
                      <a:pt x="426" y="1557"/>
                    </a:lnTo>
                    <a:lnTo>
                      <a:pt x="449" y="1594"/>
                    </a:lnTo>
                    <a:lnTo>
                      <a:pt x="474" y="1630"/>
                    </a:lnTo>
                    <a:lnTo>
                      <a:pt x="496" y="1665"/>
                    </a:lnTo>
                    <a:lnTo>
                      <a:pt x="523" y="1704"/>
                    </a:lnTo>
                    <a:lnTo>
                      <a:pt x="550" y="1744"/>
                    </a:lnTo>
                    <a:lnTo>
                      <a:pt x="575" y="1783"/>
                    </a:lnTo>
                    <a:lnTo>
                      <a:pt x="597" y="1823"/>
                    </a:lnTo>
                    <a:lnTo>
                      <a:pt x="617" y="1864"/>
                    </a:lnTo>
                    <a:lnTo>
                      <a:pt x="632" y="1906"/>
                    </a:lnTo>
                    <a:lnTo>
                      <a:pt x="645" y="1950"/>
                    </a:lnTo>
                    <a:lnTo>
                      <a:pt x="653" y="1996"/>
                    </a:lnTo>
                    <a:lnTo>
                      <a:pt x="655" y="2044"/>
                    </a:lnTo>
                    <a:lnTo>
                      <a:pt x="658" y="2071"/>
                    </a:lnTo>
                    <a:lnTo>
                      <a:pt x="669" y="2097"/>
                    </a:lnTo>
                    <a:lnTo>
                      <a:pt x="682" y="2121"/>
                    </a:lnTo>
                    <a:lnTo>
                      <a:pt x="700" y="2142"/>
                    </a:lnTo>
                    <a:lnTo>
                      <a:pt x="720" y="2162"/>
                    </a:lnTo>
                    <a:lnTo>
                      <a:pt x="740" y="2178"/>
                    </a:lnTo>
                    <a:lnTo>
                      <a:pt x="759" y="2193"/>
                    </a:lnTo>
                    <a:lnTo>
                      <a:pt x="1438" y="2193"/>
                    </a:lnTo>
                    <a:lnTo>
                      <a:pt x="1457" y="2178"/>
                    </a:lnTo>
                    <a:lnTo>
                      <a:pt x="1478" y="2162"/>
                    </a:lnTo>
                    <a:lnTo>
                      <a:pt x="1498" y="2142"/>
                    </a:lnTo>
                    <a:lnTo>
                      <a:pt x="1515" y="2121"/>
                    </a:lnTo>
                    <a:lnTo>
                      <a:pt x="1529" y="2097"/>
                    </a:lnTo>
                    <a:lnTo>
                      <a:pt x="1539" y="2071"/>
                    </a:lnTo>
                    <a:lnTo>
                      <a:pt x="1542" y="2044"/>
                    </a:lnTo>
                    <a:lnTo>
                      <a:pt x="1545" y="1996"/>
                    </a:lnTo>
                    <a:lnTo>
                      <a:pt x="1553" y="1950"/>
                    </a:lnTo>
                    <a:lnTo>
                      <a:pt x="1565" y="1906"/>
                    </a:lnTo>
                    <a:lnTo>
                      <a:pt x="1581" y="1864"/>
                    </a:lnTo>
                    <a:lnTo>
                      <a:pt x="1600" y="1824"/>
                    </a:lnTo>
                    <a:lnTo>
                      <a:pt x="1623" y="1783"/>
                    </a:lnTo>
                    <a:lnTo>
                      <a:pt x="1647" y="1744"/>
                    </a:lnTo>
                    <a:lnTo>
                      <a:pt x="1673" y="1705"/>
                    </a:lnTo>
                    <a:lnTo>
                      <a:pt x="1700" y="1666"/>
                    </a:lnTo>
                    <a:lnTo>
                      <a:pt x="1724" y="1631"/>
                    </a:lnTo>
                    <a:lnTo>
                      <a:pt x="1748" y="1595"/>
                    </a:lnTo>
                    <a:lnTo>
                      <a:pt x="1772" y="1558"/>
                    </a:lnTo>
                    <a:lnTo>
                      <a:pt x="1796" y="1518"/>
                    </a:lnTo>
                    <a:lnTo>
                      <a:pt x="1817" y="1478"/>
                    </a:lnTo>
                    <a:lnTo>
                      <a:pt x="1839" y="1435"/>
                    </a:lnTo>
                    <a:lnTo>
                      <a:pt x="1858" y="1390"/>
                    </a:lnTo>
                    <a:lnTo>
                      <a:pt x="1875" y="1343"/>
                    </a:lnTo>
                    <a:lnTo>
                      <a:pt x="1890" y="1292"/>
                    </a:lnTo>
                    <a:lnTo>
                      <a:pt x="1902" y="1238"/>
                    </a:lnTo>
                    <a:lnTo>
                      <a:pt x="1911" y="1181"/>
                    </a:lnTo>
                    <a:lnTo>
                      <a:pt x="1917" y="1120"/>
                    </a:lnTo>
                    <a:lnTo>
                      <a:pt x="1919" y="1054"/>
                    </a:lnTo>
                    <a:lnTo>
                      <a:pt x="1916" y="983"/>
                    </a:lnTo>
                    <a:lnTo>
                      <a:pt x="1907" y="915"/>
                    </a:lnTo>
                    <a:lnTo>
                      <a:pt x="1890" y="847"/>
                    </a:lnTo>
                    <a:lnTo>
                      <a:pt x="1868" y="783"/>
                    </a:lnTo>
                    <a:lnTo>
                      <a:pt x="1841" y="721"/>
                    </a:lnTo>
                    <a:lnTo>
                      <a:pt x="1807" y="661"/>
                    </a:lnTo>
                    <a:lnTo>
                      <a:pt x="1769" y="606"/>
                    </a:lnTo>
                    <a:lnTo>
                      <a:pt x="1726" y="553"/>
                    </a:lnTo>
                    <a:lnTo>
                      <a:pt x="1679" y="505"/>
                    </a:lnTo>
                    <a:lnTo>
                      <a:pt x="1628" y="460"/>
                    </a:lnTo>
                    <a:lnTo>
                      <a:pt x="1572" y="418"/>
                    </a:lnTo>
                    <a:lnTo>
                      <a:pt x="1513" y="382"/>
                    </a:lnTo>
                    <a:lnTo>
                      <a:pt x="1451" y="352"/>
                    </a:lnTo>
                    <a:lnTo>
                      <a:pt x="1385" y="324"/>
                    </a:lnTo>
                    <a:lnTo>
                      <a:pt x="1317" y="304"/>
                    </a:lnTo>
                    <a:lnTo>
                      <a:pt x="1246" y="288"/>
                    </a:lnTo>
                    <a:lnTo>
                      <a:pt x="1174" y="279"/>
                    </a:lnTo>
                    <a:lnTo>
                      <a:pt x="1099" y="276"/>
                    </a:lnTo>
                    <a:close/>
                    <a:moveTo>
                      <a:pt x="1099" y="0"/>
                    </a:moveTo>
                    <a:lnTo>
                      <a:pt x="1188" y="3"/>
                    </a:lnTo>
                    <a:lnTo>
                      <a:pt x="1277" y="15"/>
                    </a:lnTo>
                    <a:lnTo>
                      <a:pt x="1362" y="32"/>
                    </a:lnTo>
                    <a:lnTo>
                      <a:pt x="1446" y="54"/>
                    </a:lnTo>
                    <a:lnTo>
                      <a:pt x="1525" y="83"/>
                    </a:lnTo>
                    <a:lnTo>
                      <a:pt x="1603" y="118"/>
                    </a:lnTo>
                    <a:lnTo>
                      <a:pt x="1676" y="159"/>
                    </a:lnTo>
                    <a:lnTo>
                      <a:pt x="1747" y="204"/>
                    </a:lnTo>
                    <a:lnTo>
                      <a:pt x="1813" y="255"/>
                    </a:lnTo>
                    <a:lnTo>
                      <a:pt x="1875" y="310"/>
                    </a:lnTo>
                    <a:lnTo>
                      <a:pt x="1932" y="368"/>
                    </a:lnTo>
                    <a:lnTo>
                      <a:pt x="1985" y="433"/>
                    </a:lnTo>
                    <a:lnTo>
                      <a:pt x="2033" y="499"/>
                    </a:lnTo>
                    <a:lnTo>
                      <a:pt x="2075" y="570"/>
                    </a:lnTo>
                    <a:lnTo>
                      <a:pt x="2111" y="644"/>
                    </a:lnTo>
                    <a:lnTo>
                      <a:pt x="2140" y="722"/>
                    </a:lnTo>
                    <a:lnTo>
                      <a:pt x="2165" y="801"/>
                    </a:lnTo>
                    <a:lnTo>
                      <a:pt x="2182" y="883"/>
                    </a:lnTo>
                    <a:lnTo>
                      <a:pt x="2194" y="968"/>
                    </a:lnTo>
                    <a:lnTo>
                      <a:pt x="2197" y="1054"/>
                    </a:lnTo>
                    <a:lnTo>
                      <a:pt x="2195" y="1128"/>
                    </a:lnTo>
                    <a:lnTo>
                      <a:pt x="2189" y="1197"/>
                    </a:lnTo>
                    <a:lnTo>
                      <a:pt x="2180" y="1263"/>
                    </a:lnTo>
                    <a:lnTo>
                      <a:pt x="2168" y="1326"/>
                    </a:lnTo>
                    <a:lnTo>
                      <a:pt x="2153" y="1384"/>
                    </a:lnTo>
                    <a:lnTo>
                      <a:pt x="2136" y="1440"/>
                    </a:lnTo>
                    <a:lnTo>
                      <a:pt x="2116" y="1493"/>
                    </a:lnTo>
                    <a:lnTo>
                      <a:pt x="2095" y="1542"/>
                    </a:lnTo>
                    <a:lnTo>
                      <a:pt x="2072" y="1588"/>
                    </a:lnTo>
                    <a:lnTo>
                      <a:pt x="2050" y="1632"/>
                    </a:lnTo>
                    <a:lnTo>
                      <a:pt x="2025" y="1675"/>
                    </a:lnTo>
                    <a:lnTo>
                      <a:pt x="2001" y="1714"/>
                    </a:lnTo>
                    <a:lnTo>
                      <a:pt x="1977" y="1752"/>
                    </a:lnTo>
                    <a:lnTo>
                      <a:pt x="1953" y="1787"/>
                    </a:lnTo>
                    <a:lnTo>
                      <a:pt x="1929" y="1820"/>
                    </a:lnTo>
                    <a:lnTo>
                      <a:pt x="1902" y="1862"/>
                    </a:lnTo>
                    <a:lnTo>
                      <a:pt x="1877" y="1899"/>
                    </a:lnTo>
                    <a:lnTo>
                      <a:pt x="1857" y="1933"/>
                    </a:lnTo>
                    <a:lnTo>
                      <a:pt x="1841" y="1963"/>
                    </a:lnTo>
                    <a:lnTo>
                      <a:pt x="1830" y="1991"/>
                    </a:lnTo>
                    <a:lnTo>
                      <a:pt x="1822" y="2019"/>
                    </a:lnTo>
                    <a:lnTo>
                      <a:pt x="1819" y="2044"/>
                    </a:lnTo>
                    <a:lnTo>
                      <a:pt x="1816" y="2095"/>
                    </a:lnTo>
                    <a:lnTo>
                      <a:pt x="1806" y="2145"/>
                    </a:lnTo>
                    <a:lnTo>
                      <a:pt x="1790" y="2193"/>
                    </a:lnTo>
                    <a:lnTo>
                      <a:pt x="1766" y="2240"/>
                    </a:lnTo>
                    <a:lnTo>
                      <a:pt x="1738" y="2285"/>
                    </a:lnTo>
                    <a:lnTo>
                      <a:pt x="1702" y="2328"/>
                    </a:lnTo>
                    <a:lnTo>
                      <a:pt x="1662" y="2369"/>
                    </a:lnTo>
                    <a:lnTo>
                      <a:pt x="1615" y="2406"/>
                    </a:lnTo>
                    <a:lnTo>
                      <a:pt x="1614" y="2429"/>
                    </a:lnTo>
                    <a:lnTo>
                      <a:pt x="1613" y="2456"/>
                    </a:lnTo>
                    <a:lnTo>
                      <a:pt x="1611" y="2485"/>
                    </a:lnTo>
                    <a:lnTo>
                      <a:pt x="1609" y="2515"/>
                    </a:lnTo>
                    <a:lnTo>
                      <a:pt x="1607" y="2546"/>
                    </a:lnTo>
                    <a:lnTo>
                      <a:pt x="1606" y="2576"/>
                    </a:lnTo>
                    <a:lnTo>
                      <a:pt x="1604" y="2605"/>
                    </a:lnTo>
                    <a:lnTo>
                      <a:pt x="1603" y="2631"/>
                    </a:lnTo>
                    <a:lnTo>
                      <a:pt x="1601" y="2653"/>
                    </a:lnTo>
                    <a:lnTo>
                      <a:pt x="1600" y="2671"/>
                    </a:lnTo>
                    <a:lnTo>
                      <a:pt x="1600" y="2682"/>
                    </a:lnTo>
                    <a:lnTo>
                      <a:pt x="1599" y="2685"/>
                    </a:lnTo>
                    <a:lnTo>
                      <a:pt x="1599" y="2699"/>
                    </a:lnTo>
                    <a:lnTo>
                      <a:pt x="1597" y="2715"/>
                    </a:lnTo>
                    <a:lnTo>
                      <a:pt x="1592" y="2732"/>
                    </a:lnTo>
                    <a:lnTo>
                      <a:pt x="1587" y="2750"/>
                    </a:lnTo>
                    <a:lnTo>
                      <a:pt x="1578" y="2770"/>
                    </a:lnTo>
                    <a:lnTo>
                      <a:pt x="1566" y="2789"/>
                    </a:lnTo>
                    <a:lnTo>
                      <a:pt x="1552" y="2809"/>
                    </a:lnTo>
                    <a:lnTo>
                      <a:pt x="1533" y="2831"/>
                    </a:lnTo>
                    <a:lnTo>
                      <a:pt x="1511" y="2850"/>
                    </a:lnTo>
                    <a:lnTo>
                      <a:pt x="1483" y="2870"/>
                    </a:lnTo>
                    <a:lnTo>
                      <a:pt x="1452" y="2888"/>
                    </a:lnTo>
                    <a:lnTo>
                      <a:pt x="1415" y="2906"/>
                    </a:lnTo>
                    <a:lnTo>
                      <a:pt x="1372" y="2922"/>
                    </a:lnTo>
                    <a:lnTo>
                      <a:pt x="1347" y="2953"/>
                    </a:lnTo>
                    <a:lnTo>
                      <a:pt x="1317" y="2983"/>
                    </a:lnTo>
                    <a:lnTo>
                      <a:pt x="1283" y="3010"/>
                    </a:lnTo>
                    <a:lnTo>
                      <a:pt x="1259" y="3022"/>
                    </a:lnTo>
                    <a:lnTo>
                      <a:pt x="1233" y="3030"/>
                    </a:lnTo>
                    <a:lnTo>
                      <a:pt x="1205" y="3032"/>
                    </a:lnTo>
                    <a:lnTo>
                      <a:pt x="992" y="3032"/>
                    </a:lnTo>
                    <a:lnTo>
                      <a:pt x="965" y="3030"/>
                    </a:lnTo>
                    <a:lnTo>
                      <a:pt x="939" y="3022"/>
                    </a:lnTo>
                    <a:lnTo>
                      <a:pt x="915" y="3010"/>
                    </a:lnTo>
                    <a:lnTo>
                      <a:pt x="881" y="2983"/>
                    </a:lnTo>
                    <a:lnTo>
                      <a:pt x="850" y="2953"/>
                    </a:lnTo>
                    <a:lnTo>
                      <a:pt x="825" y="2922"/>
                    </a:lnTo>
                    <a:lnTo>
                      <a:pt x="780" y="2904"/>
                    </a:lnTo>
                    <a:lnTo>
                      <a:pt x="741" y="2886"/>
                    </a:lnTo>
                    <a:lnTo>
                      <a:pt x="707" y="2866"/>
                    </a:lnTo>
                    <a:lnTo>
                      <a:pt x="680" y="2844"/>
                    </a:lnTo>
                    <a:lnTo>
                      <a:pt x="657" y="2823"/>
                    </a:lnTo>
                    <a:lnTo>
                      <a:pt x="639" y="2800"/>
                    </a:lnTo>
                    <a:lnTo>
                      <a:pt x="626" y="2779"/>
                    </a:lnTo>
                    <a:lnTo>
                      <a:pt x="614" y="2757"/>
                    </a:lnTo>
                    <a:lnTo>
                      <a:pt x="607" y="2737"/>
                    </a:lnTo>
                    <a:lnTo>
                      <a:pt x="602" y="2718"/>
                    </a:lnTo>
                    <a:lnTo>
                      <a:pt x="599" y="2701"/>
                    </a:lnTo>
                    <a:lnTo>
                      <a:pt x="598" y="2685"/>
                    </a:lnTo>
                    <a:lnTo>
                      <a:pt x="598" y="2685"/>
                    </a:lnTo>
                    <a:lnTo>
                      <a:pt x="598" y="2682"/>
                    </a:lnTo>
                    <a:lnTo>
                      <a:pt x="597" y="2671"/>
                    </a:lnTo>
                    <a:lnTo>
                      <a:pt x="596" y="2653"/>
                    </a:lnTo>
                    <a:lnTo>
                      <a:pt x="595" y="2631"/>
                    </a:lnTo>
                    <a:lnTo>
                      <a:pt x="594" y="2605"/>
                    </a:lnTo>
                    <a:lnTo>
                      <a:pt x="592" y="2576"/>
                    </a:lnTo>
                    <a:lnTo>
                      <a:pt x="590" y="2546"/>
                    </a:lnTo>
                    <a:lnTo>
                      <a:pt x="588" y="2515"/>
                    </a:lnTo>
                    <a:lnTo>
                      <a:pt x="587" y="2485"/>
                    </a:lnTo>
                    <a:lnTo>
                      <a:pt x="585" y="2456"/>
                    </a:lnTo>
                    <a:lnTo>
                      <a:pt x="584" y="2429"/>
                    </a:lnTo>
                    <a:lnTo>
                      <a:pt x="582" y="2406"/>
                    </a:lnTo>
                    <a:lnTo>
                      <a:pt x="536" y="2369"/>
                    </a:lnTo>
                    <a:lnTo>
                      <a:pt x="495" y="2328"/>
                    </a:lnTo>
                    <a:lnTo>
                      <a:pt x="460" y="2285"/>
                    </a:lnTo>
                    <a:lnTo>
                      <a:pt x="432" y="2240"/>
                    </a:lnTo>
                    <a:lnTo>
                      <a:pt x="408" y="2193"/>
                    </a:lnTo>
                    <a:lnTo>
                      <a:pt x="392" y="2145"/>
                    </a:lnTo>
                    <a:lnTo>
                      <a:pt x="382" y="2095"/>
                    </a:lnTo>
                    <a:lnTo>
                      <a:pt x="378" y="2044"/>
                    </a:lnTo>
                    <a:lnTo>
                      <a:pt x="376" y="2019"/>
                    </a:lnTo>
                    <a:lnTo>
                      <a:pt x="368" y="1991"/>
                    </a:lnTo>
                    <a:lnTo>
                      <a:pt x="357" y="1963"/>
                    </a:lnTo>
                    <a:lnTo>
                      <a:pt x="341" y="1933"/>
                    </a:lnTo>
                    <a:lnTo>
                      <a:pt x="320" y="1899"/>
                    </a:lnTo>
                    <a:lnTo>
                      <a:pt x="297" y="1862"/>
                    </a:lnTo>
                    <a:lnTo>
                      <a:pt x="268" y="1821"/>
                    </a:lnTo>
                    <a:lnTo>
                      <a:pt x="245" y="1788"/>
                    </a:lnTo>
                    <a:lnTo>
                      <a:pt x="222" y="1752"/>
                    </a:lnTo>
                    <a:lnTo>
                      <a:pt x="197" y="1714"/>
                    </a:lnTo>
                    <a:lnTo>
                      <a:pt x="173" y="1675"/>
                    </a:lnTo>
                    <a:lnTo>
                      <a:pt x="149" y="1633"/>
                    </a:lnTo>
                    <a:lnTo>
                      <a:pt x="125" y="1588"/>
                    </a:lnTo>
                    <a:lnTo>
                      <a:pt x="102" y="1542"/>
                    </a:lnTo>
                    <a:lnTo>
                      <a:pt x="82" y="1493"/>
                    </a:lnTo>
                    <a:lnTo>
                      <a:pt x="62" y="1440"/>
                    </a:lnTo>
                    <a:lnTo>
                      <a:pt x="45" y="1384"/>
                    </a:lnTo>
                    <a:lnTo>
                      <a:pt x="30" y="1326"/>
                    </a:lnTo>
                    <a:lnTo>
                      <a:pt x="17" y="1263"/>
                    </a:lnTo>
                    <a:lnTo>
                      <a:pt x="8" y="1197"/>
                    </a:lnTo>
                    <a:lnTo>
                      <a:pt x="3" y="1128"/>
                    </a:lnTo>
                    <a:lnTo>
                      <a:pt x="0" y="1054"/>
                    </a:lnTo>
                    <a:lnTo>
                      <a:pt x="4" y="968"/>
                    </a:lnTo>
                    <a:lnTo>
                      <a:pt x="15" y="883"/>
                    </a:lnTo>
                    <a:lnTo>
                      <a:pt x="32" y="801"/>
                    </a:lnTo>
                    <a:lnTo>
                      <a:pt x="57" y="722"/>
                    </a:lnTo>
                    <a:lnTo>
                      <a:pt x="87" y="644"/>
                    </a:lnTo>
                    <a:lnTo>
                      <a:pt x="123" y="570"/>
                    </a:lnTo>
                    <a:lnTo>
                      <a:pt x="165" y="499"/>
                    </a:lnTo>
                    <a:lnTo>
                      <a:pt x="213" y="433"/>
                    </a:lnTo>
                    <a:lnTo>
                      <a:pt x="266" y="368"/>
                    </a:lnTo>
                    <a:lnTo>
                      <a:pt x="323" y="310"/>
                    </a:lnTo>
                    <a:lnTo>
                      <a:pt x="385" y="255"/>
                    </a:lnTo>
                    <a:lnTo>
                      <a:pt x="451" y="204"/>
                    </a:lnTo>
                    <a:lnTo>
                      <a:pt x="521" y="159"/>
                    </a:lnTo>
                    <a:lnTo>
                      <a:pt x="595" y="118"/>
                    </a:lnTo>
                    <a:lnTo>
                      <a:pt x="672" y="83"/>
                    </a:lnTo>
                    <a:lnTo>
                      <a:pt x="753" y="54"/>
                    </a:lnTo>
                    <a:lnTo>
                      <a:pt x="836" y="32"/>
                    </a:lnTo>
                    <a:lnTo>
                      <a:pt x="921" y="15"/>
                    </a:lnTo>
                    <a:lnTo>
                      <a:pt x="1009" y="3"/>
                    </a:lnTo>
                    <a:lnTo>
                      <a:pt x="1099" y="0"/>
                    </a:lnTo>
                    <a:close/>
                  </a:path>
                </a:pathLst>
              </a:custGeom>
              <a:grpFill/>
              <a:ln w="0">
                <a:noFill/>
                <a:prstDash val="solid"/>
                <a:round/>
                <a:headEnd/>
                <a:tailEnd/>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endParaRPr>
              </a:p>
            </p:txBody>
          </p:sp>
          <p:sp>
            <p:nvSpPr>
              <p:cNvPr id="49" name="Freeform 34"/>
              <p:cNvSpPr>
                <a:spLocks/>
              </p:cNvSpPr>
              <p:nvPr/>
            </p:nvSpPr>
            <p:spPr bwMode="auto">
              <a:xfrm>
                <a:off x="2525713" y="1574800"/>
                <a:ext cx="31750" cy="79375"/>
              </a:xfrm>
              <a:custGeom>
                <a:avLst/>
                <a:gdLst>
                  <a:gd name="T0" fmla="*/ 69 w 138"/>
                  <a:gd name="T1" fmla="*/ 0 h 344"/>
                  <a:gd name="T2" fmla="*/ 69 w 138"/>
                  <a:gd name="T3" fmla="*/ 0 h 344"/>
                  <a:gd name="T4" fmla="*/ 87 w 138"/>
                  <a:gd name="T5" fmla="*/ 3 h 344"/>
                  <a:gd name="T6" fmla="*/ 104 w 138"/>
                  <a:gd name="T7" fmla="*/ 9 h 344"/>
                  <a:gd name="T8" fmla="*/ 118 w 138"/>
                  <a:gd name="T9" fmla="*/ 21 h 344"/>
                  <a:gd name="T10" fmla="*/ 129 w 138"/>
                  <a:gd name="T11" fmla="*/ 34 h 344"/>
                  <a:gd name="T12" fmla="*/ 136 w 138"/>
                  <a:gd name="T13" fmla="*/ 51 h 344"/>
                  <a:gd name="T14" fmla="*/ 138 w 138"/>
                  <a:gd name="T15" fmla="*/ 69 h 344"/>
                  <a:gd name="T16" fmla="*/ 138 w 138"/>
                  <a:gd name="T17" fmla="*/ 275 h 344"/>
                  <a:gd name="T18" fmla="*/ 136 w 138"/>
                  <a:gd name="T19" fmla="*/ 294 h 344"/>
                  <a:gd name="T20" fmla="*/ 129 w 138"/>
                  <a:gd name="T21" fmla="*/ 310 h 344"/>
                  <a:gd name="T22" fmla="*/ 118 w 138"/>
                  <a:gd name="T23" fmla="*/ 325 h 344"/>
                  <a:gd name="T24" fmla="*/ 104 w 138"/>
                  <a:gd name="T25" fmla="*/ 335 h 344"/>
                  <a:gd name="T26" fmla="*/ 87 w 138"/>
                  <a:gd name="T27" fmla="*/ 342 h 344"/>
                  <a:gd name="T28" fmla="*/ 69 w 138"/>
                  <a:gd name="T29" fmla="*/ 344 h 344"/>
                  <a:gd name="T30" fmla="*/ 51 w 138"/>
                  <a:gd name="T31" fmla="*/ 342 h 344"/>
                  <a:gd name="T32" fmla="*/ 34 w 138"/>
                  <a:gd name="T33" fmla="*/ 335 h 344"/>
                  <a:gd name="T34" fmla="*/ 20 w 138"/>
                  <a:gd name="T35" fmla="*/ 325 h 344"/>
                  <a:gd name="T36" fmla="*/ 9 w 138"/>
                  <a:gd name="T37" fmla="*/ 310 h 344"/>
                  <a:gd name="T38" fmla="*/ 2 w 138"/>
                  <a:gd name="T39" fmla="*/ 294 h 344"/>
                  <a:gd name="T40" fmla="*/ 0 w 138"/>
                  <a:gd name="T41" fmla="*/ 275 h 344"/>
                  <a:gd name="T42" fmla="*/ 0 w 138"/>
                  <a:gd name="T43" fmla="*/ 69 h 344"/>
                  <a:gd name="T44" fmla="*/ 2 w 138"/>
                  <a:gd name="T45" fmla="*/ 51 h 344"/>
                  <a:gd name="T46" fmla="*/ 9 w 138"/>
                  <a:gd name="T47" fmla="*/ 34 h 344"/>
                  <a:gd name="T48" fmla="*/ 20 w 138"/>
                  <a:gd name="T49" fmla="*/ 21 h 344"/>
                  <a:gd name="T50" fmla="*/ 34 w 138"/>
                  <a:gd name="T51" fmla="*/ 9 h 344"/>
                  <a:gd name="T52" fmla="*/ 51 w 138"/>
                  <a:gd name="T53" fmla="*/ 3 h 344"/>
                  <a:gd name="T54" fmla="*/ 69 w 138"/>
                  <a:gd name="T55" fmla="*/ 0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8" h="344">
                    <a:moveTo>
                      <a:pt x="69" y="0"/>
                    </a:moveTo>
                    <a:lnTo>
                      <a:pt x="69" y="0"/>
                    </a:lnTo>
                    <a:lnTo>
                      <a:pt x="87" y="3"/>
                    </a:lnTo>
                    <a:lnTo>
                      <a:pt x="104" y="9"/>
                    </a:lnTo>
                    <a:lnTo>
                      <a:pt x="118" y="21"/>
                    </a:lnTo>
                    <a:lnTo>
                      <a:pt x="129" y="34"/>
                    </a:lnTo>
                    <a:lnTo>
                      <a:pt x="136" y="51"/>
                    </a:lnTo>
                    <a:lnTo>
                      <a:pt x="138" y="69"/>
                    </a:lnTo>
                    <a:lnTo>
                      <a:pt x="138" y="275"/>
                    </a:lnTo>
                    <a:lnTo>
                      <a:pt x="136" y="294"/>
                    </a:lnTo>
                    <a:lnTo>
                      <a:pt x="129" y="310"/>
                    </a:lnTo>
                    <a:lnTo>
                      <a:pt x="118" y="325"/>
                    </a:lnTo>
                    <a:lnTo>
                      <a:pt x="104" y="335"/>
                    </a:lnTo>
                    <a:lnTo>
                      <a:pt x="87" y="342"/>
                    </a:lnTo>
                    <a:lnTo>
                      <a:pt x="69" y="344"/>
                    </a:lnTo>
                    <a:lnTo>
                      <a:pt x="51" y="342"/>
                    </a:lnTo>
                    <a:lnTo>
                      <a:pt x="34" y="335"/>
                    </a:lnTo>
                    <a:lnTo>
                      <a:pt x="20" y="325"/>
                    </a:lnTo>
                    <a:lnTo>
                      <a:pt x="9" y="310"/>
                    </a:lnTo>
                    <a:lnTo>
                      <a:pt x="2" y="294"/>
                    </a:lnTo>
                    <a:lnTo>
                      <a:pt x="0" y="275"/>
                    </a:lnTo>
                    <a:lnTo>
                      <a:pt x="0" y="69"/>
                    </a:lnTo>
                    <a:lnTo>
                      <a:pt x="2" y="51"/>
                    </a:lnTo>
                    <a:lnTo>
                      <a:pt x="9" y="34"/>
                    </a:lnTo>
                    <a:lnTo>
                      <a:pt x="20" y="21"/>
                    </a:lnTo>
                    <a:lnTo>
                      <a:pt x="34" y="9"/>
                    </a:lnTo>
                    <a:lnTo>
                      <a:pt x="51" y="3"/>
                    </a:lnTo>
                    <a:lnTo>
                      <a:pt x="69" y="0"/>
                    </a:lnTo>
                    <a:close/>
                  </a:path>
                </a:pathLst>
              </a:custGeom>
              <a:grpFill/>
              <a:ln w="0">
                <a:noFill/>
                <a:prstDash val="solid"/>
                <a:round/>
                <a:headEnd/>
                <a:tailEnd/>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endParaRPr>
              </a:p>
            </p:txBody>
          </p:sp>
          <p:sp>
            <p:nvSpPr>
              <p:cNvPr id="50" name="Freeform 35"/>
              <p:cNvSpPr>
                <a:spLocks/>
              </p:cNvSpPr>
              <p:nvPr/>
            </p:nvSpPr>
            <p:spPr bwMode="auto">
              <a:xfrm>
                <a:off x="2349500" y="1622425"/>
                <a:ext cx="53975" cy="71437"/>
              </a:xfrm>
              <a:custGeom>
                <a:avLst/>
                <a:gdLst>
                  <a:gd name="T0" fmla="*/ 69 w 243"/>
                  <a:gd name="T1" fmla="*/ 0 h 317"/>
                  <a:gd name="T2" fmla="*/ 87 w 243"/>
                  <a:gd name="T3" fmla="*/ 2 h 317"/>
                  <a:gd name="T4" fmla="*/ 103 w 243"/>
                  <a:gd name="T5" fmla="*/ 9 h 317"/>
                  <a:gd name="T6" fmla="*/ 118 w 243"/>
                  <a:gd name="T7" fmla="*/ 20 h 317"/>
                  <a:gd name="T8" fmla="*/ 129 w 243"/>
                  <a:gd name="T9" fmla="*/ 34 h 317"/>
                  <a:gd name="T10" fmla="*/ 233 w 243"/>
                  <a:gd name="T11" fmla="*/ 214 h 317"/>
                  <a:gd name="T12" fmla="*/ 240 w 243"/>
                  <a:gd name="T13" fmla="*/ 230 h 317"/>
                  <a:gd name="T14" fmla="*/ 243 w 243"/>
                  <a:gd name="T15" fmla="*/ 248 h 317"/>
                  <a:gd name="T16" fmla="*/ 240 w 243"/>
                  <a:gd name="T17" fmla="*/ 265 h 317"/>
                  <a:gd name="T18" fmla="*/ 233 w 243"/>
                  <a:gd name="T19" fmla="*/ 282 h 317"/>
                  <a:gd name="T20" fmla="*/ 223 w 243"/>
                  <a:gd name="T21" fmla="*/ 297 h 317"/>
                  <a:gd name="T22" fmla="*/ 209 w 243"/>
                  <a:gd name="T23" fmla="*/ 308 h 317"/>
                  <a:gd name="T24" fmla="*/ 191 w 243"/>
                  <a:gd name="T25" fmla="*/ 315 h 317"/>
                  <a:gd name="T26" fmla="*/ 173 w 243"/>
                  <a:gd name="T27" fmla="*/ 317 h 317"/>
                  <a:gd name="T28" fmla="*/ 155 w 243"/>
                  <a:gd name="T29" fmla="*/ 315 h 317"/>
                  <a:gd name="T30" fmla="*/ 139 w 243"/>
                  <a:gd name="T31" fmla="*/ 308 h 317"/>
                  <a:gd name="T32" fmla="*/ 125 w 243"/>
                  <a:gd name="T33" fmla="*/ 297 h 317"/>
                  <a:gd name="T34" fmla="*/ 113 w 243"/>
                  <a:gd name="T35" fmla="*/ 282 h 317"/>
                  <a:gd name="T36" fmla="*/ 9 w 243"/>
                  <a:gd name="T37" fmla="*/ 103 h 317"/>
                  <a:gd name="T38" fmla="*/ 2 w 243"/>
                  <a:gd name="T39" fmla="*/ 86 h 317"/>
                  <a:gd name="T40" fmla="*/ 0 w 243"/>
                  <a:gd name="T41" fmla="*/ 68 h 317"/>
                  <a:gd name="T42" fmla="*/ 2 w 243"/>
                  <a:gd name="T43" fmla="*/ 51 h 317"/>
                  <a:gd name="T44" fmla="*/ 9 w 243"/>
                  <a:gd name="T45" fmla="*/ 34 h 317"/>
                  <a:gd name="T46" fmla="*/ 20 w 243"/>
                  <a:gd name="T47" fmla="*/ 21 h 317"/>
                  <a:gd name="T48" fmla="*/ 34 w 243"/>
                  <a:gd name="T49" fmla="*/ 10 h 317"/>
                  <a:gd name="T50" fmla="*/ 52 w 243"/>
                  <a:gd name="T51" fmla="*/ 2 h 317"/>
                  <a:gd name="T52" fmla="*/ 69 w 243"/>
                  <a:gd name="T53"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3" h="317">
                    <a:moveTo>
                      <a:pt x="69" y="0"/>
                    </a:moveTo>
                    <a:lnTo>
                      <a:pt x="87" y="2"/>
                    </a:lnTo>
                    <a:lnTo>
                      <a:pt x="103" y="9"/>
                    </a:lnTo>
                    <a:lnTo>
                      <a:pt x="118" y="20"/>
                    </a:lnTo>
                    <a:lnTo>
                      <a:pt x="129" y="34"/>
                    </a:lnTo>
                    <a:lnTo>
                      <a:pt x="233" y="214"/>
                    </a:lnTo>
                    <a:lnTo>
                      <a:pt x="240" y="230"/>
                    </a:lnTo>
                    <a:lnTo>
                      <a:pt x="243" y="248"/>
                    </a:lnTo>
                    <a:lnTo>
                      <a:pt x="240" y="265"/>
                    </a:lnTo>
                    <a:lnTo>
                      <a:pt x="233" y="282"/>
                    </a:lnTo>
                    <a:lnTo>
                      <a:pt x="223" y="297"/>
                    </a:lnTo>
                    <a:lnTo>
                      <a:pt x="209" y="308"/>
                    </a:lnTo>
                    <a:lnTo>
                      <a:pt x="191" y="315"/>
                    </a:lnTo>
                    <a:lnTo>
                      <a:pt x="173" y="317"/>
                    </a:lnTo>
                    <a:lnTo>
                      <a:pt x="155" y="315"/>
                    </a:lnTo>
                    <a:lnTo>
                      <a:pt x="139" y="308"/>
                    </a:lnTo>
                    <a:lnTo>
                      <a:pt x="125" y="297"/>
                    </a:lnTo>
                    <a:lnTo>
                      <a:pt x="113" y="282"/>
                    </a:lnTo>
                    <a:lnTo>
                      <a:pt x="9" y="103"/>
                    </a:lnTo>
                    <a:lnTo>
                      <a:pt x="2" y="86"/>
                    </a:lnTo>
                    <a:lnTo>
                      <a:pt x="0" y="68"/>
                    </a:lnTo>
                    <a:lnTo>
                      <a:pt x="2" y="51"/>
                    </a:lnTo>
                    <a:lnTo>
                      <a:pt x="9" y="34"/>
                    </a:lnTo>
                    <a:lnTo>
                      <a:pt x="20" y="21"/>
                    </a:lnTo>
                    <a:lnTo>
                      <a:pt x="34" y="10"/>
                    </a:lnTo>
                    <a:lnTo>
                      <a:pt x="52" y="2"/>
                    </a:lnTo>
                    <a:lnTo>
                      <a:pt x="69" y="0"/>
                    </a:lnTo>
                    <a:close/>
                  </a:path>
                </a:pathLst>
              </a:custGeom>
              <a:grpFill/>
              <a:ln w="0">
                <a:noFill/>
                <a:prstDash val="solid"/>
                <a:round/>
                <a:headEnd/>
                <a:tailEnd/>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endParaRPr>
              </a:p>
            </p:txBody>
          </p:sp>
          <p:sp>
            <p:nvSpPr>
              <p:cNvPr id="51" name="Freeform 36"/>
              <p:cNvSpPr>
                <a:spLocks/>
              </p:cNvSpPr>
              <p:nvPr/>
            </p:nvSpPr>
            <p:spPr bwMode="auto">
              <a:xfrm>
                <a:off x="2219325" y="1751013"/>
                <a:ext cx="71438" cy="55562"/>
              </a:xfrm>
              <a:custGeom>
                <a:avLst/>
                <a:gdLst>
                  <a:gd name="T0" fmla="*/ 69 w 319"/>
                  <a:gd name="T1" fmla="*/ 0 h 241"/>
                  <a:gd name="T2" fmla="*/ 86 w 319"/>
                  <a:gd name="T3" fmla="*/ 3 h 241"/>
                  <a:gd name="T4" fmla="*/ 104 w 319"/>
                  <a:gd name="T5" fmla="*/ 9 h 241"/>
                  <a:gd name="T6" fmla="*/ 285 w 319"/>
                  <a:gd name="T7" fmla="*/ 112 h 241"/>
                  <a:gd name="T8" fmla="*/ 299 w 319"/>
                  <a:gd name="T9" fmla="*/ 124 h 241"/>
                  <a:gd name="T10" fmla="*/ 310 w 319"/>
                  <a:gd name="T11" fmla="*/ 138 h 241"/>
                  <a:gd name="T12" fmla="*/ 316 w 319"/>
                  <a:gd name="T13" fmla="*/ 155 h 241"/>
                  <a:gd name="T14" fmla="*/ 319 w 319"/>
                  <a:gd name="T15" fmla="*/ 172 h 241"/>
                  <a:gd name="T16" fmla="*/ 316 w 319"/>
                  <a:gd name="T17" fmla="*/ 190 h 241"/>
                  <a:gd name="T18" fmla="*/ 310 w 319"/>
                  <a:gd name="T19" fmla="*/ 206 h 241"/>
                  <a:gd name="T20" fmla="*/ 298 w 319"/>
                  <a:gd name="T21" fmla="*/ 221 h 241"/>
                  <a:gd name="T22" fmla="*/ 283 w 319"/>
                  <a:gd name="T23" fmla="*/ 232 h 241"/>
                  <a:gd name="T24" fmla="*/ 266 w 319"/>
                  <a:gd name="T25" fmla="*/ 239 h 241"/>
                  <a:gd name="T26" fmla="*/ 249 w 319"/>
                  <a:gd name="T27" fmla="*/ 241 h 241"/>
                  <a:gd name="T28" fmla="*/ 231 w 319"/>
                  <a:gd name="T29" fmla="*/ 239 h 241"/>
                  <a:gd name="T30" fmla="*/ 214 w 319"/>
                  <a:gd name="T31" fmla="*/ 231 h 241"/>
                  <a:gd name="T32" fmla="*/ 34 w 319"/>
                  <a:gd name="T33" fmla="*/ 129 h 241"/>
                  <a:gd name="T34" fmla="*/ 19 w 319"/>
                  <a:gd name="T35" fmla="*/ 118 h 241"/>
                  <a:gd name="T36" fmla="*/ 9 w 319"/>
                  <a:gd name="T37" fmla="*/ 103 h 241"/>
                  <a:gd name="T38" fmla="*/ 2 w 319"/>
                  <a:gd name="T39" fmla="*/ 87 h 241"/>
                  <a:gd name="T40" fmla="*/ 0 w 319"/>
                  <a:gd name="T41" fmla="*/ 69 h 241"/>
                  <a:gd name="T42" fmla="*/ 2 w 319"/>
                  <a:gd name="T43" fmla="*/ 51 h 241"/>
                  <a:gd name="T44" fmla="*/ 9 w 319"/>
                  <a:gd name="T45" fmla="*/ 34 h 241"/>
                  <a:gd name="T46" fmla="*/ 20 w 319"/>
                  <a:gd name="T47" fmla="*/ 20 h 241"/>
                  <a:gd name="T48" fmla="*/ 35 w 319"/>
                  <a:gd name="T49" fmla="*/ 9 h 241"/>
                  <a:gd name="T50" fmla="*/ 51 w 319"/>
                  <a:gd name="T51" fmla="*/ 3 h 241"/>
                  <a:gd name="T52" fmla="*/ 69 w 319"/>
                  <a:gd name="T53"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9" h="241">
                    <a:moveTo>
                      <a:pt x="69" y="0"/>
                    </a:moveTo>
                    <a:lnTo>
                      <a:pt x="86" y="3"/>
                    </a:lnTo>
                    <a:lnTo>
                      <a:pt x="104" y="9"/>
                    </a:lnTo>
                    <a:lnTo>
                      <a:pt x="285" y="112"/>
                    </a:lnTo>
                    <a:lnTo>
                      <a:pt x="299" y="124"/>
                    </a:lnTo>
                    <a:lnTo>
                      <a:pt x="310" y="138"/>
                    </a:lnTo>
                    <a:lnTo>
                      <a:pt x="316" y="155"/>
                    </a:lnTo>
                    <a:lnTo>
                      <a:pt x="319" y="172"/>
                    </a:lnTo>
                    <a:lnTo>
                      <a:pt x="316" y="190"/>
                    </a:lnTo>
                    <a:lnTo>
                      <a:pt x="310" y="206"/>
                    </a:lnTo>
                    <a:lnTo>
                      <a:pt x="298" y="221"/>
                    </a:lnTo>
                    <a:lnTo>
                      <a:pt x="283" y="232"/>
                    </a:lnTo>
                    <a:lnTo>
                      <a:pt x="266" y="239"/>
                    </a:lnTo>
                    <a:lnTo>
                      <a:pt x="249" y="241"/>
                    </a:lnTo>
                    <a:lnTo>
                      <a:pt x="231" y="239"/>
                    </a:lnTo>
                    <a:lnTo>
                      <a:pt x="214" y="231"/>
                    </a:lnTo>
                    <a:lnTo>
                      <a:pt x="34" y="129"/>
                    </a:lnTo>
                    <a:lnTo>
                      <a:pt x="19" y="118"/>
                    </a:lnTo>
                    <a:lnTo>
                      <a:pt x="9" y="103"/>
                    </a:lnTo>
                    <a:lnTo>
                      <a:pt x="2" y="87"/>
                    </a:lnTo>
                    <a:lnTo>
                      <a:pt x="0" y="69"/>
                    </a:lnTo>
                    <a:lnTo>
                      <a:pt x="2" y="51"/>
                    </a:lnTo>
                    <a:lnTo>
                      <a:pt x="9" y="34"/>
                    </a:lnTo>
                    <a:lnTo>
                      <a:pt x="20" y="20"/>
                    </a:lnTo>
                    <a:lnTo>
                      <a:pt x="35" y="9"/>
                    </a:lnTo>
                    <a:lnTo>
                      <a:pt x="51" y="3"/>
                    </a:lnTo>
                    <a:lnTo>
                      <a:pt x="69" y="0"/>
                    </a:lnTo>
                    <a:close/>
                  </a:path>
                </a:pathLst>
              </a:custGeom>
              <a:grpFill/>
              <a:ln w="0">
                <a:noFill/>
                <a:prstDash val="solid"/>
                <a:round/>
                <a:headEnd/>
                <a:tailEnd/>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endParaRPr>
              </a:p>
            </p:txBody>
          </p:sp>
          <p:sp>
            <p:nvSpPr>
              <p:cNvPr id="52" name="Freeform 37"/>
              <p:cNvSpPr>
                <a:spLocks/>
              </p:cNvSpPr>
              <p:nvPr/>
            </p:nvSpPr>
            <p:spPr bwMode="auto">
              <a:xfrm>
                <a:off x="2171700" y="1927225"/>
                <a:ext cx="77788" cy="31750"/>
              </a:xfrm>
              <a:custGeom>
                <a:avLst/>
                <a:gdLst>
                  <a:gd name="T0" fmla="*/ 69 w 347"/>
                  <a:gd name="T1" fmla="*/ 0 h 139"/>
                  <a:gd name="T2" fmla="*/ 278 w 347"/>
                  <a:gd name="T3" fmla="*/ 0 h 139"/>
                  <a:gd name="T4" fmla="*/ 296 w 347"/>
                  <a:gd name="T5" fmla="*/ 4 h 139"/>
                  <a:gd name="T6" fmla="*/ 313 w 347"/>
                  <a:gd name="T7" fmla="*/ 10 h 139"/>
                  <a:gd name="T8" fmla="*/ 327 w 347"/>
                  <a:gd name="T9" fmla="*/ 21 h 139"/>
                  <a:gd name="T10" fmla="*/ 338 w 347"/>
                  <a:gd name="T11" fmla="*/ 35 h 139"/>
                  <a:gd name="T12" fmla="*/ 345 w 347"/>
                  <a:gd name="T13" fmla="*/ 51 h 139"/>
                  <a:gd name="T14" fmla="*/ 347 w 347"/>
                  <a:gd name="T15" fmla="*/ 70 h 139"/>
                  <a:gd name="T16" fmla="*/ 345 w 347"/>
                  <a:gd name="T17" fmla="*/ 88 h 139"/>
                  <a:gd name="T18" fmla="*/ 338 w 347"/>
                  <a:gd name="T19" fmla="*/ 104 h 139"/>
                  <a:gd name="T20" fmla="*/ 327 w 347"/>
                  <a:gd name="T21" fmla="*/ 119 h 139"/>
                  <a:gd name="T22" fmla="*/ 313 w 347"/>
                  <a:gd name="T23" fmla="*/ 129 h 139"/>
                  <a:gd name="T24" fmla="*/ 296 w 347"/>
                  <a:gd name="T25" fmla="*/ 137 h 139"/>
                  <a:gd name="T26" fmla="*/ 278 w 347"/>
                  <a:gd name="T27" fmla="*/ 139 h 139"/>
                  <a:gd name="T28" fmla="*/ 69 w 347"/>
                  <a:gd name="T29" fmla="*/ 139 h 139"/>
                  <a:gd name="T30" fmla="*/ 51 w 347"/>
                  <a:gd name="T31" fmla="*/ 137 h 139"/>
                  <a:gd name="T32" fmla="*/ 35 w 347"/>
                  <a:gd name="T33" fmla="*/ 129 h 139"/>
                  <a:gd name="T34" fmla="*/ 20 w 347"/>
                  <a:gd name="T35" fmla="*/ 119 h 139"/>
                  <a:gd name="T36" fmla="*/ 10 w 347"/>
                  <a:gd name="T37" fmla="*/ 104 h 139"/>
                  <a:gd name="T38" fmla="*/ 2 w 347"/>
                  <a:gd name="T39" fmla="*/ 88 h 139"/>
                  <a:gd name="T40" fmla="*/ 0 w 347"/>
                  <a:gd name="T41" fmla="*/ 70 h 139"/>
                  <a:gd name="T42" fmla="*/ 2 w 347"/>
                  <a:gd name="T43" fmla="*/ 51 h 139"/>
                  <a:gd name="T44" fmla="*/ 10 w 347"/>
                  <a:gd name="T45" fmla="*/ 35 h 139"/>
                  <a:gd name="T46" fmla="*/ 20 w 347"/>
                  <a:gd name="T47" fmla="*/ 21 h 139"/>
                  <a:gd name="T48" fmla="*/ 35 w 347"/>
                  <a:gd name="T49" fmla="*/ 10 h 139"/>
                  <a:gd name="T50" fmla="*/ 51 w 347"/>
                  <a:gd name="T51" fmla="*/ 4 h 139"/>
                  <a:gd name="T52" fmla="*/ 69 w 347"/>
                  <a:gd name="T53"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7" h="139">
                    <a:moveTo>
                      <a:pt x="69" y="0"/>
                    </a:moveTo>
                    <a:lnTo>
                      <a:pt x="278" y="0"/>
                    </a:lnTo>
                    <a:lnTo>
                      <a:pt x="296" y="4"/>
                    </a:lnTo>
                    <a:lnTo>
                      <a:pt x="313" y="10"/>
                    </a:lnTo>
                    <a:lnTo>
                      <a:pt x="327" y="21"/>
                    </a:lnTo>
                    <a:lnTo>
                      <a:pt x="338" y="35"/>
                    </a:lnTo>
                    <a:lnTo>
                      <a:pt x="345" y="51"/>
                    </a:lnTo>
                    <a:lnTo>
                      <a:pt x="347" y="70"/>
                    </a:lnTo>
                    <a:lnTo>
                      <a:pt x="345" y="88"/>
                    </a:lnTo>
                    <a:lnTo>
                      <a:pt x="338" y="104"/>
                    </a:lnTo>
                    <a:lnTo>
                      <a:pt x="327" y="119"/>
                    </a:lnTo>
                    <a:lnTo>
                      <a:pt x="313" y="129"/>
                    </a:lnTo>
                    <a:lnTo>
                      <a:pt x="296" y="137"/>
                    </a:lnTo>
                    <a:lnTo>
                      <a:pt x="278" y="139"/>
                    </a:lnTo>
                    <a:lnTo>
                      <a:pt x="69" y="139"/>
                    </a:lnTo>
                    <a:lnTo>
                      <a:pt x="51" y="137"/>
                    </a:lnTo>
                    <a:lnTo>
                      <a:pt x="35" y="129"/>
                    </a:lnTo>
                    <a:lnTo>
                      <a:pt x="20" y="119"/>
                    </a:lnTo>
                    <a:lnTo>
                      <a:pt x="10" y="104"/>
                    </a:lnTo>
                    <a:lnTo>
                      <a:pt x="2" y="88"/>
                    </a:lnTo>
                    <a:lnTo>
                      <a:pt x="0" y="70"/>
                    </a:lnTo>
                    <a:lnTo>
                      <a:pt x="2" y="51"/>
                    </a:lnTo>
                    <a:lnTo>
                      <a:pt x="10" y="35"/>
                    </a:lnTo>
                    <a:lnTo>
                      <a:pt x="20" y="21"/>
                    </a:lnTo>
                    <a:lnTo>
                      <a:pt x="35" y="10"/>
                    </a:lnTo>
                    <a:lnTo>
                      <a:pt x="51" y="4"/>
                    </a:lnTo>
                    <a:lnTo>
                      <a:pt x="69" y="0"/>
                    </a:lnTo>
                    <a:close/>
                  </a:path>
                </a:pathLst>
              </a:custGeom>
              <a:grpFill/>
              <a:ln w="0">
                <a:noFill/>
                <a:prstDash val="solid"/>
                <a:round/>
                <a:headEnd/>
                <a:tailEnd/>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endParaRPr>
              </a:p>
            </p:txBody>
          </p:sp>
          <p:sp>
            <p:nvSpPr>
              <p:cNvPr id="53" name="Freeform 38"/>
              <p:cNvSpPr>
                <a:spLocks/>
              </p:cNvSpPr>
              <p:nvPr/>
            </p:nvSpPr>
            <p:spPr bwMode="auto">
              <a:xfrm>
                <a:off x="2219325" y="2079625"/>
                <a:ext cx="71438" cy="55562"/>
              </a:xfrm>
              <a:custGeom>
                <a:avLst/>
                <a:gdLst>
                  <a:gd name="T0" fmla="*/ 249 w 319"/>
                  <a:gd name="T1" fmla="*/ 0 h 242"/>
                  <a:gd name="T2" fmla="*/ 268 w 319"/>
                  <a:gd name="T3" fmla="*/ 3 h 242"/>
                  <a:gd name="T4" fmla="*/ 283 w 319"/>
                  <a:gd name="T5" fmla="*/ 9 h 242"/>
                  <a:gd name="T6" fmla="*/ 298 w 319"/>
                  <a:gd name="T7" fmla="*/ 20 h 242"/>
                  <a:gd name="T8" fmla="*/ 310 w 319"/>
                  <a:gd name="T9" fmla="*/ 35 h 242"/>
                  <a:gd name="T10" fmla="*/ 316 w 319"/>
                  <a:gd name="T11" fmla="*/ 52 h 242"/>
                  <a:gd name="T12" fmla="*/ 319 w 319"/>
                  <a:gd name="T13" fmla="*/ 70 h 242"/>
                  <a:gd name="T14" fmla="*/ 316 w 319"/>
                  <a:gd name="T15" fmla="*/ 86 h 242"/>
                  <a:gd name="T16" fmla="*/ 310 w 319"/>
                  <a:gd name="T17" fmla="*/ 103 h 242"/>
                  <a:gd name="T18" fmla="*/ 298 w 319"/>
                  <a:gd name="T19" fmla="*/ 118 h 242"/>
                  <a:gd name="T20" fmla="*/ 285 w 319"/>
                  <a:gd name="T21" fmla="*/ 129 h 242"/>
                  <a:gd name="T22" fmla="*/ 104 w 319"/>
                  <a:gd name="T23" fmla="*/ 232 h 242"/>
                  <a:gd name="T24" fmla="*/ 87 w 319"/>
                  <a:gd name="T25" fmla="*/ 239 h 242"/>
                  <a:gd name="T26" fmla="*/ 69 w 319"/>
                  <a:gd name="T27" fmla="*/ 242 h 242"/>
                  <a:gd name="T28" fmla="*/ 51 w 319"/>
                  <a:gd name="T29" fmla="*/ 239 h 242"/>
                  <a:gd name="T30" fmla="*/ 35 w 319"/>
                  <a:gd name="T31" fmla="*/ 233 h 242"/>
                  <a:gd name="T32" fmla="*/ 20 w 319"/>
                  <a:gd name="T33" fmla="*/ 222 h 242"/>
                  <a:gd name="T34" fmla="*/ 9 w 319"/>
                  <a:gd name="T35" fmla="*/ 207 h 242"/>
                  <a:gd name="T36" fmla="*/ 2 w 319"/>
                  <a:gd name="T37" fmla="*/ 190 h 242"/>
                  <a:gd name="T38" fmla="*/ 0 w 319"/>
                  <a:gd name="T39" fmla="*/ 172 h 242"/>
                  <a:gd name="T40" fmla="*/ 2 w 319"/>
                  <a:gd name="T41" fmla="*/ 155 h 242"/>
                  <a:gd name="T42" fmla="*/ 9 w 319"/>
                  <a:gd name="T43" fmla="*/ 138 h 242"/>
                  <a:gd name="T44" fmla="*/ 19 w 319"/>
                  <a:gd name="T45" fmla="*/ 125 h 242"/>
                  <a:gd name="T46" fmla="*/ 34 w 319"/>
                  <a:gd name="T47" fmla="*/ 114 h 242"/>
                  <a:gd name="T48" fmla="*/ 214 w 319"/>
                  <a:gd name="T49" fmla="*/ 10 h 242"/>
                  <a:gd name="T50" fmla="*/ 232 w 319"/>
                  <a:gd name="T51" fmla="*/ 2 h 242"/>
                  <a:gd name="T52" fmla="*/ 249 w 319"/>
                  <a:gd name="T53"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9" h="242">
                    <a:moveTo>
                      <a:pt x="249" y="0"/>
                    </a:moveTo>
                    <a:lnTo>
                      <a:pt x="268" y="3"/>
                    </a:lnTo>
                    <a:lnTo>
                      <a:pt x="283" y="9"/>
                    </a:lnTo>
                    <a:lnTo>
                      <a:pt x="298" y="20"/>
                    </a:lnTo>
                    <a:lnTo>
                      <a:pt x="310" y="35"/>
                    </a:lnTo>
                    <a:lnTo>
                      <a:pt x="316" y="52"/>
                    </a:lnTo>
                    <a:lnTo>
                      <a:pt x="319" y="70"/>
                    </a:lnTo>
                    <a:lnTo>
                      <a:pt x="316" y="86"/>
                    </a:lnTo>
                    <a:lnTo>
                      <a:pt x="310" y="103"/>
                    </a:lnTo>
                    <a:lnTo>
                      <a:pt x="298" y="118"/>
                    </a:lnTo>
                    <a:lnTo>
                      <a:pt x="285" y="129"/>
                    </a:lnTo>
                    <a:lnTo>
                      <a:pt x="104" y="232"/>
                    </a:lnTo>
                    <a:lnTo>
                      <a:pt x="87" y="239"/>
                    </a:lnTo>
                    <a:lnTo>
                      <a:pt x="69" y="242"/>
                    </a:lnTo>
                    <a:lnTo>
                      <a:pt x="51" y="239"/>
                    </a:lnTo>
                    <a:lnTo>
                      <a:pt x="35" y="233"/>
                    </a:lnTo>
                    <a:lnTo>
                      <a:pt x="20" y="222"/>
                    </a:lnTo>
                    <a:lnTo>
                      <a:pt x="9" y="207"/>
                    </a:lnTo>
                    <a:lnTo>
                      <a:pt x="2" y="190"/>
                    </a:lnTo>
                    <a:lnTo>
                      <a:pt x="0" y="172"/>
                    </a:lnTo>
                    <a:lnTo>
                      <a:pt x="2" y="155"/>
                    </a:lnTo>
                    <a:lnTo>
                      <a:pt x="9" y="138"/>
                    </a:lnTo>
                    <a:lnTo>
                      <a:pt x="19" y="125"/>
                    </a:lnTo>
                    <a:lnTo>
                      <a:pt x="34" y="114"/>
                    </a:lnTo>
                    <a:lnTo>
                      <a:pt x="214" y="10"/>
                    </a:lnTo>
                    <a:lnTo>
                      <a:pt x="232" y="2"/>
                    </a:lnTo>
                    <a:lnTo>
                      <a:pt x="249" y="0"/>
                    </a:lnTo>
                    <a:close/>
                  </a:path>
                </a:pathLst>
              </a:custGeom>
              <a:grpFill/>
              <a:ln w="0">
                <a:noFill/>
                <a:prstDash val="solid"/>
                <a:round/>
                <a:headEnd/>
                <a:tailEnd/>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endParaRPr>
              </a:p>
            </p:txBody>
          </p:sp>
          <p:sp>
            <p:nvSpPr>
              <p:cNvPr id="54" name="Freeform 39"/>
              <p:cNvSpPr>
                <a:spLocks/>
              </p:cNvSpPr>
              <p:nvPr/>
            </p:nvSpPr>
            <p:spPr bwMode="auto">
              <a:xfrm>
                <a:off x="2792413" y="2079625"/>
                <a:ext cx="71438" cy="55562"/>
              </a:xfrm>
              <a:custGeom>
                <a:avLst/>
                <a:gdLst>
                  <a:gd name="T0" fmla="*/ 69 w 319"/>
                  <a:gd name="T1" fmla="*/ 0 h 242"/>
                  <a:gd name="T2" fmla="*/ 87 w 319"/>
                  <a:gd name="T3" fmla="*/ 2 h 242"/>
                  <a:gd name="T4" fmla="*/ 104 w 319"/>
                  <a:gd name="T5" fmla="*/ 10 h 242"/>
                  <a:gd name="T6" fmla="*/ 285 w 319"/>
                  <a:gd name="T7" fmla="*/ 114 h 242"/>
                  <a:gd name="T8" fmla="*/ 299 w 319"/>
                  <a:gd name="T9" fmla="*/ 125 h 242"/>
                  <a:gd name="T10" fmla="*/ 310 w 319"/>
                  <a:gd name="T11" fmla="*/ 138 h 242"/>
                  <a:gd name="T12" fmla="*/ 316 w 319"/>
                  <a:gd name="T13" fmla="*/ 155 h 242"/>
                  <a:gd name="T14" fmla="*/ 319 w 319"/>
                  <a:gd name="T15" fmla="*/ 172 h 242"/>
                  <a:gd name="T16" fmla="*/ 316 w 319"/>
                  <a:gd name="T17" fmla="*/ 190 h 242"/>
                  <a:gd name="T18" fmla="*/ 310 w 319"/>
                  <a:gd name="T19" fmla="*/ 207 h 242"/>
                  <a:gd name="T20" fmla="*/ 298 w 319"/>
                  <a:gd name="T21" fmla="*/ 222 h 242"/>
                  <a:gd name="T22" fmla="*/ 284 w 319"/>
                  <a:gd name="T23" fmla="*/ 233 h 242"/>
                  <a:gd name="T24" fmla="*/ 268 w 319"/>
                  <a:gd name="T25" fmla="*/ 239 h 242"/>
                  <a:gd name="T26" fmla="*/ 250 w 319"/>
                  <a:gd name="T27" fmla="*/ 242 h 242"/>
                  <a:gd name="T28" fmla="*/ 231 w 319"/>
                  <a:gd name="T29" fmla="*/ 239 h 242"/>
                  <a:gd name="T30" fmla="*/ 214 w 319"/>
                  <a:gd name="T31" fmla="*/ 232 h 242"/>
                  <a:gd name="T32" fmla="*/ 34 w 319"/>
                  <a:gd name="T33" fmla="*/ 129 h 242"/>
                  <a:gd name="T34" fmla="*/ 20 w 319"/>
                  <a:gd name="T35" fmla="*/ 118 h 242"/>
                  <a:gd name="T36" fmla="*/ 9 w 319"/>
                  <a:gd name="T37" fmla="*/ 103 h 242"/>
                  <a:gd name="T38" fmla="*/ 2 w 319"/>
                  <a:gd name="T39" fmla="*/ 86 h 242"/>
                  <a:gd name="T40" fmla="*/ 0 w 319"/>
                  <a:gd name="T41" fmla="*/ 70 h 242"/>
                  <a:gd name="T42" fmla="*/ 2 w 319"/>
                  <a:gd name="T43" fmla="*/ 52 h 242"/>
                  <a:gd name="T44" fmla="*/ 9 w 319"/>
                  <a:gd name="T45" fmla="*/ 35 h 242"/>
                  <a:gd name="T46" fmla="*/ 20 w 319"/>
                  <a:gd name="T47" fmla="*/ 20 h 242"/>
                  <a:gd name="T48" fmla="*/ 35 w 319"/>
                  <a:gd name="T49" fmla="*/ 9 h 242"/>
                  <a:gd name="T50" fmla="*/ 51 w 319"/>
                  <a:gd name="T51" fmla="*/ 3 h 242"/>
                  <a:gd name="T52" fmla="*/ 69 w 319"/>
                  <a:gd name="T53"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9" h="242">
                    <a:moveTo>
                      <a:pt x="69" y="0"/>
                    </a:moveTo>
                    <a:lnTo>
                      <a:pt x="87" y="2"/>
                    </a:lnTo>
                    <a:lnTo>
                      <a:pt x="104" y="10"/>
                    </a:lnTo>
                    <a:lnTo>
                      <a:pt x="285" y="114"/>
                    </a:lnTo>
                    <a:lnTo>
                      <a:pt x="299" y="125"/>
                    </a:lnTo>
                    <a:lnTo>
                      <a:pt x="310" y="138"/>
                    </a:lnTo>
                    <a:lnTo>
                      <a:pt x="316" y="155"/>
                    </a:lnTo>
                    <a:lnTo>
                      <a:pt x="319" y="172"/>
                    </a:lnTo>
                    <a:lnTo>
                      <a:pt x="316" y="190"/>
                    </a:lnTo>
                    <a:lnTo>
                      <a:pt x="310" y="207"/>
                    </a:lnTo>
                    <a:lnTo>
                      <a:pt x="298" y="222"/>
                    </a:lnTo>
                    <a:lnTo>
                      <a:pt x="284" y="233"/>
                    </a:lnTo>
                    <a:lnTo>
                      <a:pt x="268" y="239"/>
                    </a:lnTo>
                    <a:lnTo>
                      <a:pt x="250" y="242"/>
                    </a:lnTo>
                    <a:lnTo>
                      <a:pt x="231" y="239"/>
                    </a:lnTo>
                    <a:lnTo>
                      <a:pt x="214" y="232"/>
                    </a:lnTo>
                    <a:lnTo>
                      <a:pt x="34" y="129"/>
                    </a:lnTo>
                    <a:lnTo>
                      <a:pt x="20" y="118"/>
                    </a:lnTo>
                    <a:lnTo>
                      <a:pt x="9" y="103"/>
                    </a:lnTo>
                    <a:lnTo>
                      <a:pt x="2" y="86"/>
                    </a:lnTo>
                    <a:lnTo>
                      <a:pt x="0" y="70"/>
                    </a:lnTo>
                    <a:lnTo>
                      <a:pt x="2" y="52"/>
                    </a:lnTo>
                    <a:lnTo>
                      <a:pt x="9" y="35"/>
                    </a:lnTo>
                    <a:lnTo>
                      <a:pt x="20" y="20"/>
                    </a:lnTo>
                    <a:lnTo>
                      <a:pt x="35" y="9"/>
                    </a:lnTo>
                    <a:lnTo>
                      <a:pt x="51" y="3"/>
                    </a:lnTo>
                    <a:lnTo>
                      <a:pt x="69" y="0"/>
                    </a:lnTo>
                    <a:close/>
                  </a:path>
                </a:pathLst>
              </a:custGeom>
              <a:grpFill/>
              <a:ln w="0">
                <a:noFill/>
                <a:prstDash val="solid"/>
                <a:round/>
                <a:headEnd/>
                <a:tailEnd/>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endParaRPr>
              </a:p>
            </p:txBody>
          </p:sp>
          <p:sp>
            <p:nvSpPr>
              <p:cNvPr id="55" name="Freeform 40"/>
              <p:cNvSpPr>
                <a:spLocks/>
              </p:cNvSpPr>
              <p:nvPr/>
            </p:nvSpPr>
            <p:spPr bwMode="auto">
              <a:xfrm>
                <a:off x="2833688" y="1927225"/>
                <a:ext cx="77788" cy="31750"/>
              </a:xfrm>
              <a:custGeom>
                <a:avLst/>
                <a:gdLst>
                  <a:gd name="T0" fmla="*/ 70 w 348"/>
                  <a:gd name="T1" fmla="*/ 0 h 139"/>
                  <a:gd name="T2" fmla="*/ 278 w 348"/>
                  <a:gd name="T3" fmla="*/ 0 h 139"/>
                  <a:gd name="T4" fmla="*/ 297 w 348"/>
                  <a:gd name="T5" fmla="*/ 4 h 139"/>
                  <a:gd name="T6" fmla="*/ 314 w 348"/>
                  <a:gd name="T7" fmla="*/ 10 h 139"/>
                  <a:gd name="T8" fmla="*/ 327 w 348"/>
                  <a:gd name="T9" fmla="*/ 21 h 139"/>
                  <a:gd name="T10" fmla="*/ 337 w 348"/>
                  <a:gd name="T11" fmla="*/ 35 h 139"/>
                  <a:gd name="T12" fmla="*/ 345 w 348"/>
                  <a:gd name="T13" fmla="*/ 51 h 139"/>
                  <a:gd name="T14" fmla="*/ 348 w 348"/>
                  <a:gd name="T15" fmla="*/ 70 h 139"/>
                  <a:gd name="T16" fmla="*/ 345 w 348"/>
                  <a:gd name="T17" fmla="*/ 88 h 139"/>
                  <a:gd name="T18" fmla="*/ 337 w 348"/>
                  <a:gd name="T19" fmla="*/ 104 h 139"/>
                  <a:gd name="T20" fmla="*/ 327 w 348"/>
                  <a:gd name="T21" fmla="*/ 119 h 139"/>
                  <a:gd name="T22" fmla="*/ 314 w 348"/>
                  <a:gd name="T23" fmla="*/ 129 h 139"/>
                  <a:gd name="T24" fmla="*/ 297 w 348"/>
                  <a:gd name="T25" fmla="*/ 137 h 139"/>
                  <a:gd name="T26" fmla="*/ 278 w 348"/>
                  <a:gd name="T27" fmla="*/ 139 h 139"/>
                  <a:gd name="T28" fmla="*/ 70 w 348"/>
                  <a:gd name="T29" fmla="*/ 139 h 139"/>
                  <a:gd name="T30" fmla="*/ 52 w 348"/>
                  <a:gd name="T31" fmla="*/ 137 h 139"/>
                  <a:gd name="T32" fmla="*/ 34 w 348"/>
                  <a:gd name="T33" fmla="*/ 129 h 139"/>
                  <a:gd name="T34" fmla="*/ 21 w 348"/>
                  <a:gd name="T35" fmla="*/ 119 h 139"/>
                  <a:gd name="T36" fmla="*/ 10 w 348"/>
                  <a:gd name="T37" fmla="*/ 104 h 139"/>
                  <a:gd name="T38" fmla="*/ 3 w 348"/>
                  <a:gd name="T39" fmla="*/ 88 h 139"/>
                  <a:gd name="T40" fmla="*/ 0 w 348"/>
                  <a:gd name="T41" fmla="*/ 70 h 139"/>
                  <a:gd name="T42" fmla="*/ 3 w 348"/>
                  <a:gd name="T43" fmla="*/ 51 h 139"/>
                  <a:gd name="T44" fmla="*/ 10 w 348"/>
                  <a:gd name="T45" fmla="*/ 35 h 139"/>
                  <a:gd name="T46" fmla="*/ 21 w 348"/>
                  <a:gd name="T47" fmla="*/ 21 h 139"/>
                  <a:gd name="T48" fmla="*/ 34 w 348"/>
                  <a:gd name="T49" fmla="*/ 10 h 139"/>
                  <a:gd name="T50" fmla="*/ 52 w 348"/>
                  <a:gd name="T51" fmla="*/ 4 h 139"/>
                  <a:gd name="T52" fmla="*/ 70 w 348"/>
                  <a:gd name="T53"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139">
                    <a:moveTo>
                      <a:pt x="70" y="0"/>
                    </a:moveTo>
                    <a:lnTo>
                      <a:pt x="278" y="0"/>
                    </a:lnTo>
                    <a:lnTo>
                      <a:pt x="297" y="4"/>
                    </a:lnTo>
                    <a:lnTo>
                      <a:pt x="314" y="10"/>
                    </a:lnTo>
                    <a:lnTo>
                      <a:pt x="327" y="21"/>
                    </a:lnTo>
                    <a:lnTo>
                      <a:pt x="337" y="35"/>
                    </a:lnTo>
                    <a:lnTo>
                      <a:pt x="345" y="51"/>
                    </a:lnTo>
                    <a:lnTo>
                      <a:pt x="348" y="70"/>
                    </a:lnTo>
                    <a:lnTo>
                      <a:pt x="345" y="88"/>
                    </a:lnTo>
                    <a:lnTo>
                      <a:pt x="337" y="104"/>
                    </a:lnTo>
                    <a:lnTo>
                      <a:pt x="327" y="119"/>
                    </a:lnTo>
                    <a:lnTo>
                      <a:pt x="314" y="129"/>
                    </a:lnTo>
                    <a:lnTo>
                      <a:pt x="297" y="137"/>
                    </a:lnTo>
                    <a:lnTo>
                      <a:pt x="278" y="139"/>
                    </a:lnTo>
                    <a:lnTo>
                      <a:pt x="70" y="139"/>
                    </a:lnTo>
                    <a:lnTo>
                      <a:pt x="52" y="137"/>
                    </a:lnTo>
                    <a:lnTo>
                      <a:pt x="34" y="129"/>
                    </a:lnTo>
                    <a:lnTo>
                      <a:pt x="21" y="119"/>
                    </a:lnTo>
                    <a:lnTo>
                      <a:pt x="10" y="104"/>
                    </a:lnTo>
                    <a:lnTo>
                      <a:pt x="3" y="88"/>
                    </a:lnTo>
                    <a:lnTo>
                      <a:pt x="0" y="70"/>
                    </a:lnTo>
                    <a:lnTo>
                      <a:pt x="3" y="51"/>
                    </a:lnTo>
                    <a:lnTo>
                      <a:pt x="10" y="35"/>
                    </a:lnTo>
                    <a:lnTo>
                      <a:pt x="21" y="21"/>
                    </a:lnTo>
                    <a:lnTo>
                      <a:pt x="34" y="10"/>
                    </a:lnTo>
                    <a:lnTo>
                      <a:pt x="52" y="4"/>
                    </a:lnTo>
                    <a:lnTo>
                      <a:pt x="70" y="0"/>
                    </a:lnTo>
                    <a:close/>
                  </a:path>
                </a:pathLst>
              </a:custGeom>
              <a:grpFill/>
              <a:ln w="0">
                <a:noFill/>
                <a:prstDash val="solid"/>
                <a:round/>
                <a:headEnd/>
                <a:tailEnd/>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endParaRPr>
              </a:p>
            </p:txBody>
          </p:sp>
          <p:sp>
            <p:nvSpPr>
              <p:cNvPr id="56" name="Freeform 41"/>
              <p:cNvSpPr>
                <a:spLocks/>
              </p:cNvSpPr>
              <p:nvPr/>
            </p:nvSpPr>
            <p:spPr bwMode="auto">
              <a:xfrm>
                <a:off x="2792413" y="1751013"/>
                <a:ext cx="71438" cy="55562"/>
              </a:xfrm>
              <a:custGeom>
                <a:avLst/>
                <a:gdLst>
                  <a:gd name="T0" fmla="*/ 250 w 319"/>
                  <a:gd name="T1" fmla="*/ 0 h 241"/>
                  <a:gd name="T2" fmla="*/ 268 w 319"/>
                  <a:gd name="T3" fmla="*/ 3 h 241"/>
                  <a:gd name="T4" fmla="*/ 284 w 319"/>
                  <a:gd name="T5" fmla="*/ 9 h 241"/>
                  <a:gd name="T6" fmla="*/ 298 w 319"/>
                  <a:gd name="T7" fmla="*/ 20 h 241"/>
                  <a:gd name="T8" fmla="*/ 310 w 319"/>
                  <a:gd name="T9" fmla="*/ 34 h 241"/>
                  <a:gd name="T10" fmla="*/ 316 w 319"/>
                  <a:gd name="T11" fmla="*/ 51 h 241"/>
                  <a:gd name="T12" fmla="*/ 319 w 319"/>
                  <a:gd name="T13" fmla="*/ 69 h 241"/>
                  <a:gd name="T14" fmla="*/ 316 w 319"/>
                  <a:gd name="T15" fmla="*/ 87 h 241"/>
                  <a:gd name="T16" fmla="*/ 310 w 319"/>
                  <a:gd name="T17" fmla="*/ 103 h 241"/>
                  <a:gd name="T18" fmla="*/ 299 w 319"/>
                  <a:gd name="T19" fmla="*/ 118 h 241"/>
                  <a:gd name="T20" fmla="*/ 285 w 319"/>
                  <a:gd name="T21" fmla="*/ 129 h 241"/>
                  <a:gd name="T22" fmla="*/ 104 w 319"/>
                  <a:gd name="T23" fmla="*/ 231 h 241"/>
                  <a:gd name="T24" fmla="*/ 87 w 319"/>
                  <a:gd name="T25" fmla="*/ 239 h 241"/>
                  <a:gd name="T26" fmla="*/ 69 w 319"/>
                  <a:gd name="T27" fmla="*/ 241 h 241"/>
                  <a:gd name="T28" fmla="*/ 52 w 319"/>
                  <a:gd name="T29" fmla="*/ 239 h 241"/>
                  <a:gd name="T30" fmla="*/ 35 w 319"/>
                  <a:gd name="T31" fmla="*/ 232 h 241"/>
                  <a:gd name="T32" fmla="*/ 20 w 319"/>
                  <a:gd name="T33" fmla="*/ 221 h 241"/>
                  <a:gd name="T34" fmla="*/ 9 w 319"/>
                  <a:gd name="T35" fmla="*/ 206 h 241"/>
                  <a:gd name="T36" fmla="*/ 2 w 319"/>
                  <a:gd name="T37" fmla="*/ 190 h 241"/>
                  <a:gd name="T38" fmla="*/ 0 w 319"/>
                  <a:gd name="T39" fmla="*/ 172 h 241"/>
                  <a:gd name="T40" fmla="*/ 2 w 319"/>
                  <a:gd name="T41" fmla="*/ 155 h 241"/>
                  <a:gd name="T42" fmla="*/ 9 w 319"/>
                  <a:gd name="T43" fmla="*/ 138 h 241"/>
                  <a:gd name="T44" fmla="*/ 20 w 319"/>
                  <a:gd name="T45" fmla="*/ 124 h 241"/>
                  <a:gd name="T46" fmla="*/ 34 w 319"/>
                  <a:gd name="T47" fmla="*/ 112 h 241"/>
                  <a:gd name="T48" fmla="*/ 214 w 319"/>
                  <a:gd name="T49" fmla="*/ 9 h 241"/>
                  <a:gd name="T50" fmla="*/ 233 w 319"/>
                  <a:gd name="T51" fmla="*/ 3 h 241"/>
                  <a:gd name="T52" fmla="*/ 250 w 319"/>
                  <a:gd name="T53"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9" h="241">
                    <a:moveTo>
                      <a:pt x="250" y="0"/>
                    </a:moveTo>
                    <a:lnTo>
                      <a:pt x="268" y="3"/>
                    </a:lnTo>
                    <a:lnTo>
                      <a:pt x="284" y="9"/>
                    </a:lnTo>
                    <a:lnTo>
                      <a:pt x="298" y="20"/>
                    </a:lnTo>
                    <a:lnTo>
                      <a:pt x="310" y="34"/>
                    </a:lnTo>
                    <a:lnTo>
                      <a:pt x="316" y="51"/>
                    </a:lnTo>
                    <a:lnTo>
                      <a:pt x="319" y="69"/>
                    </a:lnTo>
                    <a:lnTo>
                      <a:pt x="316" y="87"/>
                    </a:lnTo>
                    <a:lnTo>
                      <a:pt x="310" y="103"/>
                    </a:lnTo>
                    <a:lnTo>
                      <a:pt x="299" y="118"/>
                    </a:lnTo>
                    <a:lnTo>
                      <a:pt x="285" y="129"/>
                    </a:lnTo>
                    <a:lnTo>
                      <a:pt x="104" y="231"/>
                    </a:lnTo>
                    <a:lnTo>
                      <a:pt x="87" y="239"/>
                    </a:lnTo>
                    <a:lnTo>
                      <a:pt x="69" y="241"/>
                    </a:lnTo>
                    <a:lnTo>
                      <a:pt x="52" y="239"/>
                    </a:lnTo>
                    <a:lnTo>
                      <a:pt x="35" y="232"/>
                    </a:lnTo>
                    <a:lnTo>
                      <a:pt x="20" y="221"/>
                    </a:lnTo>
                    <a:lnTo>
                      <a:pt x="9" y="206"/>
                    </a:lnTo>
                    <a:lnTo>
                      <a:pt x="2" y="190"/>
                    </a:lnTo>
                    <a:lnTo>
                      <a:pt x="0" y="172"/>
                    </a:lnTo>
                    <a:lnTo>
                      <a:pt x="2" y="155"/>
                    </a:lnTo>
                    <a:lnTo>
                      <a:pt x="9" y="138"/>
                    </a:lnTo>
                    <a:lnTo>
                      <a:pt x="20" y="124"/>
                    </a:lnTo>
                    <a:lnTo>
                      <a:pt x="34" y="112"/>
                    </a:lnTo>
                    <a:lnTo>
                      <a:pt x="214" y="9"/>
                    </a:lnTo>
                    <a:lnTo>
                      <a:pt x="233" y="3"/>
                    </a:lnTo>
                    <a:lnTo>
                      <a:pt x="250" y="0"/>
                    </a:lnTo>
                    <a:close/>
                  </a:path>
                </a:pathLst>
              </a:custGeom>
              <a:grpFill/>
              <a:ln w="0">
                <a:noFill/>
                <a:prstDash val="solid"/>
                <a:round/>
                <a:headEnd/>
                <a:tailEnd/>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endParaRPr>
              </a:p>
            </p:txBody>
          </p:sp>
          <p:sp>
            <p:nvSpPr>
              <p:cNvPr id="57" name="Freeform 42"/>
              <p:cNvSpPr>
                <a:spLocks/>
              </p:cNvSpPr>
              <p:nvPr/>
            </p:nvSpPr>
            <p:spPr bwMode="auto">
              <a:xfrm>
                <a:off x="2679700" y="1622425"/>
                <a:ext cx="55563" cy="71437"/>
              </a:xfrm>
              <a:custGeom>
                <a:avLst/>
                <a:gdLst>
                  <a:gd name="T0" fmla="*/ 172 w 243"/>
                  <a:gd name="T1" fmla="*/ 0 h 316"/>
                  <a:gd name="T2" fmla="*/ 191 w 243"/>
                  <a:gd name="T3" fmla="*/ 2 h 316"/>
                  <a:gd name="T4" fmla="*/ 208 w 243"/>
                  <a:gd name="T5" fmla="*/ 10 h 316"/>
                  <a:gd name="T6" fmla="*/ 222 w 243"/>
                  <a:gd name="T7" fmla="*/ 21 h 316"/>
                  <a:gd name="T8" fmla="*/ 234 w 243"/>
                  <a:gd name="T9" fmla="*/ 34 h 316"/>
                  <a:gd name="T10" fmla="*/ 241 w 243"/>
                  <a:gd name="T11" fmla="*/ 51 h 316"/>
                  <a:gd name="T12" fmla="*/ 243 w 243"/>
                  <a:gd name="T13" fmla="*/ 68 h 316"/>
                  <a:gd name="T14" fmla="*/ 241 w 243"/>
                  <a:gd name="T15" fmla="*/ 86 h 316"/>
                  <a:gd name="T16" fmla="*/ 234 w 243"/>
                  <a:gd name="T17" fmla="*/ 103 h 316"/>
                  <a:gd name="T18" fmla="*/ 129 w 243"/>
                  <a:gd name="T19" fmla="*/ 282 h 316"/>
                  <a:gd name="T20" fmla="*/ 118 w 243"/>
                  <a:gd name="T21" fmla="*/ 297 h 316"/>
                  <a:gd name="T22" fmla="*/ 103 w 243"/>
                  <a:gd name="T23" fmla="*/ 308 h 316"/>
                  <a:gd name="T24" fmla="*/ 87 w 243"/>
                  <a:gd name="T25" fmla="*/ 314 h 316"/>
                  <a:gd name="T26" fmla="*/ 69 w 243"/>
                  <a:gd name="T27" fmla="*/ 316 h 316"/>
                  <a:gd name="T28" fmla="*/ 52 w 243"/>
                  <a:gd name="T29" fmla="*/ 314 h 316"/>
                  <a:gd name="T30" fmla="*/ 35 w 243"/>
                  <a:gd name="T31" fmla="*/ 307 h 316"/>
                  <a:gd name="T32" fmla="*/ 19 w 243"/>
                  <a:gd name="T33" fmla="*/ 296 h 316"/>
                  <a:gd name="T34" fmla="*/ 9 w 243"/>
                  <a:gd name="T35" fmla="*/ 282 h 316"/>
                  <a:gd name="T36" fmla="*/ 2 w 243"/>
                  <a:gd name="T37" fmla="*/ 265 h 316"/>
                  <a:gd name="T38" fmla="*/ 0 w 243"/>
                  <a:gd name="T39" fmla="*/ 248 h 316"/>
                  <a:gd name="T40" fmla="*/ 2 w 243"/>
                  <a:gd name="T41" fmla="*/ 230 h 316"/>
                  <a:gd name="T42" fmla="*/ 9 w 243"/>
                  <a:gd name="T43" fmla="*/ 214 h 316"/>
                  <a:gd name="T44" fmla="*/ 113 w 243"/>
                  <a:gd name="T45" fmla="*/ 34 h 316"/>
                  <a:gd name="T46" fmla="*/ 125 w 243"/>
                  <a:gd name="T47" fmla="*/ 20 h 316"/>
                  <a:gd name="T48" fmla="*/ 140 w 243"/>
                  <a:gd name="T49" fmla="*/ 9 h 316"/>
                  <a:gd name="T50" fmla="*/ 155 w 243"/>
                  <a:gd name="T51" fmla="*/ 2 h 316"/>
                  <a:gd name="T52" fmla="*/ 172 w 243"/>
                  <a:gd name="T53" fmla="*/ 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3" h="316">
                    <a:moveTo>
                      <a:pt x="172" y="0"/>
                    </a:moveTo>
                    <a:lnTo>
                      <a:pt x="191" y="2"/>
                    </a:lnTo>
                    <a:lnTo>
                      <a:pt x="208" y="10"/>
                    </a:lnTo>
                    <a:lnTo>
                      <a:pt x="222" y="21"/>
                    </a:lnTo>
                    <a:lnTo>
                      <a:pt x="234" y="34"/>
                    </a:lnTo>
                    <a:lnTo>
                      <a:pt x="241" y="51"/>
                    </a:lnTo>
                    <a:lnTo>
                      <a:pt x="243" y="68"/>
                    </a:lnTo>
                    <a:lnTo>
                      <a:pt x="241" y="86"/>
                    </a:lnTo>
                    <a:lnTo>
                      <a:pt x="234" y="103"/>
                    </a:lnTo>
                    <a:lnTo>
                      <a:pt x="129" y="282"/>
                    </a:lnTo>
                    <a:lnTo>
                      <a:pt x="118" y="297"/>
                    </a:lnTo>
                    <a:lnTo>
                      <a:pt x="103" y="308"/>
                    </a:lnTo>
                    <a:lnTo>
                      <a:pt x="87" y="314"/>
                    </a:lnTo>
                    <a:lnTo>
                      <a:pt x="69" y="316"/>
                    </a:lnTo>
                    <a:lnTo>
                      <a:pt x="52" y="314"/>
                    </a:lnTo>
                    <a:lnTo>
                      <a:pt x="35" y="307"/>
                    </a:lnTo>
                    <a:lnTo>
                      <a:pt x="19" y="296"/>
                    </a:lnTo>
                    <a:lnTo>
                      <a:pt x="9" y="282"/>
                    </a:lnTo>
                    <a:lnTo>
                      <a:pt x="2" y="265"/>
                    </a:lnTo>
                    <a:lnTo>
                      <a:pt x="0" y="248"/>
                    </a:lnTo>
                    <a:lnTo>
                      <a:pt x="2" y="230"/>
                    </a:lnTo>
                    <a:lnTo>
                      <a:pt x="9" y="214"/>
                    </a:lnTo>
                    <a:lnTo>
                      <a:pt x="113" y="34"/>
                    </a:lnTo>
                    <a:lnTo>
                      <a:pt x="125" y="20"/>
                    </a:lnTo>
                    <a:lnTo>
                      <a:pt x="140" y="9"/>
                    </a:lnTo>
                    <a:lnTo>
                      <a:pt x="155" y="2"/>
                    </a:lnTo>
                    <a:lnTo>
                      <a:pt x="172" y="0"/>
                    </a:lnTo>
                    <a:close/>
                  </a:path>
                </a:pathLst>
              </a:custGeom>
              <a:grpFill/>
              <a:ln w="0">
                <a:noFill/>
                <a:prstDash val="solid"/>
                <a:round/>
                <a:headEnd/>
                <a:tailEnd/>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endParaRPr>
              </a:p>
            </p:txBody>
          </p:sp>
          <p:sp>
            <p:nvSpPr>
              <p:cNvPr id="58" name="Freeform 43"/>
              <p:cNvSpPr>
                <a:spLocks/>
              </p:cNvSpPr>
              <p:nvPr/>
            </p:nvSpPr>
            <p:spPr bwMode="auto">
              <a:xfrm>
                <a:off x="2503488" y="1811338"/>
                <a:ext cx="76200" cy="242887"/>
              </a:xfrm>
              <a:custGeom>
                <a:avLst/>
                <a:gdLst>
                  <a:gd name="T0" fmla="*/ 167 w 334"/>
                  <a:gd name="T1" fmla="*/ 0 h 1073"/>
                  <a:gd name="T2" fmla="*/ 201 w 334"/>
                  <a:gd name="T3" fmla="*/ 2 h 1073"/>
                  <a:gd name="T4" fmla="*/ 230 w 334"/>
                  <a:gd name="T5" fmla="*/ 8 h 1073"/>
                  <a:gd name="T6" fmla="*/ 258 w 334"/>
                  <a:gd name="T7" fmla="*/ 18 h 1073"/>
                  <a:gd name="T8" fmla="*/ 280 w 334"/>
                  <a:gd name="T9" fmla="*/ 33 h 1073"/>
                  <a:gd name="T10" fmla="*/ 300 w 334"/>
                  <a:gd name="T11" fmla="*/ 51 h 1073"/>
                  <a:gd name="T12" fmla="*/ 314 w 334"/>
                  <a:gd name="T13" fmla="*/ 72 h 1073"/>
                  <a:gd name="T14" fmla="*/ 326 w 334"/>
                  <a:gd name="T15" fmla="*/ 98 h 1073"/>
                  <a:gd name="T16" fmla="*/ 331 w 334"/>
                  <a:gd name="T17" fmla="*/ 128 h 1073"/>
                  <a:gd name="T18" fmla="*/ 334 w 334"/>
                  <a:gd name="T19" fmla="*/ 162 h 1073"/>
                  <a:gd name="T20" fmla="*/ 334 w 334"/>
                  <a:gd name="T21" fmla="*/ 406 h 1073"/>
                  <a:gd name="T22" fmla="*/ 332 w 334"/>
                  <a:gd name="T23" fmla="*/ 438 h 1073"/>
                  <a:gd name="T24" fmla="*/ 329 w 334"/>
                  <a:gd name="T25" fmla="*/ 471 h 1073"/>
                  <a:gd name="T26" fmla="*/ 326 w 334"/>
                  <a:gd name="T27" fmla="*/ 505 h 1073"/>
                  <a:gd name="T28" fmla="*/ 260 w 334"/>
                  <a:gd name="T29" fmla="*/ 996 h 1073"/>
                  <a:gd name="T30" fmla="*/ 255 w 334"/>
                  <a:gd name="T31" fmla="*/ 1019 h 1073"/>
                  <a:gd name="T32" fmla="*/ 247 w 334"/>
                  <a:gd name="T33" fmla="*/ 1039 h 1073"/>
                  <a:gd name="T34" fmla="*/ 237 w 334"/>
                  <a:gd name="T35" fmla="*/ 1052 h 1073"/>
                  <a:gd name="T36" fmla="*/ 224 w 334"/>
                  <a:gd name="T37" fmla="*/ 1062 h 1073"/>
                  <a:gd name="T38" fmla="*/ 208 w 334"/>
                  <a:gd name="T39" fmla="*/ 1069 h 1073"/>
                  <a:gd name="T40" fmla="*/ 188 w 334"/>
                  <a:gd name="T41" fmla="*/ 1072 h 1073"/>
                  <a:gd name="T42" fmla="*/ 167 w 334"/>
                  <a:gd name="T43" fmla="*/ 1073 h 1073"/>
                  <a:gd name="T44" fmla="*/ 145 w 334"/>
                  <a:gd name="T45" fmla="*/ 1072 h 1073"/>
                  <a:gd name="T46" fmla="*/ 126 w 334"/>
                  <a:gd name="T47" fmla="*/ 1069 h 1073"/>
                  <a:gd name="T48" fmla="*/ 110 w 334"/>
                  <a:gd name="T49" fmla="*/ 1062 h 1073"/>
                  <a:gd name="T50" fmla="*/ 96 w 334"/>
                  <a:gd name="T51" fmla="*/ 1052 h 1073"/>
                  <a:gd name="T52" fmla="*/ 86 w 334"/>
                  <a:gd name="T53" fmla="*/ 1039 h 1073"/>
                  <a:gd name="T54" fmla="*/ 78 w 334"/>
                  <a:gd name="T55" fmla="*/ 1019 h 1073"/>
                  <a:gd name="T56" fmla="*/ 74 w 334"/>
                  <a:gd name="T57" fmla="*/ 996 h 1073"/>
                  <a:gd name="T58" fmla="*/ 8 w 334"/>
                  <a:gd name="T59" fmla="*/ 505 h 1073"/>
                  <a:gd name="T60" fmla="*/ 5 w 334"/>
                  <a:gd name="T61" fmla="*/ 471 h 1073"/>
                  <a:gd name="T62" fmla="*/ 1 w 334"/>
                  <a:gd name="T63" fmla="*/ 438 h 1073"/>
                  <a:gd name="T64" fmla="*/ 0 w 334"/>
                  <a:gd name="T65" fmla="*/ 406 h 1073"/>
                  <a:gd name="T66" fmla="*/ 0 w 334"/>
                  <a:gd name="T67" fmla="*/ 162 h 1073"/>
                  <a:gd name="T68" fmla="*/ 2 w 334"/>
                  <a:gd name="T69" fmla="*/ 128 h 1073"/>
                  <a:gd name="T70" fmla="*/ 8 w 334"/>
                  <a:gd name="T71" fmla="*/ 98 h 1073"/>
                  <a:gd name="T72" fmla="*/ 19 w 334"/>
                  <a:gd name="T73" fmla="*/ 72 h 1073"/>
                  <a:gd name="T74" fmla="*/ 34 w 334"/>
                  <a:gd name="T75" fmla="*/ 51 h 1073"/>
                  <a:gd name="T76" fmla="*/ 53 w 334"/>
                  <a:gd name="T77" fmla="*/ 33 h 1073"/>
                  <a:gd name="T78" fmla="*/ 76 w 334"/>
                  <a:gd name="T79" fmla="*/ 18 h 1073"/>
                  <a:gd name="T80" fmla="*/ 103 w 334"/>
                  <a:gd name="T81" fmla="*/ 8 h 1073"/>
                  <a:gd name="T82" fmla="*/ 133 w 334"/>
                  <a:gd name="T83" fmla="*/ 2 h 1073"/>
                  <a:gd name="T84" fmla="*/ 167 w 334"/>
                  <a:gd name="T85" fmla="*/ 0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4" h="1073">
                    <a:moveTo>
                      <a:pt x="167" y="0"/>
                    </a:moveTo>
                    <a:lnTo>
                      <a:pt x="201" y="2"/>
                    </a:lnTo>
                    <a:lnTo>
                      <a:pt x="230" y="8"/>
                    </a:lnTo>
                    <a:lnTo>
                      <a:pt x="258" y="18"/>
                    </a:lnTo>
                    <a:lnTo>
                      <a:pt x="280" y="33"/>
                    </a:lnTo>
                    <a:lnTo>
                      <a:pt x="300" y="51"/>
                    </a:lnTo>
                    <a:lnTo>
                      <a:pt x="314" y="72"/>
                    </a:lnTo>
                    <a:lnTo>
                      <a:pt x="326" y="98"/>
                    </a:lnTo>
                    <a:lnTo>
                      <a:pt x="331" y="128"/>
                    </a:lnTo>
                    <a:lnTo>
                      <a:pt x="334" y="162"/>
                    </a:lnTo>
                    <a:lnTo>
                      <a:pt x="334" y="406"/>
                    </a:lnTo>
                    <a:lnTo>
                      <a:pt x="332" y="438"/>
                    </a:lnTo>
                    <a:lnTo>
                      <a:pt x="329" y="471"/>
                    </a:lnTo>
                    <a:lnTo>
                      <a:pt x="326" y="505"/>
                    </a:lnTo>
                    <a:lnTo>
                      <a:pt x="260" y="996"/>
                    </a:lnTo>
                    <a:lnTo>
                      <a:pt x="255" y="1019"/>
                    </a:lnTo>
                    <a:lnTo>
                      <a:pt x="247" y="1039"/>
                    </a:lnTo>
                    <a:lnTo>
                      <a:pt x="237" y="1052"/>
                    </a:lnTo>
                    <a:lnTo>
                      <a:pt x="224" y="1062"/>
                    </a:lnTo>
                    <a:lnTo>
                      <a:pt x="208" y="1069"/>
                    </a:lnTo>
                    <a:lnTo>
                      <a:pt x="188" y="1072"/>
                    </a:lnTo>
                    <a:lnTo>
                      <a:pt x="167" y="1073"/>
                    </a:lnTo>
                    <a:lnTo>
                      <a:pt x="145" y="1072"/>
                    </a:lnTo>
                    <a:lnTo>
                      <a:pt x="126" y="1069"/>
                    </a:lnTo>
                    <a:lnTo>
                      <a:pt x="110" y="1062"/>
                    </a:lnTo>
                    <a:lnTo>
                      <a:pt x="96" y="1052"/>
                    </a:lnTo>
                    <a:lnTo>
                      <a:pt x="86" y="1039"/>
                    </a:lnTo>
                    <a:lnTo>
                      <a:pt x="78" y="1019"/>
                    </a:lnTo>
                    <a:lnTo>
                      <a:pt x="74" y="996"/>
                    </a:lnTo>
                    <a:lnTo>
                      <a:pt x="8" y="505"/>
                    </a:lnTo>
                    <a:lnTo>
                      <a:pt x="5" y="471"/>
                    </a:lnTo>
                    <a:lnTo>
                      <a:pt x="1" y="438"/>
                    </a:lnTo>
                    <a:lnTo>
                      <a:pt x="0" y="406"/>
                    </a:lnTo>
                    <a:lnTo>
                      <a:pt x="0" y="162"/>
                    </a:lnTo>
                    <a:lnTo>
                      <a:pt x="2" y="128"/>
                    </a:lnTo>
                    <a:lnTo>
                      <a:pt x="8" y="98"/>
                    </a:lnTo>
                    <a:lnTo>
                      <a:pt x="19" y="72"/>
                    </a:lnTo>
                    <a:lnTo>
                      <a:pt x="34" y="51"/>
                    </a:lnTo>
                    <a:lnTo>
                      <a:pt x="53" y="33"/>
                    </a:lnTo>
                    <a:lnTo>
                      <a:pt x="76" y="18"/>
                    </a:lnTo>
                    <a:lnTo>
                      <a:pt x="103" y="8"/>
                    </a:lnTo>
                    <a:lnTo>
                      <a:pt x="133" y="2"/>
                    </a:lnTo>
                    <a:lnTo>
                      <a:pt x="167" y="0"/>
                    </a:lnTo>
                    <a:close/>
                  </a:path>
                </a:pathLst>
              </a:custGeom>
              <a:grpFill/>
              <a:ln w="0">
                <a:noFill/>
                <a:prstDash val="solid"/>
                <a:round/>
                <a:headEnd/>
                <a:tailEnd/>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endParaRPr>
              </a:p>
            </p:txBody>
          </p:sp>
          <p:sp>
            <p:nvSpPr>
              <p:cNvPr id="59" name="Freeform 44"/>
              <p:cNvSpPr>
                <a:spLocks/>
              </p:cNvSpPr>
              <p:nvPr/>
            </p:nvSpPr>
            <p:spPr bwMode="auto">
              <a:xfrm>
                <a:off x="2501900" y="2085975"/>
                <a:ext cx="79375" cy="77787"/>
              </a:xfrm>
              <a:custGeom>
                <a:avLst/>
                <a:gdLst>
                  <a:gd name="T0" fmla="*/ 174 w 347"/>
                  <a:gd name="T1" fmla="*/ 0 h 344"/>
                  <a:gd name="T2" fmla="*/ 209 w 347"/>
                  <a:gd name="T3" fmla="*/ 4 h 344"/>
                  <a:gd name="T4" fmla="*/ 241 w 347"/>
                  <a:gd name="T5" fmla="*/ 14 h 344"/>
                  <a:gd name="T6" fmla="*/ 270 w 347"/>
                  <a:gd name="T7" fmla="*/ 30 h 344"/>
                  <a:gd name="T8" fmla="*/ 296 w 347"/>
                  <a:gd name="T9" fmla="*/ 50 h 344"/>
                  <a:gd name="T10" fmla="*/ 318 w 347"/>
                  <a:gd name="T11" fmla="*/ 76 h 344"/>
                  <a:gd name="T12" fmla="*/ 334 w 347"/>
                  <a:gd name="T13" fmla="*/ 106 h 344"/>
                  <a:gd name="T14" fmla="*/ 344 w 347"/>
                  <a:gd name="T15" fmla="*/ 138 h 344"/>
                  <a:gd name="T16" fmla="*/ 347 w 347"/>
                  <a:gd name="T17" fmla="*/ 172 h 344"/>
                  <a:gd name="T18" fmla="*/ 344 w 347"/>
                  <a:gd name="T19" fmla="*/ 207 h 344"/>
                  <a:gd name="T20" fmla="*/ 334 w 347"/>
                  <a:gd name="T21" fmla="*/ 240 h 344"/>
                  <a:gd name="T22" fmla="*/ 318 w 347"/>
                  <a:gd name="T23" fmla="*/ 269 h 344"/>
                  <a:gd name="T24" fmla="*/ 296 w 347"/>
                  <a:gd name="T25" fmla="*/ 294 h 344"/>
                  <a:gd name="T26" fmla="*/ 270 w 347"/>
                  <a:gd name="T27" fmla="*/ 315 h 344"/>
                  <a:gd name="T28" fmla="*/ 241 w 347"/>
                  <a:gd name="T29" fmla="*/ 331 h 344"/>
                  <a:gd name="T30" fmla="*/ 209 w 347"/>
                  <a:gd name="T31" fmla="*/ 341 h 344"/>
                  <a:gd name="T32" fmla="*/ 174 w 347"/>
                  <a:gd name="T33" fmla="*/ 344 h 344"/>
                  <a:gd name="T34" fmla="*/ 139 w 347"/>
                  <a:gd name="T35" fmla="*/ 341 h 344"/>
                  <a:gd name="T36" fmla="*/ 107 w 347"/>
                  <a:gd name="T37" fmla="*/ 331 h 344"/>
                  <a:gd name="T38" fmla="*/ 77 w 347"/>
                  <a:gd name="T39" fmla="*/ 315 h 344"/>
                  <a:gd name="T40" fmla="*/ 51 w 347"/>
                  <a:gd name="T41" fmla="*/ 294 h 344"/>
                  <a:gd name="T42" fmla="*/ 30 w 347"/>
                  <a:gd name="T43" fmla="*/ 269 h 344"/>
                  <a:gd name="T44" fmla="*/ 14 w 347"/>
                  <a:gd name="T45" fmla="*/ 240 h 344"/>
                  <a:gd name="T46" fmla="*/ 4 w 347"/>
                  <a:gd name="T47" fmla="*/ 207 h 344"/>
                  <a:gd name="T48" fmla="*/ 0 w 347"/>
                  <a:gd name="T49" fmla="*/ 172 h 344"/>
                  <a:gd name="T50" fmla="*/ 4 w 347"/>
                  <a:gd name="T51" fmla="*/ 138 h 344"/>
                  <a:gd name="T52" fmla="*/ 14 w 347"/>
                  <a:gd name="T53" fmla="*/ 106 h 344"/>
                  <a:gd name="T54" fmla="*/ 30 w 347"/>
                  <a:gd name="T55" fmla="*/ 76 h 344"/>
                  <a:gd name="T56" fmla="*/ 51 w 347"/>
                  <a:gd name="T57" fmla="*/ 50 h 344"/>
                  <a:gd name="T58" fmla="*/ 77 w 347"/>
                  <a:gd name="T59" fmla="*/ 30 h 344"/>
                  <a:gd name="T60" fmla="*/ 107 w 347"/>
                  <a:gd name="T61" fmla="*/ 14 h 344"/>
                  <a:gd name="T62" fmla="*/ 139 w 347"/>
                  <a:gd name="T63" fmla="*/ 4 h 344"/>
                  <a:gd name="T64" fmla="*/ 174 w 347"/>
                  <a:gd name="T65" fmla="*/ 0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7" h="344">
                    <a:moveTo>
                      <a:pt x="174" y="0"/>
                    </a:moveTo>
                    <a:lnTo>
                      <a:pt x="209" y="4"/>
                    </a:lnTo>
                    <a:lnTo>
                      <a:pt x="241" y="14"/>
                    </a:lnTo>
                    <a:lnTo>
                      <a:pt x="270" y="30"/>
                    </a:lnTo>
                    <a:lnTo>
                      <a:pt x="296" y="50"/>
                    </a:lnTo>
                    <a:lnTo>
                      <a:pt x="318" y="76"/>
                    </a:lnTo>
                    <a:lnTo>
                      <a:pt x="334" y="106"/>
                    </a:lnTo>
                    <a:lnTo>
                      <a:pt x="344" y="138"/>
                    </a:lnTo>
                    <a:lnTo>
                      <a:pt x="347" y="172"/>
                    </a:lnTo>
                    <a:lnTo>
                      <a:pt x="344" y="207"/>
                    </a:lnTo>
                    <a:lnTo>
                      <a:pt x="334" y="240"/>
                    </a:lnTo>
                    <a:lnTo>
                      <a:pt x="318" y="269"/>
                    </a:lnTo>
                    <a:lnTo>
                      <a:pt x="296" y="294"/>
                    </a:lnTo>
                    <a:lnTo>
                      <a:pt x="270" y="315"/>
                    </a:lnTo>
                    <a:lnTo>
                      <a:pt x="241" y="331"/>
                    </a:lnTo>
                    <a:lnTo>
                      <a:pt x="209" y="341"/>
                    </a:lnTo>
                    <a:lnTo>
                      <a:pt x="174" y="344"/>
                    </a:lnTo>
                    <a:lnTo>
                      <a:pt x="139" y="341"/>
                    </a:lnTo>
                    <a:lnTo>
                      <a:pt x="107" y="331"/>
                    </a:lnTo>
                    <a:lnTo>
                      <a:pt x="77" y="315"/>
                    </a:lnTo>
                    <a:lnTo>
                      <a:pt x="51" y="294"/>
                    </a:lnTo>
                    <a:lnTo>
                      <a:pt x="30" y="269"/>
                    </a:lnTo>
                    <a:lnTo>
                      <a:pt x="14" y="240"/>
                    </a:lnTo>
                    <a:lnTo>
                      <a:pt x="4" y="207"/>
                    </a:lnTo>
                    <a:lnTo>
                      <a:pt x="0" y="172"/>
                    </a:lnTo>
                    <a:lnTo>
                      <a:pt x="4" y="138"/>
                    </a:lnTo>
                    <a:lnTo>
                      <a:pt x="14" y="106"/>
                    </a:lnTo>
                    <a:lnTo>
                      <a:pt x="30" y="76"/>
                    </a:lnTo>
                    <a:lnTo>
                      <a:pt x="51" y="50"/>
                    </a:lnTo>
                    <a:lnTo>
                      <a:pt x="77" y="30"/>
                    </a:lnTo>
                    <a:lnTo>
                      <a:pt x="107" y="14"/>
                    </a:lnTo>
                    <a:lnTo>
                      <a:pt x="139" y="4"/>
                    </a:lnTo>
                    <a:lnTo>
                      <a:pt x="174" y="0"/>
                    </a:lnTo>
                    <a:close/>
                  </a:path>
                </a:pathLst>
              </a:custGeom>
              <a:grpFill/>
              <a:ln w="0">
                <a:noFill/>
                <a:prstDash val="solid"/>
                <a:round/>
                <a:headEnd/>
                <a:tailEnd/>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endParaRPr>
              </a:p>
            </p:txBody>
          </p:sp>
        </p:grpSp>
        <p:sp>
          <p:nvSpPr>
            <p:cNvPr id="60" name="Freeform 49"/>
            <p:cNvSpPr>
              <a:spLocks noEditPoints="1"/>
            </p:cNvSpPr>
            <p:nvPr/>
          </p:nvSpPr>
          <p:spPr bwMode="auto">
            <a:xfrm>
              <a:off x="6352521" y="1984660"/>
              <a:ext cx="537712" cy="537712"/>
            </a:xfrm>
            <a:custGeom>
              <a:avLst/>
              <a:gdLst>
                <a:gd name="T0" fmla="*/ 2959 w 3962"/>
                <a:gd name="T1" fmla="*/ 2546 h 3963"/>
                <a:gd name="T2" fmla="*/ 3397 w 3962"/>
                <a:gd name="T3" fmla="*/ 2984 h 3963"/>
                <a:gd name="T4" fmla="*/ 3464 w 3962"/>
                <a:gd name="T5" fmla="*/ 3124 h 3963"/>
                <a:gd name="T6" fmla="*/ 3343 w 3962"/>
                <a:gd name="T7" fmla="*/ 3219 h 3963"/>
                <a:gd name="T8" fmla="*/ 2736 w 3962"/>
                <a:gd name="T9" fmla="*/ 3150 h 3963"/>
                <a:gd name="T10" fmla="*/ 2752 w 3962"/>
                <a:gd name="T11" fmla="*/ 2523 h 3963"/>
                <a:gd name="T12" fmla="*/ 2896 w 3962"/>
                <a:gd name="T13" fmla="*/ 2232 h 3963"/>
                <a:gd name="T14" fmla="*/ 2500 w 3962"/>
                <a:gd name="T15" fmla="*/ 2399 h 3963"/>
                <a:gd name="T16" fmla="*/ 2262 w 3962"/>
                <a:gd name="T17" fmla="*/ 2752 h 3963"/>
                <a:gd name="T18" fmla="*/ 2262 w 3962"/>
                <a:gd name="T19" fmla="*/ 3193 h 3963"/>
                <a:gd name="T20" fmla="*/ 2500 w 3962"/>
                <a:gd name="T21" fmla="*/ 3544 h 3963"/>
                <a:gd name="T22" fmla="*/ 2896 w 3962"/>
                <a:gd name="T23" fmla="*/ 3711 h 3963"/>
                <a:gd name="T24" fmla="*/ 3325 w 3962"/>
                <a:gd name="T25" fmla="*/ 3625 h 3963"/>
                <a:gd name="T26" fmla="*/ 3625 w 3962"/>
                <a:gd name="T27" fmla="*/ 3325 h 3963"/>
                <a:gd name="T28" fmla="*/ 3711 w 3962"/>
                <a:gd name="T29" fmla="*/ 2896 h 3963"/>
                <a:gd name="T30" fmla="*/ 3544 w 3962"/>
                <a:gd name="T31" fmla="*/ 2500 h 3963"/>
                <a:gd name="T32" fmla="*/ 3193 w 3962"/>
                <a:gd name="T33" fmla="*/ 2262 h 3963"/>
                <a:gd name="T34" fmla="*/ 1734 w 3962"/>
                <a:gd name="T35" fmla="*/ 2724 h 3963"/>
                <a:gd name="T36" fmla="*/ 495 w 3962"/>
                <a:gd name="T37" fmla="*/ 2724 h 3963"/>
                <a:gd name="T38" fmla="*/ 3300 w 3962"/>
                <a:gd name="T39" fmla="*/ 2037 h 3963"/>
                <a:gd name="T40" fmla="*/ 3700 w 3962"/>
                <a:gd name="T41" fmla="*/ 2300 h 3963"/>
                <a:gd name="T42" fmla="*/ 3930 w 3962"/>
                <a:gd name="T43" fmla="*/ 2722 h 3963"/>
                <a:gd name="T44" fmla="*/ 3930 w 3962"/>
                <a:gd name="T45" fmla="*/ 3222 h 3963"/>
                <a:gd name="T46" fmla="*/ 3700 w 3962"/>
                <a:gd name="T47" fmla="*/ 3643 h 3963"/>
                <a:gd name="T48" fmla="*/ 3300 w 3962"/>
                <a:gd name="T49" fmla="*/ 3907 h 3963"/>
                <a:gd name="T50" fmla="*/ 2802 w 3962"/>
                <a:gd name="T51" fmla="*/ 3948 h 3963"/>
                <a:gd name="T52" fmla="*/ 2361 w 3962"/>
                <a:gd name="T53" fmla="*/ 3752 h 3963"/>
                <a:gd name="T54" fmla="*/ 2067 w 3962"/>
                <a:gd name="T55" fmla="*/ 3376 h 3963"/>
                <a:gd name="T56" fmla="*/ 1984 w 3962"/>
                <a:gd name="T57" fmla="*/ 2887 h 3963"/>
                <a:gd name="T58" fmla="*/ 2144 w 3962"/>
                <a:gd name="T59" fmla="*/ 2426 h 3963"/>
                <a:gd name="T60" fmla="*/ 2495 w 3962"/>
                <a:gd name="T61" fmla="*/ 2103 h 3963"/>
                <a:gd name="T62" fmla="*/ 2972 w 3962"/>
                <a:gd name="T63" fmla="*/ 1982 h 3963"/>
                <a:gd name="T64" fmla="*/ 1238 w 3962"/>
                <a:gd name="T65" fmla="*/ 1486 h 3963"/>
                <a:gd name="T66" fmla="*/ 990 w 3962"/>
                <a:gd name="T67" fmla="*/ 1486 h 3963"/>
                <a:gd name="T68" fmla="*/ 371 w 3962"/>
                <a:gd name="T69" fmla="*/ 619 h 3963"/>
                <a:gd name="T70" fmla="*/ 473 w 3962"/>
                <a:gd name="T71" fmla="*/ 819 h 3963"/>
                <a:gd name="T72" fmla="*/ 697 w 3962"/>
                <a:gd name="T73" fmla="*/ 854 h 3963"/>
                <a:gd name="T74" fmla="*/ 854 w 3962"/>
                <a:gd name="T75" fmla="*/ 697 h 3963"/>
                <a:gd name="T76" fmla="*/ 2355 w 3962"/>
                <a:gd name="T77" fmla="*/ 659 h 3963"/>
                <a:gd name="T78" fmla="*/ 2487 w 3962"/>
                <a:gd name="T79" fmla="*/ 839 h 3963"/>
                <a:gd name="T80" fmla="*/ 2714 w 3962"/>
                <a:gd name="T81" fmla="*/ 839 h 3963"/>
                <a:gd name="T82" fmla="*/ 2844 w 3962"/>
                <a:gd name="T83" fmla="*/ 659 h 3963"/>
                <a:gd name="T84" fmla="*/ 3074 w 3962"/>
                <a:gd name="T85" fmla="*/ 526 h 3963"/>
                <a:gd name="T86" fmla="*/ 3215 w 3962"/>
                <a:gd name="T87" fmla="*/ 724 h 3963"/>
                <a:gd name="T88" fmla="*/ 248 w 3962"/>
                <a:gd name="T89" fmla="*/ 2947 h 3963"/>
                <a:gd name="T90" fmla="*/ 268 w 3962"/>
                <a:gd name="T91" fmla="*/ 3219 h 3963"/>
                <a:gd name="T92" fmla="*/ 52 w 3962"/>
                <a:gd name="T93" fmla="*/ 3108 h 3963"/>
                <a:gd name="T94" fmla="*/ 3 w 3962"/>
                <a:gd name="T95" fmla="*/ 724 h 3963"/>
                <a:gd name="T96" fmla="*/ 144 w 3962"/>
                <a:gd name="T97" fmla="*/ 526 h 3963"/>
                <a:gd name="T98" fmla="*/ 2654 w 3962"/>
                <a:gd name="T99" fmla="*/ 13 h 3963"/>
                <a:gd name="T100" fmla="*/ 2724 w 3962"/>
                <a:gd name="T101" fmla="*/ 619 h 3963"/>
                <a:gd name="T102" fmla="*/ 2629 w 3962"/>
                <a:gd name="T103" fmla="*/ 739 h 3963"/>
                <a:gd name="T104" fmla="*/ 2489 w 3962"/>
                <a:gd name="T105" fmla="*/ 673 h 3963"/>
                <a:gd name="T106" fmla="*/ 2503 w 3962"/>
                <a:gd name="T107" fmla="*/ 47 h 3963"/>
                <a:gd name="T108" fmla="*/ 647 w 3962"/>
                <a:gd name="T109" fmla="*/ 3 h 3963"/>
                <a:gd name="T110" fmla="*/ 743 w 3962"/>
                <a:gd name="T111" fmla="*/ 124 h 3963"/>
                <a:gd name="T112" fmla="*/ 673 w 3962"/>
                <a:gd name="T113" fmla="*/ 730 h 3963"/>
                <a:gd name="T114" fmla="*/ 523 w 3962"/>
                <a:gd name="T115" fmla="*/ 696 h 3963"/>
                <a:gd name="T116" fmla="*/ 508 w 3962"/>
                <a:gd name="T117" fmla="*/ 69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62" h="3963">
                  <a:moveTo>
                    <a:pt x="2848" y="2477"/>
                  </a:moveTo>
                  <a:lnTo>
                    <a:pt x="2876" y="2479"/>
                  </a:lnTo>
                  <a:lnTo>
                    <a:pt x="2902" y="2489"/>
                  </a:lnTo>
                  <a:lnTo>
                    <a:pt x="2925" y="2503"/>
                  </a:lnTo>
                  <a:lnTo>
                    <a:pt x="2944" y="2523"/>
                  </a:lnTo>
                  <a:lnTo>
                    <a:pt x="2959" y="2546"/>
                  </a:lnTo>
                  <a:lnTo>
                    <a:pt x="2968" y="2572"/>
                  </a:lnTo>
                  <a:lnTo>
                    <a:pt x="2972" y="2600"/>
                  </a:lnTo>
                  <a:lnTo>
                    <a:pt x="2972" y="2972"/>
                  </a:lnTo>
                  <a:lnTo>
                    <a:pt x="3343" y="2972"/>
                  </a:lnTo>
                  <a:lnTo>
                    <a:pt x="3371" y="2975"/>
                  </a:lnTo>
                  <a:lnTo>
                    <a:pt x="3397" y="2984"/>
                  </a:lnTo>
                  <a:lnTo>
                    <a:pt x="3420" y="2999"/>
                  </a:lnTo>
                  <a:lnTo>
                    <a:pt x="3440" y="3018"/>
                  </a:lnTo>
                  <a:lnTo>
                    <a:pt x="3454" y="3041"/>
                  </a:lnTo>
                  <a:lnTo>
                    <a:pt x="3464" y="3067"/>
                  </a:lnTo>
                  <a:lnTo>
                    <a:pt x="3467" y="3096"/>
                  </a:lnTo>
                  <a:lnTo>
                    <a:pt x="3464" y="3124"/>
                  </a:lnTo>
                  <a:lnTo>
                    <a:pt x="3454" y="3150"/>
                  </a:lnTo>
                  <a:lnTo>
                    <a:pt x="3440" y="3173"/>
                  </a:lnTo>
                  <a:lnTo>
                    <a:pt x="3420" y="3193"/>
                  </a:lnTo>
                  <a:lnTo>
                    <a:pt x="3397" y="3207"/>
                  </a:lnTo>
                  <a:lnTo>
                    <a:pt x="3371" y="3217"/>
                  </a:lnTo>
                  <a:lnTo>
                    <a:pt x="3343" y="3219"/>
                  </a:lnTo>
                  <a:lnTo>
                    <a:pt x="2848" y="3219"/>
                  </a:lnTo>
                  <a:lnTo>
                    <a:pt x="2819" y="3217"/>
                  </a:lnTo>
                  <a:lnTo>
                    <a:pt x="2794" y="3207"/>
                  </a:lnTo>
                  <a:lnTo>
                    <a:pt x="2771" y="3193"/>
                  </a:lnTo>
                  <a:lnTo>
                    <a:pt x="2752" y="3173"/>
                  </a:lnTo>
                  <a:lnTo>
                    <a:pt x="2736" y="3150"/>
                  </a:lnTo>
                  <a:lnTo>
                    <a:pt x="2727" y="3124"/>
                  </a:lnTo>
                  <a:lnTo>
                    <a:pt x="2724" y="3096"/>
                  </a:lnTo>
                  <a:lnTo>
                    <a:pt x="2724" y="2600"/>
                  </a:lnTo>
                  <a:lnTo>
                    <a:pt x="2727" y="2572"/>
                  </a:lnTo>
                  <a:lnTo>
                    <a:pt x="2736" y="2546"/>
                  </a:lnTo>
                  <a:lnTo>
                    <a:pt x="2752" y="2523"/>
                  </a:lnTo>
                  <a:lnTo>
                    <a:pt x="2771" y="2503"/>
                  </a:lnTo>
                  <a:lnTo>
                    <a:pt x="2794" y="2489"/>
                  </a:lnTo>
                  <a:lnTo>
                    <a:pt x="2819" y="2479"/>
                  </a:lnTo>
                  <a:lnTo>
                    <a:pt x="2848" y="2477"/>
                  </a:lnTo>
                  <a:close/>
                  <a:moveTo>
                    <a:pt x="2972" y="2229"/>
                  </a:moveTo>
                  <a:lnTo>
                    <a:pt x="2896" y="2232"/>
                  </a:lnTo>
                  <a:lnTo>
                    <a:pt x="2821" y="2244"/>
                  </a:lnTo>
                  <a:lnTo>
                    <a:pt x="2750" y="2262"/>
                  </a:lnTo>
                  <a:lnTo>
                    <a:pt x="2683" y="2288"/>
                  </a:lnTo>
                  <a:lnTo>
                    <a:pt x="2618" y="2319"/>
                  </a:lnTo>
                  <a:lnTo>
                    <a:pt x="2556" y="2356"/>
                  </a:lnTo>
                  <a:lnTo>
                    <a:pt x="2500" y="2399"/>
                  </a:lnTo>
                  <a:lnTo>
                    <a:pt x="2447" y="2447"/>
                  </a:lnTo>
                  <a:lnTo>
                    <a:pt x="2399" y="2500"/>
                  </a:lnTo>
                  <a:lnTo>
                    <a:pt x="2355" y="2556"/>
                  </a:lnTo>
                  <a:lnTo>
                    <a:pt x="2318" y="2618"/>
                  </a:lnTo>
                  <a:lnTo>
                    <a:pt x="2287" y="2683"/>
                  </a:lnTo>
                  <a:lnTo>
                    <a:pt x="2262" y="2752"/>
                  </a:lnTo>
                  <a:lnTo>
                    <a:pt x="2243" y="2823"/>
                  </a:lnTo>
                  <a:lnTo>
                    <a:pt x="2232" y="2896"/>
                  </a:lnTo>
                  <a:lnTo>
                    <a:pt x="2229" y="2972"/>
                  </a:lnTo>
                  <a:lnTo>
                    <a:pt x="2232" y="3048"/>
                  </a:lnTo>
                  <a:lnTo>
                    <a:pt x="2243" y="3122"/>
                  </a:lnTo>
                  <a:lnTo>
                    <a:pt x="2262" y="3193"/>
                  </a:lnTo>
                  <a:lnTo>
                    <a:pt x="2287" y="3261"/>
                  </a:lnTo>
                  <a:lnTo>
                    <a:pt x="2318" y="3325"/>
                  </a:lnTo>
                  <a:lnTo>
                    <a:pt x="2355" y="3387"/>
                  </a:lnTo>
                  <a:lnTo>
                    <a:pt x="2399" y="3444"/>
                  </a:lnTo>
                  <a:lnTo>
                    <a:pt x="2447" y="3497"/>
                  </a:lnTo>
                  <a:lnTo>
                    <a:pt x="2500" y="3544"/>
                  </a:lnTo>
                  <a:lnTo>
                    <a:pt x="2556" y="3588"/>
                  </a:lnTo>
                  <a:lnTo>
                    <a:pt x="2618" y="3625"/>
                  </a:lnTo>
                  <a:lnTo>
                    <a:pt x="2683" y="3657"/>
                  </a:lnTo>
                  <a:lnTo>
                    <a:pt x="2750" y="3682"/>
                  </a:lnTo>
                  <a:lnTo>
                    <a:pt x="2821" y="3700"/>
                  </a:lnTo>
                  <a:lnTo>
                    <a:pt x="2896" y="3711"/>
                  </a:lnTo>
                  <a:lnTo>
                    <a:pt x="2972" y="3714"/>
                  </a:lnTo>
                  <a:lnTo>
                    <a:pt x="3048" y="3711"/>
                  </a:lnTo>
                  <a:lnTo>
                    <a:pt x="3121" y="3700"/>
                  </a:lnTo>
                  <a:lnTo>
                    <a:pt x="3193" y="3682"/>
                  </a:lnTo>
                  <a:lnTo>
                    <a:pt x="3260" y="3657"/>
                  </a:lnTo>
                  <a:lnTo>
                    <a:pt x="3325" y="3625"/>
                  </a:lnTo>
                  <a:lnTo>
                    <a:pt x="3386" y="3588"/>
                  </a:lnTo>
                  <a:lnTo>
                    <a:pt x="3444" y="3544"/>
                  </a:lnTo>
                  <a:lnTo>
                    <a:pt x="3496" y="3497"/>
                  </a:lnTo>
                  <a:lnTo>
                    <a:pt x="3544" y="3444"/>
                  </a:lnTo>
                  <a:lnTo>
                    <a:pt x="3588" y="3387"/>
                  </a:lnTo>
                  <a:lnTo>
                    <a:pt x="3625" y="3325"/>
                  </a:lnTo>
                  <a:lnTo>
                    <a:pt x="3656" y="3261"/>
                  </a:lnTo>
                  <a:lnTo>
                    <a:pt x="3680" y="3193"/>
                  </a:lnTo>
                  <a:lnTo>
                    <a:pt x="3700" y="3122"/>
                  </a:lnTo>
                  <a:lnTo>
                    <a:pt x="3711" y="3048"/>
                  </a:lnTo>
                  <a:lnTo>
                    <a:pt x="3714" y="2972"/>
                  </a:lnTo>
                  <a:lnTo>
                    <a:pt x="3711" y="2896"/>
                  </a:lnTo>
                  <a:lnTo>
                    <a:pt x="3700" y="2823"/>
                  </a:lnTo>
                  <a:lnTo>
                    <a:pt x="3680" y="2752"/>
                  </a:lnTo>
                  <a:lnTo>
                    <a:pt x="3656" y="2683"/>
                  </a:lnTo>
                  <a:lnTo>
                    <a:pt x="3625" y="2618"/>
                  </a:lnTo>
                  <a:lnTo>
                    <a:pt x="3588" y="2556"/>
                  </a:lnTo>
                  <a:lnTo>
                    <a:pt x="3544" y="2500"/>
                  </a:lnTo>
                  <a:lnTo>
                    <a:pt x="3496" y="2447"/>
                  </a:lnTo>
                  <a:lnTo>
                    <a:pt x="3444" y="2399"/>
                  </a:lnTo>
                  <a:lnTo>
                    <a:pt x="3386" y="2356"/>
                  </a:lnTo>
                  <a:lnTo>
                    <a:pt x="3325" y="2319"/>
                  </a:lnTo>
                  <a:lnTo>
                    <a:pt x="3260" y="2288"/>
                  </a:lnTo>
                  <a:lnTo>
                    <a:pt x="3193" y="2262"/>
                  </a:lnTo>
                  <a:lnTo>
                    <a:pt x="3121" y="2244"/>
                  </a:lnTo>
                  <a:lnTo>
                    <a:pt x="3048" y="2232"/>
                  </a:lnTo>
                  <a:lnTo>
                    <a:pt x="2972" y="2229"/>
                  </a:lnTo>
                  <a:close/>
                  <a:moveTo>
                    <a:pt x="1238" y="2229"/>
                  </a:moveTo>
                  <a:lnTo>
                    <a:pt x="1734" y="2229"/>
                  </a:lnTo>
                  <a:lnTo>
                    <a:pt x="1734" y="2724"/>
                  </a:lnTo>
                  <a:lnTo>
                    <a:pt x="1238" y="2724"/>
                  </a:lnTo>
                  <a:lnTo>
                    <a:pt x="1238" y="2229"/>
                  </a:lnTo>
                  <a:close/>
                  <a:moveTo>
                    <a:pt x="495" y="2229"/>
                  </a:moveTo>
                  <a:lnTo>
                    <a:pt x="990" y="2229"/>
                  </a:lnTo>
                  <a:lnTo>
                    <a:pt x="990" y="2724"/>
                  </a:lnTo>
                  <a:lnTo>
                    <a:pt x="495" y="2724"/>
                  </a:lnTo>
                  <a:lnTo>
                    <a:pt x="495" y="2229"/>
                  </a:lnTo>
                  <a:close/>
                  <a:moveTo>
                    <a:pt x="2972" y="1982"/>
                  </a:moveTo>
                  <a:lnTo>
                    <a:pt x="3058" y="1985"/>
                  </a:lnTo>
                  <a:lnTo>
                    <a:pt x="3141" y="1996"/>
                  </a:lnTo>
                  <a:lnTo>
                    <a:pt x="3221" y="2013"/>
                  </a:lnTo>
                  <a:lnTo>
                    <a:pt x="3300" y="2037"/>
                  </a:lnTo>
                  <a:lnTo>
                    <a:pt x="3376" y="2067"/>
                  </a:lnTo>
                  <a:lnTo>
                    <a:pt x="3448" y="2103"/>
                  </a:lnTo>
                  <a:lnTo>
                    <a:pt x="3517" y="2144"/>
                  </a:lnTo>
                  <a:lnTo>
                    <a:pt x="3582" y="2191"/>
                  </a:lnTo>
                  <a:lnTo>
                    <a:pt x="3643" y="2243"/>
                  </a:lnTo>
                  <a:lnTo>
                    <a:pt x="3700" y="2300"/>
                  </a:lnTo>
                  <a:lnTo>
                    <a:pt x="3752" y="2361"/>
                  </a:lnTo>
                  <a:lnTo>
                    <a:pt x="3799" y="2426"/>
                  </a:lnTo>
                  <a:lnTo>
                    <a:pt x="3841" y="2495"/>
                  </a:lnTo>
                  <a:lnTo>
                    <a:pt x="3876" y="2567"/>
                  </a:lnTo>
                  <a:lnTo>
                    <a:pt x="3906" y="2643"/>
                  </a:lnTo>
                  <a:lnTo>
                    <a:pt x="3930" y="2722"/>
                  </a:lnTo>
                  <a:lnTo>
                    <a:pt x="3948" y="2803"/>
                  </a:lnTo>
                  <a:lnTo>
                    <a:pt x="3959" y="2887"/>
                  </a:lnTo>
                  <a:lnTo>
                    <a:pt x="3962" y="2972"/>
                  </a:lnTo>
                  <a:lnTo>
                    <a:pt x="3959" y="3058"/>
                  </a:lnTo>
                  <a:lnTo>
                    <a:pt x="3948" y="3141"/>
                  </a:lnTo>
                  <a:lnTo>
                    <a:pt x="3930" y="3222"/>
                  </a:lnTo>
                  <a:lnTo>
                    <a:pt x="3906" y="3300"/>
                  </a:lnTo>
                  <a:lnTo>
                    <a:pt x="3876" y="3376"/>
                  </a:lnTo>
                  <a:lnTo>
                    <a:pt x="3841" y="3448"/>
                  </a:lnTo>
                  <a:lnTo>
                    <a:pt x="3799" y="3518"/>
                  </a:lnTo>
                  <a:lnTo>
                    <a:pt x="3752" y="3583"/>
                  </a:lnTo>
                  <a:lnTo>
                    <a:pt x="3700" y="3643"/>
                  </a:lnTo>
                  <a:lnTo>
                    <a:pt x="3643" y="3700"/>
                  </a:lnTo>
                  <a:lnTo>
                    <a:pt x="3582" y="3752"/>
                  </a:lnTo>
                  <a:lnTo>
                    <a:pt x="3517" y="3799"/>
                  </a:lnTo>
                  <a:lnTo>
                    <a:pt x="3448" y="3841"/>
                  </a:lnTo>
                  <a:lnTo>
                    <a:pt x="3376" y="3877"/>
                  </a:lnTo>
                  <a:lnTo>
                    <a:pt x="3300" y="3907"/>
                  </a:lnTo>
                  <a:lnTo>
                    <a:pt x="3221" y="3931"/>
                  </a:lnTo>
                  <a:lnTo>
                    <a:pt x="3141" y="3948"/>
                  </a:lnTo>
                  <a:lnTo>
                    <a:pt x="3058" y="3959"/>
                  </a:lnTo>
                  <a:lnTo>
                    <a:pt x="2972" y="3963"/>
                  </a:lnTo>
                  <a:lnTo>
                    <a:pt x="2886" y="3959"/>
                  </a:lnTo>
                  <a:lnTo>
                    <a:pt x="2802" y="3948"/>
                  </a:lnTo>
                  <a:lnTo>
                    <a:pt x="2721" y="3931"/>
                  </a:lnTo>
                  <a:lnTo>
                    <a:pt x="2643" y="3907"/>
                  </a:lnTo>
                  <a:lnTo>
                    <a:pt x="2567" y="3877"/>
                  </a:lnTo>
                  <a:lnTo>
                    <a:pt x="2495" y="3841"/>
                  </a:lnTo>
                  <a:lnTo>
                    <a:pt x="2426" y="3799"/>
                  </a:lnTo>
                  <a:lnTo>
                    <a:pt x="2361" y="3752"/>
                  </a:lnTo>
                  <a:lnTo>
                    <a:pt x="2300" y="3700"/>
                  </a:lnTo>
                  <a:lnTo>
                    <a:pt x="2243" y="3643"/>
                  </a:lnTo>
                  <a:lnTo>
                    <a:pt x="2191" y="3583"/>
                  </a:lnTo>
                  <a:lnTo>
                    <a:pt x="2144" y="3518"/>
                  </a:lnTo>
                  <a:lnTo>
                    <a:pt x="2103" y="3448"/>
                  </a:lnTo>
                  <a:lnTo>
                    <a:pt x="2067" y="3376"/>
                  </a:lnTo>
                  <a:lnTo>
                    <a:pt x="2037" y="3300"/>
                  </a:lnTo>
                  <a:lnTo>
                    <a:pt x="2013" y="3222"/>
                  </a:lnTo>
                  <a:lnTo>
                    <a:pt x="1995" y="3141"/>
                  </a:lnTo>
                  <a:lnTo>
                    <a:pt x="1984" y="3058"/>
                  </a:lnTo>
                  <a:lnTo>
                    <a:pt x="1980" y="2972"/>
                  </a:lnTo>
                  <a:lnTo>
                    <a:pt x="1984" y="2887"/>
                  </a:lnTo>
                  <a:lnTo>
                    <a:pt x="1995" y="2803"/>
                  </a:lnTo>
                  <a:lnTo>
                    <a:pt x="2013" y="2722"/>
                  </a:lnTo>
                  <a:lnTo>
                    <a:pt x="2037" y="2643"/>
                  </a:lnTo>
                  <a:lnTo>
                    <a:pt x="2067" y="2567"/>
                  </a:lnTo>
                  <a:lnTo>
                    <a:pt x="2103" y="2495"/>
                  </a:lnTo>
                  <a:lnTo>
                    <a:pt x="2144" y="2426"/>
                  </a:lnTo>
                  <a:lnTo>
                    <a:pt x="2191" y="2361"/>
                  </a:lnTo>
                  <a:lnTo>
                    <a:pt x="2243" y="2300"/>
                  </a:lnTo>
                  <a:lnTo>
                    <a:pt x="2300" y="2243"/>
                  </a:lnTo>
                  <a:lnTo>
                    <a:pt x="2361" y="2191"/>
                  </a:lnTo>
                  <a:lnTo>
                    <a:pt x="2426" y="2144"/>
                  </a:lnTo>
                  <a:lnTo>
                    <a:pt x="2495" y="2103"/>
                  </a:lnTo>
                  <a:lnTo>
                    <a:pt x="2567" y="2067"/>
                  </a:lnTo>
                  <a:lnTo>
                    <a:pt x="2643" y="2037"/>
                  </a:lnTo>
                  <a:lnTo>
                    <a:pt x="2721" y="2013"/>
                  </a:lnTo>
                  <a:lnTo>
                    <a:pt x="2802" y="1996"/>
                  </a:lnTo>
                  <a:lnTo>
                    <a:pt x="2886" y="1985"/>
                  </a:lnTo>
                  <a:lnTo>
                    <a:pt x="2972" y="1982"/>
                  </a:lnTo>
                  <a:close/>
                  <a:moveTo>
                    <a:pt x="1980" y="1486"/>
                  </a:moveTo>
                  <a:lnTo>
                    <a:pt x="2476" y="1486"/>
                  </a:lnTo>
                  <a:lnTo>
                    <a:pt x="2476" y="1982"/>
                  </a:lnTo>
                  <a:lnTo>
                    <a:pt x="1980" y="1982"/>
                  </a:lnTo>
                  <a:lnTo>
                    <a:pt x="1980" y="1486"/>
                  </a:lnTo>
                  <a:close/>
                  <a:moveTo>
                    <a:pt x="1238" y="1486"/>
                  </a:moveTo>
                  <a:lnTo>
                    <a:pt x="1734" y="1486"/>
                  </a:lnTo>
                  <a:lnTo>
                    <a:pt x="1734" y="1982"/>
                  </a:lnTo>
                  <a:lnTo>
                    <a:pt x="1238" y="1982"/>
                  </a:lnTo>
                  <a:lnTo>
                    <a:pt x="1238" y="1486"/>
                  </a:lnTo>
                  <a:close/>
                  <a:moveTo>
                    <a:pt x="495" y="1486"/>
                  </a:moveTo>
                  <a:lnTo>
                    <a:pt x="990" y="1486"/>
                  </a:lnTo>
                  <a:lnTo>
                    <a:pt x="990" y="1982"/>
                  </a:lnTo>
                  <a:lnTo>
                    <a:pt x="495" y="1982"/>
                  </a:lnTo>
                  <a:lnTo>
                    <a:pt x="495" y="1486"/>
                  </a:lnTo>
                  <a:close/>
                  <a:moveTo>
                    <a:pt x="268" y="495"/>
                  </a:moveTo>
                  <a:lnTo>
                    <a:pt x="371" y="495"/>
                  </a:lnTo>
                  <a:lnTo>
                    <a:pt x="371" y="619"/>
                  </a:lnTo>
                  <a:lnTo>
                    <a:pt x="374" y="659"/>
                  </a:lnTo>
                  <a:lnTo>
                    <a:pt x="384" y="697"/>
                  </a:lnTo>
                  <a:lnTo>
                    <a:pt x="399" y="732"/>
                  </a:lnTo>
                  <a:lnTo>
                    <a:pt x="419" y="765"/>
                  </a:lnTo>
                  <a:lnTo>
                    <a:pt x="444" y="794"/>
                  </a:lnTo>
                  <a:lnTo>
                    <a:pt x="473" y="819"/>
                  </a:lnTo>
                  <a:lnTo>
                    <a:pt x="505" y="839"/>
                  </a:lnTo>
                  <a:lnTo>
                    <a:pt x="541" y="854"/>
                  </a:lnTo>
                  <a:lnTo>
                    <a:pt x="579" y="864"/>
                  </a:lnTo>
                  <a:lnTo>
                    <a:pt x="619" y="867"/>
                  </a:lnTo>
                  <a:lnTo>
                    <a:pt x="659" y="864"/>
                  </a:lnTo>
                  <a:lnTo>
                    <a:pt x="697" y="854"/>
                  </a:lnTo>
                  <a:lnTo>
                    <a:pt x="732" y="839"/>
                  </a:lnTo>
                  <a:lnTo>
                    <a:pt x="765" y="819"/>
                  </a:lnTo>
                  <a:lnTo>
                    <a:pt x="794" y="794"/>
                  </a:lnTo>
                  <a:lnTo>
                    <a:pt x="819" y="765"/>
                  </a:lnTo>
                  <a:lnTo>
                    <a:pt x="838" y="732"/>
                  </a:lnTo>
                  <a:lnTo>
                    <a:pt x="854" y="697"/>
                  </a:lnTo>
                  <a:lnTo>
                    <a:pt x="864" y="659"/>
                  </a:lnTo>
                  <a:lnTo>
                    <a:pt x="866" y="619"/>
                  </a:lnTo>
                  <a:lnTo>
                    <a:pt x="866" y="495"/>
                  </a:lnTo>
                  <a:lnTo>
                    <a:pt x="2353" y="495"/>
                  </a:lnTo>
                  <a:lnTo>
                    <a:pt x="2353" y="619"/>
                  </a:lnTo>
                  <a:lnTo>
                    <a:pt x="2355" y="659"/>
                  </a:lnTo>
                  <a:lnTo>
                    <a:pt x="2365" y="697"/>
                  </a:lnTo>
                  <a:lnTo>
                    <a:pt x="2380" y="732"/>
                  </a:lnTo>
                  <a:lnTo>
                    <a:pt x="2400" y="765"/>
                  </a:lnTo>
                  <a:lnTo>
                    <a:pt x="2425" y="794"/>
                  </a:lnTo>
                  <a:lnTo>
                    <a:pt x="2454" y="819"/>
                  </a:lnTo>
                  <a:lnTo>
                    <a:pt x="2487" y="839"/>
                  </a:lnTo>
                  <a:lnTo>
                    <a:pt x="2521" y="854"/>
                  </a:lnTo>
                  <a:lnTo>
                    <a:pt x="2560" y="864"/>
                  </a:lnTo>
                  <a:lnTo>
                    <a:pt x="2600" y="867"/>
                  </a:lnTo>
                  <a:lnTo>
                    <a:pt x="2641" y="864"/>
                  </a:lnTo>
                  <a:lnTo>
                    <a:pt x="2678" y="854"/>
                  </a:lnTo>
                  <a:lnTo>
                    <a:pt x="2714" y="839"/>
                  </a:lnTo>
                  <a:lnTo>
                    <a:pt x="2747" y="819"/>
                  </a:lnTo>
                  <a:lnTo>
                    <a:pt x="2776" y="794"/>
                  </a:lnTo>
                  <a:lnTo>
                    <a:pt x="2800" y="765"/>
                  </a:lnTo>
                  <a:lnTo>
                    <a:pt x="2820" y="732"/>
                  </a:lnTo>
                  <a:lnTo>
                    <a:pt x="2835" y="697"/>
                  </a:lnTo>
                  <a:lnTo>
                    <a:pt x="2844" y="659"/>
                  </a:lnTo>
                  <a:lnTo>
                    <a:pt x="2848" y="619"/>
                  </a:lnTo>
                  <a:lnTo>
                    <a:pt x="2848" y="495"/>
                  </a:lnTo>
                  <a:lnTo>
                    <a:pt x="2952" y="495"/>
                  </a:lnTo>
                  <a:lnTo>
                    <a:pt x="2995" y="498"/>
                  </a:lnTo>
                  <a:lnTo>
                    <a:pt x="3036" y="509"/>
                  </a:lnTo>
                  <a:lnTo>
                    <a:pt x="3074" y="526"/>
                  </a:lnTo>
                  <a:lnTo>
                    <a:pt x="3109" y="548"/>
                  </a:lnTo>
                  <a:lnTo>
                    <a:pt x="3141" y="574"/>
                  </a:lnTo>
                  <a:lnTo>
                    <a:pt x="3167" y="607"/>
                  </a:lnTo>
                  <a:lnTo>
                    <a:pt x="3189" y="642"/>
                  </a:lnTo>
                  <a:lnTo>
                    <a:pt x="3206" y="682"/>
                  </a:lnTo>
                  <a:lnTo>
                    <a:pt x="3215" y="724"/>
                  </a:lnTo>
                  <a:lnTo>
                    <a:pt x="3219" y="767"/>
                  </a:lnTo>
                  <a:lnTo>
                    <a:pt x="3219" y="1733"/>
                  </a:lnTo>
                  <a:lnTo>
                    <a:pt x="2972" y="1733"/>
                  </a:lnTo>
                  <a:lnTo>
                    <a:pt x="2972" y="1238"/>
                  </a:lnTo>
                  <a:lnTo>
                    <a:pt x="248" y="1238"/>
                  </a:lnTo>
                  <a:lnTo>
                    <a:pt x="248" y="2947"/>
                  </a:lnTo>
                  <a:lnTo>
                    <a:pt x="250" y="2959"/>
                  </a:lnTo>
                  <a:lnTo>
                    <a:pt x="258" y="2969"/>
                  </a:lnTo>
                  <a:lnTo>
                    <a:pt x="268" y="2972"/>
                  </a:lnTo>
                  <a:lnTo>
                    <a:pt x="1734" y="2972"/>
                  </a:lnTo>
                  <a:lnTo>
                    <a:pt x="1734" y="3219"/>
                  </a:lnTo>
                  <a:lnTo>
                    <a:pt x="268" y="3219"/>
                  </a:lnTo>
                  <a:lnTo>
                    <a:pt x="225" y="3216"/>
                  </a:lnTo>
                  <a:lnTo>
                    <a:pt x="183" y="3206"/>
                  </a:lnTo>
                  <a:lnTo>
                    <a:pt x="144" y="3189"/>
                  </a:lnTo>
                  <a:lnTo>
                    <a:pt x="109" y="3167"/>
                  </a:lnTo>
                  <a:lnTo>
                    <a:pt x="78" y="3140"/>
                  </a:lnTo>
                  <a:lnTo>
                    <a:pt x="52" y="3108"/>
                  </a:lnTo>
                  <a:lnTo>
                    <a:pt x="30" y="3072"/>
                  </a:lnTo>
                  <a:lnTo>
                    <a:pt x="13" y="3034"/>
                  </a:lnTo>
                  <a:lnTo>
                    <a:pt x="3" y="2991"/>
                  </a:lnTo>
                  <a:lnTo>
                    <a:pt x="0" y="2947"/>
                  </a:lnTo>
                  <a:lnTo>
                    <a:pt x="0" y="767"/>
                  </a:lnTo>
                  <a:lnTo>
                    <a:pt x="3" y="724"/>
                  </a:lnTo>
                  <a:lnTo>
                    <a:pt x="13" y="682"/>
                  </a:lnTo>
                  <a:lnTo>
                    <a:pt x="30" y="642"/>
                  </a:lnTo>
                  <a:lnTo>
                    <a:pt x="52" y="607"/>
                  </a:lnTo>
                  <a:lnTo>
                    <a:pt x="78" y="574"/>
                  </a:lnTo>
                  <a:lnTo>
                    <a:pt x="109" y="548"/>
                  </a:lnTo>
                  <a:lnTo>
                    <a:pt x="144" y="526"/>
                  </a:lnTo>
                  <a:lnTo>
                    <a:pt x="183" y="509"/>
                  </a:lnTo>
                  <a:lnTo>
                    <a:pt x="225" y="498"/>
                  </a:lnTo>
                  <a:lnTo>
                    <a:pt x="268" y="495"/>
                  </a:lnTo>
                  <a:close/>
                  <a:moveTo>
                    <a:pt x="2600" y="0"/>
                  </a:moveTo>
                  <a:lnTo>
                    <a:pt x="2629" y="3"/>
                  </a:lnTo>
                  <a:lnTo>
                    <a:pt x="2654" y="13"/>
                  </a:lnTo>
                  <a:lnTo>
                    <a:pt x="2678" y="27"/>
                  </a:lnTo>
                  <a:lnTo>
                    <a:pt x="2696" y="47"/>
                  </a:lnTo>
                  <a:lnTo>
                    <a:pt x="2712" y="69"/>
                  </a:lnTo>
                  <a:lnTo>
                    <a:pt x="2720" y="95"/>
                  </a:lnTo>
                  <a:lnTo>
                    <a:pt x="2724" y="124"/>
                  </a:lnTo>
                  <a:lnTo>
                    <a:pt x="2724" y="619"/>
                  </a:lnTo>
                  <a:lnTo>
                    <a:pt x="2720" y="648"/>
                  </a:lnTo>
                  <a:lnTo>
                    <a:pt x="2712" y="673"/>
                  </a:lnTo>
                  <a:lnTo>
                    <a:pt x="2696" y="696"/>
                  </a:lnTo>
                  <a:lnTo>
                    <a:pt x="2678" y="715"/>
                  </a:lnTo>
                  <a:lnTo>
                    <a:pt x="2654" y="730"/>
                  </a:lnTo>
                  <a:lnTo>
                    <a:pt x="2629" y="739"/>
                  </a:lnTo>
                  <a:lnTo>
                    <a:pt x="2600" y="743"/>
                  </a:lnTo>
                  <a:lnTo>
                    <a:pt x="2572" y="739"/>
                  </a:lnTo>
                  <a:lnTo>
                    <a:pt x="2546" y="730"/>
                  </a:lnTo>
                  <a:lnTo>
                    <a:pt x="2523" y="715"/>
                  </a:lnTo>
                  <a:lnTo>
                    <a:pt x="2503" y="696"/>
                  </a:lnTo>
                  <a:lnTo>
                    <a:pt x="2489" y="673"/>
                  </a:lnTo>
                  <a:lnTo>
                    <a:pt x="2479" y="648"/>
                  </a:lnTo>
                  <a:lnTo>
                    <a:pt x="2476" y="619"/>
                  </a:lnTo>
                  <a:lnTo>
                    <a:pt x="2476" y="124"/>
                  </a:lnTo>
                  <a:lnTo>
                    <a:pt x="2479" y="95"/>
                  </a:lnTo>
                  <a:lnTo>
                    <a:pt x="2489" y="69"/>
                  </a:lnTo>
                  <a:lnTo>
                    <a:pt x="2503" y="47"/>
                  </a:lnTo>
                  <a:lnTo>
                    <a:pt x="2523" y="27"/>
                  </a:lnTo>
                  <a:lnTo>
                    <a:pt x="2546" y="13"/>
                  </a:lnTo>
                  <a:lnTo>
                    <a:pt x="2572" y="3"/>
                  </a:lnTo>
                  <a:lnTo>
                    <a:pt x="2600" y="0"/>
                  </a:lnTo>
                  <a:close/>
                  <a:moveTo>
                    <a:pt x="619" y="0"/>
                  </a:moveTo>
                  <a:lnTo>
                    <a:pt x="647" y="3"/>
                  </a:lnTo>
                  <a:lnTo>
                    <a:pt x="673" y="13"/>
                  </a:lnTo>
                  <a:lnTo>
                    <a:pt x="696" y="27"/>
                  </a:lnTo>
                  <a:lnTo>
                    <a:pt x="715" y="47"/>
                  </a:lnTo>
                  <a:lnTo>
                    <a:pt x="730" y="69"/>
                  </a:lnTo>
                  <a:lnTo>
                    <a:pt x="740" y="95"/>
                  </a:lnTo>
                  <a:lnTo>
                    <a:pt x="743" y="124"/>
                  </a:lnTo>
                  <a:lnTo>
                    <a:pt x="743" y="619"/>
                  </a:lnTo>
                  <a:lnTo>
                    <a:pt x="740" y="648"/>
                  </a:lnTo>
                  <a:lnTo>
                    <a:pt x="730" y="673"/>
                  </a:lnTo>
                  <a:lnTo>
                    <a:pt x="715" y="696"/>
                  </a:lnTo>
                  <a:lnTo>
                    <a:pt x="696" y="715"/>
                  </a:lnTo>
                  <a:lnTo>
                    <a:pt x="673" y="730"/>
                  </a:lnTo>
                  <a:lnTo>
                    <a:pt x="647" y="739"/>
                  </a:lnTo>
                  <a:lnTo>
                    <a:pt x="619" y="743"/>
                  </a:lnTo>
                  <a:lnTo>
                    <a:pt x="590" y="739"/>
                  </a:lnTo>
                  <a:lnTo>
                    <a:pt x="565" y="730"/>
                  </a:lnTo>
                  <a:lnTo>
                    <a:pt x="542" y="715"/>
                  </a:lnTo>
                  <a:lnTo>
                    <a:pt x="523" y="696"/>
                  </a:lnTo>
                  <a:lnTo>
                    <a:pt x="508" y="673"/>
                  </a:lnTo>
                  <a:lnTo>
                    <a:pt x="499" y="648"/>
                  </a:lnTo>
                  <a:lnTo>
                    <a:pt x="495" y="619"/>
                  </a:lnTo>
                  <a:lnTo>
                    <a:pt x="495" y="124"/>
                  </a:lnTo>
                  <a:lnTo>
                    <a:pt x="499" y="95"/>
                  </a:lnTo>
                  <a:lnTo>
                    <a:pt x="508" y="69"/>
                  </a:lnTo>
                  <a:lnTo>
                    <a:pt x="523" y="47"/>
                  </a:lnTo>
                  <a:lnTo>
                    <a:pt x="542" y="27"/>
                  </a:lnTo>
                  <a:lnTo>
                    <a:pt x="565" y="13"/>
                  </a:lnTo>
                  <a:lnTo>
                    <a:pt x="590" y="3"/>
                  </a:lnTo>
                  <a:lnTo>
                    <a:pt x="619" y="0"/>
                  </a:lnTo>
                  <a:close/>
                </a:path>
              </a:pathLst>
            </a:custGeom>
            <a:solidFill>
              <a:schemeClr val="bg1"/>
            </a:solidFill>
            <a:ln w="0">
              <a:noFill/>
              <a:prstDash val="solid"/>
              <a:round/>
              <a:headEnd/>
              <a:tailEnd/>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endParaRPr>
            </a:p>
          </p:txBody>
        </p:sp>
        <p:grpSp>
          <p:nvGrpSpPr>
            <p:cNvPr id="61" name="Group 60"/>
            <p:cNvGrpSpPr/>
            <p:nvPr/>
          </p:nvGrpSpPr>
          <p:grpSpPr>
            <a:xfrm>
              <a:off x="4844299" y="3171539"/>
              <a:ext cx="704571" cy="702239"/>
              <a:chOff x="4575175" y="3521076"/>
              <a:chExt cx="479425" cy="477838"/>
            </a:xfrm>
            <a:solidFill>
              <a:schemeClr val="bg1"/>
            </a:solidFill>
          </p:grpSpPr>
          <p:sp>
            <p:nvSpPr>
              <p:cNvPr id="62" name="Freeform 54"/>
              <p:cNvSpPr>
                <a:spLocks/>
              </p:cNvSpPr>
              <p:nvPr/>
            </p:nvSpPr>
            <p:spPr bwMode="auto">
              <a:xfrm>
                <a:off x="4657725" y="3606801"/>
                <a:ext cx="206375" cy="42863"/>
              </a:xfrm>
              <a:custGeom>
                <a:avLst/>
                <a:gdLst>
                  <a:gd name="T0" fmla="*/ 151 w 1438"/>
                  <a:gd name="T1" fmla="*/ 0 h 302"/>
                  <a:gd name="T2" fmla="*/ 1287 w 1438"/>
                  <a:gd name="T3" fmla="*/ 0 h 302"/>
                  <a:gd name="T4" fmla="*/ 1318 w 1438"/>
                  <a:gd name="T5" fmla="*/ 3 h 302"/>
                  <a:gd name="T6" fmla="*/ 1346 w 1438"/>
                  <a:gd name="T7" fmla="*/ 12 h 302"/>
                  <a:gd name="T8" fmla="*/ 1372 w 1438"/>
                  <a:gd name="T9" fmla="*/ 26 h 302"/>
                  <a:gd name="T10" fmla="*/ 1394 w 1438"/>
                  <a:gd name="T11" fmla="*/ 45 h 302"/>
                  <a:gd name="T12" fmla="*/ 1413 w 1438"/>
                  <a:gd name="T13" fmla="*/ 67 h 302"/>
                  <a:gd name="T14" fmla="*/ 1426 w 1438"/>
                  <a:gd name="T15" fmla="*/ 93 h 302"/>
                  <a:gd name="T16" fmla="*/ 1435 w 1438"/>
                  <a:gd name="T17" fmla="*/ 121 h 302"/>
                  <a:gd name="T18" fmla="*/ 1438 w 1438"/>
                  <a:gd name="T19" fmla="*/ 151 h 302"/>
                  <a:gd name="T20" fmla="*/ 1435 w 1438"/>
                  <a:gd name="T21" fmla="*/ 181 h 302"/>
                  <a:gd name="T22" fmla="*/ 1426 w 1438"/>
                  <a:gd name="T23" fmla="*/ 209 h 302"/>
                  <a:gd name="T24" fmla="*/ 1413 w 1438"/>
                  <a:gd name="T25" fmla="*/ 235 h 302"/>
                  <a:gd name="T26" fmla="*/ 1394 w 1438"/>
                  <a:gd name="T27" fmla="*/ 257 h 302"/>
                  <a:gd name="T28" fmla="*/ 1372 w 1438"/>
                  <a:gd name="T29" fmla="*/ 276 h 302"/>
                  <a:gd name="T30" fmla="*/ 1346 w 1438"/>
                  <a:gd name="T31" fmla="*/ 289 h 302"/>
                  <a:gd name="T32" fmla="*/ 1318 w 1438"/>
                  <a:gd name="T33" fmla="*/ 298 h 302"/>
                  <a:gd name="T34" fmla="*/ 1287 w 1438"/>
                  <a:gd name="T35" fmla="*/ 302 h 302"/>
                  <a:gd name="T36" fmla="*/ 151 w 1438"/>
                  <a:gd name="T37" fmla="*/ 302 h 302"/>
                  <a:gd name="T38" fmla="*/ 121 w 1438"/>
                  <a:gd name="T39" fmla="*/ 298 h 302"/>
                  <a:gd name="T40" fmla="*/ 93 w 1438"/>
                  <a:gd name="T41" fmla="*/ 289 h 302"/>
                  <a:gd name="T42" fmla="*/ 66 w 1438"/>
                  <a:gd name="T43" fmla="*/ 276 h 302"/>
                  <a:gd name="T44" fmla="*/ 44 w 1438"/>
                  <a:gd name="T45" fmla="*/ 257 h 302"/>
                  <a:gd name="T46" fmla="*/ 26 w 1438"/>
                  <a:gd name="T47" fmla="*/ 235 h 302"/>
                  <a:gd name="T48" fmla="*/ 12 w 1438"/>
                  <a:gd name="T49" fmla="*/ 209 h 302"/>
                  <a:gd name="T50" fmla="*/ 4 w 1438"/>
                  <a:gd name="T51" fmla="*/ 181 h 302"/>
                  <a:gd name="T52" fmla="*/ 0 w 1438"/>
                  <a:gd name="T53" fmla="*/ 151 h 302"/>
                  <a:gd name="T54" fmla="*/ 4 w 1438"/>
                  <a:gd name="T55" fmla="*/ 121 h 302"/>
                  <a:gd name="T56" fmla="*/ 12 w 1438"/>
                  <a:gd name="T57" fmla="*/ 93 h 302"/>
                  <a:gd name="T58" fmla="*/ 26 w 1438"/>
                  <a:gd name="T59" fmla="*/ 67 h 302"/>
                  <a:gd name="T60" fmla="*/ 44 w 1438"/>
                  <a:gd name="T61" fmla="*/ 45 h 302"/>
                  <a:gd name="T62" fmla="*/ 66 w 1438"/>
                  <a:gd name="T63" fmla="*/ 26 h 302"/>
                  <a:gd name="T64" fmla="*/ 93 w 1438"/>
                  <a:gd name="T65" fmla="*/ 12 h 302"/>
                  <a:gd name="T66" fmla="*/ 121 w 1438"/>
                  <a:gd name="T67" fmla="*/ 3 h 302"/>
                  <a:gd name="T68" fmla="*/ 151 w 1438"/>
                  <a:gd name="T69"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38" h="302">
                    <a:moveTo>
                      <a:pt x="151" y="0"/>
                    </a:moveTo>
                    <a:lnTo>
                      <a:pt x="1287" y="0"/>
                    </a:lnTo>
                    <a:lnTo>
                      <a:pt x="1318" y="3"/>
                    </a:lnTo>
                    <a:lnTo>
                      <a:pt x="1346" y="12"/>
                    </a:lnTo>
                    <a:lnTo>
                      <a:pt x="1372" y="26"/>
                    </a:lnTo>
                    <a:lnTo>
                      <a:pt x="1394" y="45"/>
                    </a:lnTo>
                    <a:lnTo>
                      <a:pt x="1413" y="67"/>
                    </a:lnTo>
                    <a:lnTo>
                      <a:pt x="1426" y="93"/>
                    </a:lnTo>
                    <a:lnTo>
                      <a:pt x="1435" y="121"/>
                    </a:lnTo>
                    <a:lnTo>
                      <a:pt x="1438" y="151"/>
                    </a:lnTo>
                    <a:lnTo>
                      <a:pt x="1435" y="181"/>
                    </a:lnTo>
                    <a:lnTo>
                      <a:pt x="1426" y="209"/>
                    </a:lnTo>
                    <a:lnTo>
                      <a:pt x="1413" y="235"/>
                    </a:lnTo>
                    <a:lnTo>
                      <a:pt x="1394" y="257"/>
                    </a:lnTo>
                    <a:lnTo>
                      <a:pt x="1372" y="276"/>
                    </a:lnTo>
                    <a:lnTo>
                      <a:pt x="1346" y="289"/>
                    </a:lnTo>
                    <a:lnTo>
                      <a:pt x="1318" y="298"/>
                    </a:lnTo>
                    <a:lnTo>
                      <a:pt x="1287" y="302"/>
                    </a:lnTo>
                    <a:lnTo>
                      <a:pt x="151" y="302"/>
                    </a:lnTo>
                    <a:lnTo>
                      <a:pt x="121" y="298"/>
                    </a:lnTo>
                    <a:lnTo>
                      <a:pt x="93" y="289"/>
                    </a:lnTo>
                    <a:lnTo>
                      <a:pt x="66" y="276"/>
                    </a:lnTo>
                    <a:lnTo>
                      <a:pt x="44" y="257"/>
                    </a:lnTo>
                    <a:lnTo>
                      <a:pt x="26" y="235"/>
                    </a:lnTo>
                    <a:lnTo>
                      <a:pt x="12" y="209"/>
                    </a:lnTo>
                    <a:lnTo>
                      <a:pt x="4" y="181"/>
                    </a:lnTo>
                    <a:lnTo>
                      <a:pt x="0" y="151"/>
                    </a:lnTo>
                    <a:lnTo>
                      <a:pt x="4" y="121"/>
                    </a:lnTo>
                    <a:lnTo>
                      <a:pt x="12" y="93"/>
                    </a:lnTo>
                    <a:lnTo>
                      <a:pt x="26" y="67"/>
                    </a:lnTo>
                    <a:lnTo>
                      <a:pt x="44" y="45"/>
                    </a:lnTo>
                    <a:lnTo>
                      <a:pt x="66" y="26"/>
                    </a:lnTo>
                    <a:lnTo>
                      <a:pt x="93" y="12"/>
                    </a:lnTo>
                    <a:lnTo>
                      <a:pt x="121" y="3"/>
                    </a:lnTo>
                    <a:lnTo>
                      <a:pt x="151" y="0"/>
                    </a:lnTo>
                    <a:close/>
                  </a:path>
                </a:pathLst>
              </a:custGeom>
              <a:grpFill/>
              <a:ln w="0">
                <a:noFill/>
                <a:prstDash val="solid"/>
                <a:round/>
                <a:headEnd/>
                <a:tailEnd/>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endParaRPr>
              </a:p>
            </p:txBody>
          </p:sp>
          <p:sp>
            <p:nvSpPr>
              <p:cNvPr id="63" name="Freeform 55"/>
              <p:cNvSpPr>
                <a:spLocks/>
              </p:cNvSpPr>
              <p:nvPr/>
            </p:nvSpPr>
            <p:spPr bwMode="auto">
              <a:xfrm>
                <a:off x="4657725" y="3687763"/>
                <a:ext cx="206375" cy="42863"/>
              </a:xfrm>
              <a:custGeom>
                <a:avLst/>
                <a:gdLst>
                  <a:gd name="T0" fmla="*/ 151 w 1438"/>
                  <a:gd name="T1" fmla="*/ 0 h 301"/>
                  <a:gd name="T2" fmla="*/ 1287 w 1438"/>
                  <a:gd name="T3" fmla="*/ 0 h 301"/>
                  <a:gd name="T4" fmla="*/ 1318 w 1438"/>
                  <a:gd name="T5" fmla="*/ 3 h 301"/>
                  <a:gd name="T6" fmla="*/ 1346 w 1438"/>
                  <a:gd name="T7" fmla="*/ 12 h 301"/>
                  <a:gd name="T8" fmla="*/ 1372 w 1438"/>
                  <a:gd name="T9" fmla="*/ 26 h 301"/>
                  <a:gd name="T10" fmla="*/ 1394 w 1438"/>
                  <a:gd name="T11" fmla="*/ 44 h 301"/>
                  <a:gd name="T12" fmla="*/ 1413 w 1438"/>
                  <a:gd name="T13" fmla="*/ 66 h 301"/>
                  <a:gd name="T14" fmla="*/ 1426 w 1438"/>
                  <a:gd name="T15" fmla="*/ 92 h 301"/>
                  <a:gd name="T16" fmla="*/ 1435 w 1438"/>
                  <a:gd name="T17" fmla="*/ 120 h 301"/>
                  <a:gd name="T18" fmla="*/ 1438 w 1438"/>
                  <a:gd name="T19" fmla="*/ 150 h 301"/>
                  <a:gd name="T20" fmla="*/ 1435 w 1438"/>
                  <a:gd name="T21" fmla="*/ 181 h 301"/>
                  <a:gd name="T22" fmla="*/ 1426 w 1438"/>
                  <a:gd name="T23" fmla="*/ 210 h 301"/>
                  <a:gd name="T24" fmla="*/ 1413 w 1438"/>
                  <a:gd name="T25" fmla="*/ 235 h 301"/>
                  <a:gd name="T26" fmla="*/ 1394 w 1438"/>
                  <a:gd name="T27" fmla="*/ 258 h 301"/>
                  <a:gd name="T28" fmla="*/ 1372 w 1438"/>
                  <a:gd name="T29" fmla="*/ 275 h 301"/>
                  <a:gd name="T30" fmla="*/ 1346 w 1438"/>
                  <a:gd name="T31" fmla="*/ 290 h 301"/>
                  <a:gd name="T32" fmla="*/ 1318 w 1438"/>
                  <a:gd name="T33" fmla="*/ 298 h 301"/>
                  <a:gd name="T34" fmla="*/ 1287 w 1438"/>
                  <a:gd name="T35" fmla="*/ 301 h 301"/>
                  <a:gd name="T36" fmla="*/ 151 w 1438"/>
                  <a:gd name="T37" fmla="*/ 301 h 301"/>
                  <a:gd name="T38" fmla="*/ 121 w 1438"/>
                  <a:gd name="T39" fmla="*/ 298 h 301"/>
                  <a:gd name="T40" fmla="*/ 93 w 1438"/>
                  <a:gd name="T41" fmla="*/ 290 h 301"/>
                  <a:gd name="T42" fmla="*/ 66 w 1438"/>
                  <a:gd name="T43" fmla="*/ 275 h 301"/>
                  <a:gd name="T44" fmla="*/ 44 w 1438"/>
                  <a:gd name="T45" fmla="*/ 258 h 301"/>
                  <a:gd name="T46" fmla="*/ 26 w 1438"/>
                  <a:gd name="T47" fmla="*/ 235 h 301"/>
                  <a:gd name="T48" fmla="*/ 12 w 1438"/>
                  <a:gd name="T49" fmla="*/ 210 h 301"/>
                  <a:gd name="T50" fmla="*/ 4 w 1438"/>
                  <a:gd name="T51" fmla="*/ 181 h 301"/>
                  <a:gd name="T52" fmla="*/ 0 w 1438"/>
                  <a:gd name="T53" fmla="*/ 150 h 301"/>
                  <a:gd name="T54" fmla="*/ 4 w 1438"/>
                  <a:gd name="T55" fmla="*/ 120 h 301"/>
                  <a:gd name="T56" fmla="*/ 12 w 1438"/>
                  <a:gd name="T57" fmla="*/ 92 h 301"/>
                  <a:gd name="T58" fmla="*/ 26 w 1438"/>
                  <a:gd name="T59" fmla="*/ 66 h 301"/>
                  <a:gd name="T60" fmla="*/ 44 w 1438"/>
                  <a:gd name="T61" fmla="*/ 44 h 301"/>
                  <a:gd name="T62" fmla="*/ 66 w 1438"/>
                  <a:gd name="T63" fmla="*/ 26 h 301"/>
                  <a:gd name="T64" fmla="*/ 93 w 1438"/>
                  <a:gd name="T65" fmla="*/ 12 h 301"/>
                  <a:gd name="T66" fmla="*/ 121 w 1438"/>
                  <a:gd name="T67" fmla="*/ 3 h 301"/>
                  <a:gd name="T68" fmla="*/ 151 w 1438"/>
                  <a:gd name="T69"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38" h="301">
                    <a:moveTo>
                      <a:pt x="151" y="0"/>
                    </a:moveTo>
                    <a:lnTo>
                      <a:pt x="1287" y="0"/>
                    </a:lnTo>
                    <a:lnTo>
                      <a:pt x="1318" y="3"/>
                    </a:lnTo>
                    <a:lnTo>
                      <a:pt x="1346" y="12"/>
                    </a:lnTo>
                    <a:lnTo>
                      <a:pt x="1372" y="26"/>
                    </a:lnTo>
                    <a:lnTo>
                      <a:pt x="1394" y="44"/>
                    </a:lnTo>
                    <a:lnTo>
                      <a:pt x="1413" y="66"/>
                    </a:lnTo>
                    <a:lnTo>
                      <a:pt x="1426" y="92"/>
                    </a:lnTo>
                    <a:lnTo>
                      <a:pt x="1435" y="120"/>
                    </a:lnTo>
                    <a:lnTo>
                      <a:pt x="1438" y="150"/>
                    </a:lnTo>
                    <a:lnTo>
                      <a:pt x="1435" y="181"/>
                    </a:lnTo>
                    <a:lnTo>
                      <a:pt x="1426" y="210"/>
                    </a:lnTo>
                    <a:lnTo>
                      <a:pt x="1413" y="235"/>
                    </a:lnTo>
                    <a:lnTo>
                      <a:pt x="1394" y="258"/>
                    </a:lnTo>
                    <a:lnTo>
                      <a:pt x="1372" y="275"/>
                    </a:lnTo>
                    <a:lnTo>
                      <a:pt x="1346" y="290"/>
                    </a:lnTo>
                    <a:lnTo>
                      <a:pt x="1318" y="298"/>
                    </a:lnTo>
                    <a:lnTo>
                      <a:pt x="1287" y="301"/>
                    </a:lnTo>
                    <a:lnTo>
                      <a:pt x="151" y="301"/>
                    </a:lnTo>
                    <a:lnTo>
                      <a:pt x="121" y="298"/>
                    </a:lnTo>
                    <a:lnTo>
                      <a:pt x="93" y="290"/>
                    </a:lnTo>
                    <a:lnTo>
                      <a:pt x="66" y="275"/>
                    </a:lnTo>
                    <a:lnTo>
                      <a:pt x="44" y="258"/>
                    </a:lnTo>
                    <a:lnTo>
                      <a:pt x="26" y="235"/>
                    </a:lnTo>
                    <a:lnTo>
                      <a:pt x="12" y="210"/>
                    </a:lnTo>
                    <a:lnTo>
                      <a:pt x="4" y="181"/>
                    </a:lnTo>
                    <a:lnTo>
                      <a:pt x="0" y="150"/>
                    </a:lnTo>
                    <a:lnTo>
                      <a:pt x="4" y="120"/>
                    </a:lnTo>
                    <a:lnTo>
                      <a:pt x="12" y="92"/>
                    </a:lnTo>
                    <a:lnTo>
                      <a:pt x="26" y="66"/>
                    </a:lnTo>
                    <a:lnTo>
                      <a:pt x="44" y="44"/>
                    </a:lnTo>
                    <a:lnTo>
                      <a:pt x="66" y="26"/>
                    </a:lnTo>
                    <a:lnTo>
                      <a:pt x="93" y="12"/>
                    </a:lnTo>
                    <a:lnTo>
                      <a:pt x="121" y="3"/>
                    </a:lnTo>
                    <a:lnTo>
                      <a:pt x="151" y="0"/>
                    </a:lnTo>
                    <a:close/>
                  </a:path>
                </a:pathLst>
              </a:custGeom>
              <a:grpFill/>
              <a:ln w="0">
                <a:noFill/>
                <a:prstDash val="solid"/>
                <a:round/>
                <a:headEnd/>
                <a:tailEnd/>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endParaRPr>
              </a:p>
            </p:txBody>
          </p:sp>
          <p:sp>
            <p:nvSpPr>
              <p:cNvPr id="64" name="Freeform 56"/>
              <p:cNvSpPr>
                <a:spLocks/>
              </p:cNvSpPr>
              <p:nvPr/>
            </p:nvSpPr>
            <p:spPr bwMode="auto">
              <a:xfrm>
                <a:off x="4657725" y="3768726"/>
                <a:ext cx="125413" cy="44450"/>
              </a:xfrm>
              <a:custGeom>
                <a:avLst/>
                <a:gdLst>
                  <a:gd name="T0" fmla="*/ 151 w 870"/>
                  <a:gd name="T1" fmla="*/ 0 h 301"/>
                  <a:gd name="T2" fmla="*/ 720 w 870"/>
                  <a:gd name="T3" fmla="*/ 0 h 301"/>
                  <a:gd name="T4" fmla="*/ 750 w 870"/>
                  <a:gd name="T5" fmla="*/ 4 h 301"/>
                  <a:gd name="T6" fmla="*/ 778 w 870"/>
                  <a:gd name="T7" fmla="*/ 12 h 301"/>
                  <a:gd name="T8" fmla="*/ 805 w 870"/>
                  <a:gd name="T9" fmla="*/ 26 h 301"/>
                  <a:gd name="T10" fmla="*/ 827 w 870"/>
                  <a:gd name="T11" fmla="*/ 44 h 301"/>
                  <a:gd name="T12" fmla="*/ 845 w 870"/>
                  <a:gd name="T13" fmla="*/ 67 h 301"/>
                  <a:gd name="T14" fmla="*/ 859 w 870"/>
                  <a:gd name="T15" fmla="*/ 92 h 301"/>
                  <a:gd name="T16" fmla="*/ 867 w 870"/>
                  <a:gd name="T17" fmla="*/ 120 h 301"/>
                  <a:gd name="T18" fmla="*/ 870 w 870"/>
                  <a:gd name="T19" fmla="*/ 151 h 301"/>
                  <a:gd name="T20" fmla="*/ 867 w 870"/>
                  <a:gd name="T21" fmla="*/ 181 h 301"/>
                  <a:gd name="T22" fmla="*/ 859 w 870"/>
                  <a:gd name="T23" fmla="*/ 209 h 301"/>
                  <a:gd name="T24" fmla="*/ 845 w 870"/>
                  <a:gd name="T25" fmla="*/ 234 h 301"/>
                  <a:gd name="T26" fmla="*/ 827 w 870"/>
                  <a:gd name="T27" fmla="*/ 257 h 301"/>
                  <a:gd name="T28" fmla="*/ 805 w 870"/>
                  <a:gd name="T29" fmla="*/ 275 h 301"/>
                  <a:gd name="T30" fmla="*/ 778 w 870"/>
                  <a:gd name="T31" fmla="*/ 290 h 301"/>
                  <a:gd name="T32" fmla="*/ 750 w 870"/>
                  <a:gd name="T33" fmla="*/ 298 h 301"/>
                  <a:gd name="T34" fmla="*/ 720 w 870"/>
                  <a:gd name="T35" fmla="*/ 301 h 301"/>
                  <a:gd name="T36" fmla="*/ 151 w 870"/>
                  <a:gd name="T37" fmla="*/ 301 h 301"/>
                  <a:gd name="T38" fmla="*/ 121 w 870"/>
                  <a:gd name="T39" fmla="*/ 298 h 301"/>
                  <a:gd name="T40" fmla="*/ 93 w 870"/>
                  <a:gd name="T41" fmla="*/ 290 h 301"/>
                  <a:gd name="T42" fmla="*/ 66 w 870"/>
                  <a:gd name="T43" fmla="*/ 275 h 301"/>
                  <a:gd name="T44" fmla="*/ 44 w 870"/>
                  <a:gd name="T45" fmla="*/ 257 h 301"/>
                  <a:gd name="T46" fmla="*/ 26 w 870"/>
                  <a:gd name="T47" fmla="*/ 234 h 301"/>
                  <a:gd name="T48" fmla="*/ 12 w 870"/>
                  <a:gd name="T49" fmla="*/ 209 h 301"/>
                  <a:gd name="T50" fmla="*/ 4 w 870"/>
                  <a:gd name="T51" fmla="*/ 181 h 301"/>
                  <a:gd name="T52" fmla="*/ 0 w 870"/>
                  <a:gd name="T53" fmla="*/ 151 h 301"/>
                  <a:gd name="T54" fmla="*/ 4 w 870"/>
                  <a:gd name="T55" fmla="*/ 120 h 301"/>
                  <a:gd name="T56" fmla="*/ 12 w 870"/>
                  <a:gd name="T57" fmla="*/ 92 h 301"/>
                  <a:gd name="T58" fmla="*/ 26 w 870"/>
                  <a:gd name="T59" fmla="*/ 67 h 301"/>
                  <a:gd name="T60" fmla="*/ 44 w 870"/>
                  <a:gd name="T61" fmla="*/ 44 h 301"/>
                  <a:gd name="T62" fmla="*/ 66 w 870"/>
                  <a:gd name="T63" fmla="*/ 26 h 301"/>
                  <a:gd name="T64" fmla="*/ 93 w 870"/>
                  <a:gd name="T65" fmla="*/ 12 h 301"/>
                  <a:gd name="T66" fmla="*/ 121 w 870"/>
                  <a:gd name="T67" fmla="*/ 4 h 301"/>
                  <a:gd name="T68" fmla="*/ 151 w 870"/>
                  <a:gd name="T69"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70" h="301">
                    <a:moveTo>
                      <a:pt x="151" y="0"/>
                    </a:moveTo>
                    <a:lnTo>
                      <a:pt x="720" y="0"/>
                    </a:lnTo>
                    <a:lnTo>
                      <a:pt x="750" y="4"/>
                    </a:lnTo>
                    <a:lnTo>
                      <a:pt x="778" y="12"/>
                    </a:lnTo>
                    <a:lnTo>
                      <a:pt x="805" y="26"/>
                    </a:lnTo>
                    <a:lnTo>
                      <a:pt x="827" y="44"/>
                    </a:lnTo>
                    <a:lnTo>
                      <a:pt x="845" y="67"/>
                    </a:lnTo>
                    <a:lnTo>
                      <a:pt x="859" y="92"/>
                    </a:lnTo>
                    <a:lnTo>
                      <a:pt x="867" y="120"/>
                    </a:lnTo>
                    <a:lnTo>
                      <a:pt x="870" y="151"/>
                    </a:lnTo>
                    <a:lnTo>
                      <a:pt x="867" y="181"/>
                    </a:lnTo>
                    <a:lnTo>
                      <a:pt x="859" y="209"/>
                    </a:lnTo>
                    <a:lnTo>
                      <a:pt x="845" y="234"/>
                    </a:lnTo>
                    <a:lnTo>
                      <a:pt x="827" y="257"/>
                    </a:lnTo>
                    <a:lnTo>
                      <a:pt x="805" y="275"/>
                    </a:lnTo>
                    <a:lnTo>
                      <a:pt x="778" y="290"/>
                    </a:lnTo>
                    <a:lnTo>
                      <a:pt x="750" y="298"/>
                    </a:lnTo>
                    <a:lnTo>
                      <a:pt x="720" y="301"/>
                    </a:lnTo>
                    <a:lnTo>
                      <a:pt x="151" y="301"/>
                    </a:lnTo>
                    <a:lnTo>
                      <a:pt x="121" y="298"/>
                    </a:lnTo>
                    <a:lnTo>
                      <a:pt x="93" y="290"/>
                    </a:lnTo>
                    <a:lnTo>
                      <a:pt x="66" y="275"/>
                    </a:lnTo>
                    <a:lnTo>
                      <a:pt x="44" y="257"/>
                    </a:lnTo>
                    <a:lnTo>
                      <a:pt x="26" y="234"/>
                    </a:lnTo>
                    <a:lnTo>
                      <a:pt x="12" y="209"/>
                    </a:lnTo>
                    <a:lnTo>
                      <a:pt x="4" y="181"/>
                    </a:lnTo>
                    <a:lnTo>
                      <a:pt x="0" y="151"/>
                    </a:lnTo>
                    <a:lnTo>
                      <a:pt x="4" y="120"/>
                    </a:lnTo>
                    <a:lnTo>
                      <a:pt x="12" y="92"/>
                    </a:lnTo>
                    <a:lnTo>
                      <a:pt x="26" y="67"/>
                    </a:lnTo>
                    <a:lnTo>
                      <a:pt x="44" y="44"/>
                    </a:lnTo>
                    <a:lnTo>
                      <a:pt x="66" y="26"/>
                    </a:lnTo>
                    <a:lnTo>
                      <a:pt x="93" y="12"/>
                    </a:lnTo>
                    <a:lnTo>
                      <a:pt x="121" y="4"/>
                    </a:lnTo>
                    <a:lnTo>
                      <a:pt x="151" y="0"/>
                    </a:lnTo>
                    <a:close/>
                  </a:path>
                </a:pathLst>
              </a:custGeom>
              <a:grpFill/>
              <a:ln w="0">
                <a:noFill/>
                <a:prstDash val="solid"/>
                <a:round/>
                <a:headEnd/>
                <a:tailEnd/>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endParaRPr>
              </a:p>
            </p:txBody>
          </p:sp>
          <p:sp>
            <p:nvSpPr>
              <p:cNvPr id="65" name="Freeform 57"/>
              <p:cNvSpPr>
                <a:spLocks/>
              </p:cNvSpPr>
              <p:nvPr/>
            </p:nvSpPr>
            <p:spPr bwMode="auto">
              <a:xfrm>
                <a:off x="4575175" y="3521076"/>
                <a:ext cx="371475" cy="477838"/>
              </a:xfrm>
              <a:custGeom>
                <a:avLst/>
                <a:gdLst>
                  <a:gd name="T0" fmla="*/ 152 w 2574"/>
                  <a:gd name="T1" fmla="*/ 0 h 3310"/>
                  <a:gd name="T2" fmla="*/ 2423 w 2574"/>
                  <a:gd name="T3" fmla="*/ 0 h 3310"/>
                  <a:gd name="T4" fmla="*/ 2453 w 2574"/>
                  <a:gd name="T5" fmla="*/ 3 h 3310"/>
                  <a:gd name="T6" fmla="*/ 2481 w 2574"/>
                  <a:gd name="T7" fmla="*/ 12 h 3310"/>
                  <a:gd name="T8" fmla="*/ 2507 w 2574"/>
                  <a:gd name="T9" fmla="*/ 26 h 3310"/>
                  <a:gd name="T10" fmla="*/ 2529 w 2574"/>
                  <a:gd name="T11" fmla="*/ 44 h 3310"/>
                  <a:gd name="T12" fmla="*/ 2548 w 2574"/>
                  <a:gd name="T13" fmla="*/ 67 h 3310"/>
                  <a:gd name="T14" fmla="*/ 2562 w 2574"/>
                  <a:gd name="T15" fmla="*/ 92 h 3310"/>
                  <a:gd name="T16" fmla="*/ 2571 w 2574"/>
                  <a:gd name="T17" fmla="*/ 120 h 3310"/>
                  <a:gd name="T18" fmla="*/ 2574 w 2574"/>
                  <a:gd name="T19" fmla="*/ 150 h 3310"/>
                  <a:gd name="T20" fmla="*/ 2574 w 2574"/>
                  <a:gd name="T21" fmla="*/ 374 h 3310"/>
                  <a:gd name="T22" fmla="*/ 2272 w 2574"/>
                  <a:gd name="T23" fmla="*/ 896 h 3310"/>
                  <a:gd name="T24" fmla="*/ 2272 w 2574"/>
                  <a:gd name="T25" fmla="*/ 301 h 3310"/>
                  <a:gd name="T26" fmla="*/ 304 w 2574"/>
                  <a:gd name="T27" fmla="*/ 301 h 3310"/>
                  <a:gd name="T28" fmla="*/ 304 w 2574"/>
                  <a:gd name="T29" fmla="*/ 3008 h 3310"/>
                  <a:gd name="T30" fmla="*/ 2272 w 2574"/>
                  <a:gd name="T31" fmla="*/ 3008 h 3310"/>
                  <a:gd name="T32" fmla="*/ 2272 w 2574"/>
                  <a:gd name="T33" fmla="*/ 2634 h 3310"/>
                  <a:gd name="T34" fmla="*/ 2430 w 2574"/>
                  <a:gd name="T35" fmla="*/ 2530 h 3310"/>
                  <a:gd name="T36" fmla="*/ 2458 w 2574"/>
                  <a:gd name="T37" fmla="*/ 2508 h 3310"/>
                  <a:gd name="T38" fmla="*/ 2482 w 2574"/>
                  <a:gd name="T39" fmla="*/ 2483 h 3310"/>
                  <a:gd name="T40" fmla="*/ 2502 w 2574"/>
                  <a:gd name="T41" fmla="*/ 2454 h 3310"/>
                  <a:gd name="T42" fmla="*/ 2574 w 2574"/>
                  <a:gd name="T43" fmla="*/ 2330 h 3310"/>
                  <a:gd name="T44" fmla="*/ 2574 w 2574"/>
                  <a:gd name="T45" fmla="*/ 3159 h 3310"/>
                  <a:gd name="T46" fmla="*/ 2571 w 2574"/>
                  <a:gd name="T47" fmla="*/ 3189 h 3310"/>
                  <a:gd name="T48" fmla="*/ 2562 w 2574"/>
                  <a:gd name="T49" fmla="*/ 3217 h 3310"/>
                  <a:gd name="T50" fmla="*/ 2548 w 2574"/>
                  <a:gd name="T51" fmla="*/ 3243 h 3310"/>
                  <a:gd name="T52" fmla="*/ 2529 w 2574"/>
                  <a:gd name="T53" fmla="*/ 3265 h 3310"/>
                  <a:gd name="T54" fmla="*/ 2507 w 2574"/>
                  <a:gd name="T55" fmla="*/ 3284 h 3310"/>
                  <a:gd name="T56" fmla="*/ 2481 w 2574"/>
                  <a:gd name="T57" fmla="*/ 3297 h 3310"/>
                  <a:gd name="T58" fmla="*/ 2453 w 2574"/>
                  <a:gd name="T59" fmla="*/ 3307 h 3310"/>
                  <a:gd name="T60" fmla="*/ 2423 w 2574"/>
                  <a:gd name="T61" fmla="*/ 3310 h 3310"/>
                  <a:gd name="T62" fmla="*/ 152 w 2574"/>
                  <a:gd name="T63" fmla="*/ 3310 h 3310"/>
                  <a:gd name="T64" fmla="*/ 121 w 2574"/>
                  <a:gd name="T65" fmla="*/ 3307 h 3310"/>
                  <a:gd name="T66" fmla="*/ 93 w 2574"/>
                  <a:gd name="T67" fmla="*/ 3297 h 3310"/>
                  <a:gd name="T68" fmla="*/ 67 w 2574"/>
                  <a:gd name="T69" fmla="*/ 3284 h 3310"/>
                  <a:gd name="T70" fmla="*/ 45 w 2574"/>
                  <a:gd name="T71" fmla="*/ 3265 h 3310"/>
                  <a:gd name="T72" fmla="*/ 26 w 2574"/>
                  <a:gd name="T73" fmla="*/ 3243 h 3310"/>
                  <a:gd name="T74" fmla="*/ 13 w 2574"/>
                  <a:gd name="T75" fmla="*/ 3217 h 3310"/>
                  <a:gd name="T76" fmla="*/ 3 w 2574"/>
                  <a:gd name="T77" fmla="*/ 3189 h 3310"/>
                  <a:gd name="T78" fmla="*/ 0 w 2574"/>
                  <a:gd name="T79" fmla="*/ 3159 h 3310"/>
                  <a:gd name="T80" fmla="*/ 0 w 2574"/>
                  <a:gd name="T81" fmla="*/ 150 h 3310"/>
                  <a:gd name="T82" fmla="*/ 3 w 2574"/>
                  <a:gd name="T83" fmla="*/ 120 h 3310"/>
                  <a:gd name="T84" fmla="*/ 13 w 2574"/>
                  <a:gd name="T85" fmla="*/ 92 h 3310"/>
                  <a:gd name="T86" fmla="*/ 26 w 2574"/>
                  <a:gd name="T87" fmla="*/ 67 h 3310"/>
                  <a:gd name="T88" fmla="*/ 45 w 2574"/>
                  <a:gd name="T89" fmla="*/ 44 h 3310"/>
                  <a:gd name="T90" fmla="*/ 67 w 2574"/>
                  <a:gd name="T91" fmla="*/ 26 h 3310"/>
                  <a:gd name="T92" fmla="*/ 93 w 2574"/>
                  <a:gd name="T93" fmla="*/ 12 h 3310"/>
                  <a:gd name="T94" fmla="*/ 121 w 2574"/>
                  <a:gd name="T95" fmla="*/ 3 h 3310"/>
                  <a:gd name="T96" fmla="*/ 152 w 2574"/>
                  <a:gd name="T97" fmla="*/ 0 h 3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74" h="3310">
                    <a:moveTo>
                      <a:pt x="152" y="0"/>
                    </a:moveTo>
                    <a:lnTo>
                      <a:pt x="2423" y="0"/>
                    </a:lnTo>
                    <a:lnTo>
                      <a:pt x="2453" y="3"/>
                    </a:lnTo>
                    <a:lnTo>
                      <a:pt x="2481" y="12"/>
                    </a:lnTo>
                    <a:lnTo>
                      <a:pt x="2507" y="26"/>
                    </a:lnTo>
                    <a:lnTo>
                      <a:pt x="2529" y="44"/>
                    </a:lnTo>
                    <a:lnTo>
                      <a:pt x="2548" y="67"/>
                    </a:lnTo>
                    <a:lnTo>
                      <a:pt x="2562" y="92"/>
                    </a:lnTo>
                    <a:lnTo>
                      <a:pt x="2571" y="120"/>
                    </a:lnTo>
                    <a:lnTo>
                      <a:pt x="2574" y="150"/>
                    </a:lnTo>
                    <a:lnTo>
                      <a:pt x="2574" y="374"/>
                    </a:lnTo>
                    <a:lnTo>
                      <a:pt x="2272" y="896"/>
                    </a:lnTo>
                    <a:lnTo>
                      <a:pt x="2272" y="301"/>
                    </a:lnTo>
                    <a:lnTo>
                      <a:pt x="304" y="301"/>
                    </a:lnTo>
                    <a:lnTo>
                      <a:pt x="304" y="3008"/>
                    </a:lnTo>
                    <a:lnTo>
                      <a:pt x="2272" y="3008"/>
                    </a:lnTo>
                    <a:lnTo>
                      <a:pt x="2272" y="2634"/>
                    </a:lnTo>
                    <a:lnTo>
                      <a:pt x="2430" y="2530"/>
                    </a:lnTo>
                    <a:lnTo>
                      <a:pt x="2458" y="2508"/>
                    </a:lnTo>
                    <a:lnTo>
                      <a:pt x="2482" y="2483"/>
                    </a:lnTo>
                    <a:lnTo>
                      <a:pt x="2502" y="2454"/>
                    </a:lnTo>
                    <a:lnTo>
                      <a:pt x="2574" y="2330"/>
                    </a:lnTo>
                    <a:lnTo>
                      <a:pt x="2574" y="3159"/>
                    </a:lnTo>
                    <a:lnTo>
                      <a:pt x="2571" y="3189"/>
                    </a:lnTo>
                    <a:lnTo>
                      <a:pt x="2562" y="3217"/>
                    </a:lnTo>
                    <a:lnTo>
                      <a:pt x="2548" y="3243"/>
                    </a:lnTo>
                    <a:lnTo>
                      <a:pt x="2529" y="3265"/>
                    </a:lnTo>
                    <a:lnTo>
                      <a:pt x="2507" y="3284"/>
                    </a:lnTo>
                    <a:lnTo>
                      <a:pt x="2481" y="3297"/>
                    </a:lnTo>
                    <a:lnTo>
                      <a:pt x="2453" y="3307"/>
                    </a:lnTo>
                    <a:lnTo>
                      <a:pt x="2423" y="3310"/>
                    </a:lnTo>
                    <a:lnTo>
                      <a:pt x="152" y="3310"/>
                    </a:lnTo>
                    <a:lnTo>
                      <a:pt x="121" y="3307"/>
                    </a:lnTo>
                    <a:lnTo>
                      <a:pt x="93" y="3297"/>
                    </a:lnTo>
                    <a:lnTo>
                      <a:pt x="67" y="3284"/>
                    </a:lnTo>
                    <a:lnTo>
                      <a:pt x="45" y="3265"/>
                    </a:lnTo>
                    <a:lnTo>
                      <a:pt x="26" y="3243"/>
                    </a:lnTo>
                    <a:lnTo>
                      <a:pt x="13" y="3217"/>
                    </a:lnTo>
                    <a:lnTo>
                      <a:pt x="3" y="3189"/>
                    </a:lnTo>
                    <a:lnTo>
                      <a:pt x="0" y="3159"/>
                    </a:lnTo>
                    <a:lnTo>
                      <a:pt x="0" y="150"/>
                    </a:lnTo>
                    <a:lnTo>
                      <a:pt x="3" y="120"/>
                    </a:lnTo>
                    <a:lnTo>
                      <a:pt x="13" y="92"/>
                    </a:lnTo>
                    <a:lnTo>
                      <a:pt x="26" y="67"/>
                    </a:lnTo>
                    <a:lnTo>
                      <a:pt x="45" y="44"/>
                    </a:lnTo>
                    <a:lnTo>
                      <a:pt x="67" y="26"/>
                    </a:lnTo>
                    <a:lnTo>
                      <a:pt x="93" y="12"/>
                    </a:lnTo>
                    <a:lnTo>
                      <a:pt x="121" y="3"/>
                    </a:lnTo>
                    <a:lnTo>
                      <a:pt x="152" y="0"/>
                    </a:lnTo>
                    <a:close/>
                  </a:path>
                </a:pathLst>
              </a:custGeom>
              <a:grpFill/>
              <a:ln w="0">
                <a:noFill/>
                <a:prstDash val="solid"/>
                <a:round/>
                <a:headEnd/>
                <a:tailEnd/>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endParaRPr>
              </a:p>
            </p:txBody>
          </p:sp>
          <p:sp>
            <p:nvSpPr>
              <p:cNvPr id="66" name="Freeform 58"/>
              <p:cNvSpPr>
                <a:spLocks noEditPoints="1"/>
              </p:cNvSpPr>
              <p:nvPr/>
            </p:nvSpPr>
            <p:spPr bwMode="auto">
              <a:xfrm>
                <a:off x="4826000" y="3575051"/>
                <a:ext cx="228600" cy="341313"/>
              </a:xfrm>
              <a:custGeom>
                <a:avLst/>
                <a:gdLst>
                  <a:gd name="T0" fmla="*/ 131 w 1591"/>
                  <a:gd name="T1" fmla="*/ 1996 h 2370"/>
                  <a:gd name="T2" fmla="*/ 223 w 1591"/>
                  <a:gd name="T3" fmla="*/ 2040 h 2370"/>
                  <a:gd name="T4" fmla="*/ 308 w 1591"/>
                  <a:gd name="T5" fmla="*/ 2097 h 2370"/>
                  <a:gd name="T6" fmla="*/ 439 w 1591"/>
                  <a:gd name="T7" fmla="*/ 1980 h 2370"/>
                  <a:gd name="T8" fmla="*/ 389 w 1591"/>
                  <a:gd name="T9" fmla="*/ 1934 h 2370"/>
                  <a:gd name="T10" fmla="*/ 314 w 1591"/>
                  <a:gd name="T11" fmla="*/ 1883 h 2370"/>
                  <a:gd name="T12" fmla="*/ 245 w 1591"/>
                  <a:gd name="T13" fmla="*/ 1849 h 2370"/>
                  <a:gd name="T14" fmla="*/ 187 w 1591"/>
                  <a:gd name="T15" fmla="*/ 1829 h 2370"/>
                  <a:gd name="T16" fmla="*/ 141 w 1591"/>
                  <a:gd name="T17" fmla="*/ 1820 h 2370"/>
                  <a:gd name="T18" fmla="*/ 1118 w 1591"/>
                  <a:gd name="T19" fmla="*/ 0 h 2370"/>
                  <a:gd name="T20" fmla="*/ 1173 w 1591"/>
                  <a:gd name="T21" fmla="*/ 7 h 2370"/>
                  <a:gd name="T22" fmla="*/ 1240 w 1591"/>
                  <a:gd name="T23" fmla="*/ 25 h 2370"/>
                  <a:gd name="T24" fmla="*/ 1319 w 1591"/>
                  <a:gd name="T25" fmla="*/ 57 h 2370"/>
                  <a:gd name="T26" fmla="*/ 1407 w 1591"/>
                  <a:gd name="T27" fmla="*/ 108 h 2370"/>
                  <a:gd name="T28" fmla="*/ 1478 w 1591"/>
                  <a:gd name="T29" fmla="*/ 163 h 2370"/>
                  <a:gd name="T30" fmla="*/ 1528 w 1591"/>
                  <a:gd name="T31" fmla="*/ 215 h 2370"/>
                  <a:gd name="T32" fmla="*/ 1561 w 1591"/>
                  <a:gd name="T33" fmla="*/ 261 h 2370"/>
                  <a:gd name="T34" fmla="*/ 1580 w 1591"/>
                  <a:gd name="T35" fmla="*/ 297 h 2370"/>
                  <a:gd name="T36" fmla="*/ 1588 w 1591"/>
                  <a:gd name="T37" fmla="*/ 320 h 2370"/>
                  <a:gd name="T38" fmla="*/ 1591 w 1591"/>
                  <a:gd name="T39" fmla="*/ 344 h 2370"/>
                  <a:gd name="T40" fmla="*/ 1581 w 1591"/>
                  <a:gd name="T41" fmla="*/ 379 h 2370"/>
                  <a:gd name="T42" fmla="*/ 625 w 1591"/>
                  <a:gd name="T43" fmla="*/ 2021 h 2370"/>
                  <a:gd name="T44" fmla="*/ 116 w 1591"/>
                  <a:gd name="T45" fmla="*/ 2357 h 2370"/>
                  <a:gd name="T46" fmla="*/ 77 w 1591"/>
                  <a:gd name="T47" fmla="*/ 2370 h 2370"/>
                  <a:gd name="T48" fmla="*/ 36 w 1591"/>
                  <a:gd name="T49" fmla="*/ 2359 h 2370"/>
                  <a:gd name="T50" fmla="*/ 12 w 1591"/>
                  <a:gd name="T51" fmla="*/ 2338 h 2370"/>
                  <a:gd name="T52" fmla="*/ 0 w 1591"/>
                  <a:gd name="T53" fmla="*/ 2306 h 2370"/>
                  <a:gd name="T54" fmla="*/ 34 w 1591"/>
                  <a:gd name="T55" fmla="*/ 1702 h 2370"/>
                  <a:gd name="T56" fmla="*/ 45 w 1591"/>
                  <a:gd name="T57" fmla="*/ 1670 h 2370"/>
                  <a:gd name="T58" fmla="*/ 1002 w 1591"/>
                  <a:gd name="T59" fmla="*/ 27 h 2370"/>
                  <a:gd name="T60" fmla="*/ 1034 w 1591"/>
                  <a:gd name="T61" fmla="*/ 7 h 2370"/>
                  <a:gd name="T62" fmla="*/ 1048 w 1591"/>
                  <a:gd name="T63" fmla="*/ 4 h 2370"/>
                  <a:gd name="T64" fmla="*/ 1076 w 1591"/>
                  <a:gd name="T65" fmla="*/ 0 h 2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91" h="2370">
                    <a:moveTo>
                      <a:pt x="141" y="1820"/>
                    </a:moveTo>
                    <a:lnTo>
                      <a:pt x="131" y="1996"/>
                    </a:lnTo>
                    <a:lnTo>
                      <a:pt x="177" y="2016"/>
                    </a:lnTo>
                    <a:lnTo>
                      <a:pt x="223" y="2040"/>
                    </a:lnTo>
                    <a:lnTo>
                      <a:pt x="267" y="2067"/>
                    </a:lnTo>
                    <a:lnTo>
                      <a:pt x="308" y="2097"/>
                    </a:lnTo>
                    <a:lnTo>
                      <a:pt x="455" y="2000"/>
                    </a:lnTo>
                    <a:lnTo>
                      <a:pt x="439" y="1980"/>
                    </a:lnTo>
                    <a:lnTo>
                      <a:pt x="417" y="1958"/>
                    </a:lnTo>
                    <a:lnTo>
                      <a:pt x="389" y="1934"/>
                    </a:lnTo>
                    <a:lnTo>
                      <a:pt x="355" y="1909"/>
                    </a:lnTo>
                    <a:lnTo>
                      <a:pt x="314" y="1883"/>
                    </a:lnTo>
                    <a:lnTo>
                      <a:pt x="278" y="1864"/>
                    </a:lnTo>
                    <a:lnTo>
                      <a:pt x="245" y="1849"/>
                    </a:lnTo>
                    <a:lnTo>
                      <a:pt x="214" y="1837"/>
                    </a:lnTo>
                    <a:lnTo>
                      <a:pt x="187" y="1829"/>
                    </a:lnTo>
                    <a:lnTo>
                      <a:pt x="163" y="1824"/>
                    </a:lnTo>
                    <a:lnTo>
                      <a:pt x="141" y="1820"/>
                    </a:lnTo>
                    <a:close/>
                    <a:moveTo>
                      <a:pt x="1095" y="0"/>
                    </a:moveTo>
                    <a:lnTo>
                      <a:pt x="1118" y="0"/>
                    </a:lnTo>
                    <a:lnTo>
                      <a:pt x="1144" y="2"/>
                    </a:lnTo>
                    <a:lnTo>
                      <a:pt x="1173" y="7"/>
                    </a:lnTo>
                    <a:lnTo>
                      <a:pt x="1205" y="14"/>
                    </a:lnTo>
                    <a:lnTo>
                      <a:pt x="1240" y="25"/>
                    </a:lnTo>
                    <a:lnTo>
                      <a:pt x="1278" y="39"/>
                    </a:lnTo>
                    <a:lnTo>
                      <a:pt x="1319" y="57"/>
                    </a:lnTo>
                    <a:lnTo>
                      <a:pt x="1362" y="81"/>
                    </a:lnTo>
                    <a:lnTo>
                      <a:pt x="1407" y="108"/>
                    </a:lnTo>
                    <a:lnTo>
                      <a:pt x="1446" y="136"/>
                    </a:lnTo>
                    <a:lnTo>
                      <a:pt x="1478" y="163"/>
                    </a:lnTo>
                    <a:lnTo>
                      <a:pt x="1505" y="190"/>
                    </a:lnTo>
                    <a:lnTo>
                      <a:pt x="1528" y="215"/>
                    </a:lnTo>
                    <a:lnTo>
                      <a:pt x="1546" y="239"/>
                    </a:lnTo>
                    <a:lnTo>
                      <a:pt x="1561" y="261"/>
                    </a:lnTo>
                    <a:lnTo>
                      <a:pt x="1571" y="280"/>
                    </a:lnTo>
                    <a:lnTo>
                      <a:pt x="1580" y="297"/>
                    </a:lnTo>
                    <a:lnTo>
                      <a:pt x="1585" y="311"/>
                    </a:lnTo>
                    <a:lnTo>
                      <a:pt x="1588" y="320"/>
                    </a:lnTo>
                    <a:lnTo>
                      <a:pt x="1589" y="325"/>
                    </a:lnTo>
                    <a:lnTo>
                      <a:pt x="1591" y="344"/>
                    </a:lnTo>
                    <a:lnTo>
                      <a:pt x="1588" y="363"/>
                    </a:lnTo>
                    <a:lnTo>
                      <a:pt x="1581" y="379"/>
                    </a:lnTo>
                    <a:lnTo>
                      <a:pt x="634" y="2008"/>
                    </a:lnTo>
                    <a:lnTo>
                      <a:pt x="625" y="2021"/>
                    </a:lnTo>
                    <a:lnTo>
                      <a:pt x="611" y="2033"/>
                    </a:lnTo>
                    <a:lnTo>
                      <a:pt x="116" y="2357"/>
                    </a:lnTo>
                    <a:lnTo>
                      <a:pt x="97" y="2367"/>
                    </a:lnTo>
                    <a:lnTo>
                      <a:pt x="77" y="2370"/>
                    </a:lnTo>
                    <a:lnTo>
                      <a:pt x="56" y="2368"/>
                    </a:lnTo>
                    <a:lnTo>
                      <a:pt x="36" y="2359"/>
                    </a:lnTo>
                    <a:lnTo>
                      <a:pt x="23" y="2350"/>
                    </a:lnTo>
                    <a:lnTo>
                      <a:pt x="12" y="2338"/>
                    </a:lnTo>
                    <a:lnTo>
                      <a:pt x="5" y="2323"/>
                    </a:lnTo>
                    <a:lnTo>
                      <a:pt x="0" y="2306"/>
                    </a:lnTo>
                    <a:lnTo>
                      <a:pt x="0" y="2290"/>
                    </a:lnTo>
                    <a:lnTo>
                      <a:pt x="34" y="1702"/>
                    </a:lnTo>
                    <a:lnTo>
                      <a:pt x="38" y="1685"/>
                    </a:lnTo>
                    <a:lnTo>
                      <a:pt x="45" y="1670"/>
                    </a:lnTo>
                    <a:lnTo>
                      <a:pt x="991" y="41"/>
                    </a:lnTo>
                    <a:lnTo>
                      <a:pt x="1002" y="27"/>
                    </a:lnTo>
                    <a:lnTo>
                      <a:pt x="1016" y="15"/>
                    </a:lnTo>
                    <a:lnTo>
                      <a:pt x="1034" y="7"/>
                    </a:lnTo>
                    <a:lnTo>
                      <a:pt x="1038" y="6"/>
                    </a:lnTo>
                    <a:lnTo>
                      <a:pt x="1048" y="4"/>
                    </a:lnTo>
                    <a:lnTo>
                      <a:pt x="1060" y="2"/>
                    </a:lnTo>
                    <a:lnTo>
                      <a:pt x="1076" y="0"/>
                    </a:lnTo>
                    <a:lnTo>
                      <a:pt x="1095" y="0"/>
                    </a:lnTo>
                    <a:close/>
                  </a:path>
                </a:pathLst>
              </a:custGeom>
              <a:grpFill/>
              <a:ln w="0">
                <a:noFill/>
                <a:prstDash val="solid"/>
                <a:round/>
                <a:headEnd/>
                <a:tailEnd/>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endParaRPr>
              </a:p>
            </p:txBody>
          </p:sp>
          <p:sp>
            <p:nvSpPr>
              <p:cNvPr id="67" name="Freeform 59"/>
              <p:cNvSpPr>
                <a:spLocks/>
              </p:cNvSpPr>
              <p:nvPr/>
            </p:nvSpPr>
            <p:spPr bwMode="auto">
              <a:xfrm>
                <a:off x="4645025" y="3849688"/>
                <a:ext cx="166688" cy="84138"/>
              </a:xfrm>
              <a:custGeom>
                <a:avLst/>
                <a:gdLst>
                  <a:gd name="T0" fmla="*/ 557 w 1155"/>
                  <a:gd name="T1" fmla="*/ 5 h 591"/>
                  <a:gd name="T2" fmla="*/ 583 w 1155"/>
                  <a:gd name="T3" fmla="*/ 28 h 591"/>
                  <a:gd name="T4" fmla="*/ 591 w 1155"/>
                  <a:gd name="T5" fmla="*/ 111 h 591"/>
                  <a:gd name="T6" fmla="*/ 560 w 1155"/>
                  <a:gd name="T7" fmla="*/ 199 h 591"/>
                  <a:gd name="T8" fmla="*/ 569 w 1155"/>
                  <a:gd name="T9" fmla="*/ 242 h 591"/>
                  <a:gd name="T10" fmla="*/ 587 w 1155"/>
                  <a:gd name="T11" fmla="*/ 270 h 591"/>
                  <a:gd name="T12" fmla="*/ 637 w 1155"/>
                  <a:gd name="T13" fmla="*/ 278 h 591"/>
                  <a:gd name="T14" fmla="*/ 681 w 1155"/>
                  <a:gd name="T15" fmla="*/ 323 h 591"/>
                  <a:gd name="T16" fmla="*/ 693 w 1155"/>
                  <a:gd name="T17" fmla="*/ 357 h 591"/>
                  <a:gd name="T18" fmla="*/ 847 w 1155"/>
                  <a:gd name="T19" fmla="*/ 351 h 591"/>
                  <a:gd name="T20" fmla="*/ 996 w 1155"/>
                  <a:gd name="T21" fmla="*/ 366 h 591"/>
                  <a:gd name="T22" fmla="*/ 1118 w 1155"/>
                  <a:gd name="T23" fmla="*/ 373 h 591"/>
                  <a:gd name="T24" fmla="*/ 1149 w 1155"/>
                  <a:gd name="T25" fmla="*/ 400 h 591"/>
                  <a:gd name="T26" fmla="*/ 1154 w 1155"/>
                  <a:gd name="T27" fmla="*/ 441 h 591"/>
                  <a:gd name="T28" fmla="*/ 1131 w 1155"/>
                  <a:gd name="T29" fmla="*/ 475 h 591"/>
                  <a:gd name="T30" fmla="*/ 1066 w 1155"/>
                  <a:gd name="T31" fmla="*/ 482 h 591"/>
                  <a:gd name="T32" fmla="*/ 957 w 1155"/>
                  <a:gd name="T33" fmla="*/ 467 h 591"/>
                  <a:gd name="T34" fmla="*/ 843 w 1155"/>
                  <a:gd name="T35" fmla="*/ 452 h 591"/>
                  <a:gd name="T36" fmla="*/ 738 w 1155"/>
                  <a:gd name="T37" fmla="*/ 461 h 591"/>
                  <a:gd name="T38" fmla="*/ 679 w 1155"/>
                  <a:gd name="T39" fmla="*/ 486 h 591"/>
                  <a:gd name="T40" fmla="*/ 636 w 1155"/>
                  <a:gd name="T41" fmla="*/ 492 h 591"/>
                  <a:gd name="T42" fmla="*/ 603 w 1155"/>
                  <a:gd name="T43" fmla="*/ 477 h 591"/>
                  <a:gd name="T44" fmla="*/ 576 w 1155"/>
                  <a:gd name="T45" fmla="*/ 454 h 591"/>
                  <a:gd name="T46" fmla="*/ 571 w 1155"/>
                  <a:gd name="T47" fmla="*/ 407 h 591"/>
                  <a:gd name="T48" fmla="*/ 537 w 1155"/>
                  <a:gd name="T49" fmla="*/ 457 h 591"/>
                  <a:gd name="T50" fmla="*/ 495 w 1155"/>
                  <a:gd name="T51" fmla="*/ 471 h 591"/>
                  <a:gd name="T52" fmla="*/ 455 w 1155"/>
                  <a:gd name="T53" fmla="*/ 456 h 591"/>
                  <a:gd name="T54" fmla="*/ 439 w 1155"/>
                  <a:gd name="T55" fmla="*/ 419 h 591"/>
                  <a:gd name="T56" fmla="*/ 450 w 1155"/>
                  <a:gd name="T57" fmla="*/ 390 h 591"/>
                  <a:gd name="T58" fmla="*/ 458 w 1155"/>
                  <a:gd name="T59" fmla="*/ 369 h 591"/>
                  <a:gd name="T60" fmla="*/ 422 w 1155"/>
                  <a:gd name="T61" fmla="*/ 404 h 591"/>
                  <a:gd name="T62" fmla="*/ 379 w 1155"/>
                  <a:gd name="T63" fmla="*/ 428 h 591"/>
                  <a:gd name="T64" fmla="*/ 335 w 1155"/>
                  <a:gd name="T65" fmla="*/ 417 h 591"/>
                  <a:gd name="T66" fmla="*/ 314 w 1155"/>
                  <a:gd name="T67" fmla="*/ 379 h 591"/>
                  <a:gd name="T68" fmla="*/ 364 w 1155"/>
                  <a:gd name="T69" fmla="*/ 288 h 591"/>
                  <a:gd name="T70" fmla="*/ 252 w 1155"/>
                  <a:gd name="T71" fmla="*/ 393 h 591"/>
                  <a:gd name="T72" fmla="*/ 96 w 1155"/>
                  <a:gd name="T73" fmla="*/ 581 h 591"/>
                  <a:gd name="T74" fmla="*/ 49 w 1155"/>
                  <a:gd name="T75" fmla="*/ 590 h 591"/>
                  <a:gd name="T76" fmla="*/ 9 w 1155"/>
                  <a:gd name="T77" fmla="*/ 569 h 591"/>
                  <a:gd name="T78" fmla="*/ 2 w 1155"/>
                  <a:gd name="T79" fmla="*/ 527 h 591"/>
                  <a:gd name="T80" fmla="*/ 138 w 1155"/>
                  <a:gd name="T81" fmla="*/ 351 h 591"/>
                  <a:gd name="T82" fmla="*/ 344 w 1155"/>
                  <a:gd name="T83" fmla="*/ 123 h 591"/>
                  <a:gd name="T84" fmla="*/ 398 w 1155"/>
                  <a:gd name="T85" fmla="*/ 70 h 591"/>
                  <a:gd name="T86" fmla="*/ 462 w 1155"/>
                  <a:gd name="T87" fmla="*/ 20 h 591"/>
                  <a:gd name="T88" fmla="*/ 534 w 1155"/>
                  <a:gd name="T89" fmla="*/ 0 h 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55" h="591">
                    <a:moveTo>
                      <a:pt x="534" y="0"/>
                    </a:moveTo>
                    <a:lnTo>
                      <a:pt x="545" y="2"/>
                    </a:lnTo>
                    <a:lnTo>
                      <a:pt x="557" y="5"/>
                    </a:lnTo>
                    <a:lnTo>
                      <a:pt x="567" y="10"/>
                    </a:lnTo>
                    <a:lnTo>
                      <a:pt x="576" y="18"/>
                    </a:lnTo>
                    <a:lnTo>
                      <a:pt x="583" y="28"/>
                    </a:lnTo>
                    <a:lnTo>
                      <a:pt x="591" y="54"/>
                    </a:lnTo>
                    <a:lnTo>
                      <a:pt x="593" y="82"/>
                    </a:lnTo>
                    <a:lnTo>
                      <a:pt x="591" y="111"/>
                    </a:lnTo>
                    <a:lnTo>
                      <a:pt x="584" y="140"/>
                    </a:lnTo>
                    <a:lnTo>
                      <a:pt x="573" y="170"/>
                    </a:lnTo>
                    <a:lnTo>
                      <a:pt x="560" y="199"/>
                    </a:lnTo>
                    <a:lnTo>
                      <a:pt x="543" y="230"/>
                    </a:lnTo>
                    <a:lnTo>
                      <a:pt x="557" y="235"/>
                    </a:lnTo>
                    <a:lnTo>
                      <a:pt x="569" y="242"/>
                    </a:lnTo>
                    <a:lnTo>
                      <a:pt x="579" y="254"/>
                    </a:lnTo>
                    <a:lnTo>
                      <a:pt x="583" y="263"/>
                    </a:lnTo>
                    <a:lnTo>
                      <a:pt x="587" y="270"/>
                    </a:lnTo>
                    <a:lnTo>
                      <a:pt x="604" y="269"/>
                    </a:lnTo>
                    <a:lnTo>
                      <a:pt x="620" y="272"/>
                    </a:lnTo>
                    <a:lnTo>
                      <a:pt x="637" y="278"/>
                    </a:lnTo>
                    <a:lnTo>
                      <a:pt x="653" y="289"/>
                    </a:lnTo>
                    <a:lnTo>
                      <a:pt x="668" y="303"/>
                    </a:lnTo>
                    <a:lnTo>
                      <a:pt x="681" y="323"/>
                    </a:lnTo>
                    <a:lnTo>
                      <a:pt x="689" y="338"/>
                    </a:lnTo>
                    <a:lnTo>
                      <a:pt x="692" y="349"/>
                    </a:lnTo>
                    <a:lnTo>
                      <a:pt x="693" y="357"/>
                    </a:lnTo>
                    <a:lnTo>
                      <a:pt x="746" y="351"/>
                    </a:lnTo>
                    <a:lnTo>
                      <a:pt x="797" y="350"/>
                    </a:lnTo>
                    <a:lnTo>
                      <a:pt x="847" y="351"/>
                    </a:lnTo>
                    <a:lnTo>
                      <a:pt x="897" y="355"/>
                    </a:lnTo>
                    <a:lnTo>
                      <a:pt x="946" y="361"/>
                    </a:lnTo>
                    <a:lnTo>
                      <a:pt x="996" y="366"/>
                    </a:lnTo>
                    <a:lnTo>
                      <a:pt x="1048" y="369"/>
                    </a:lnTo>
                    <a:lnTo>
                      <a:pt x="1101" y="371"/>
                    </a:lnTo>
                    <a:lnTo>
                      <a:pt x="1118" y="373"/>
                    </a:lnTo>
                    <a:lnTo>
                      <a:pt x="1131" y="379"/>
                    </a:lnTo>
                    <a:lnTo>
                      <a:pt x="1142" y="389"/>
                    </a:lnTo>
                    <a:lnTo>
                      <a:pt x="1149" y="400"/>
                    </a:lnTo>
                    <a:lnTo>
                      <a:pt x="1154" y="413"/>
                    </a:lnTo>
                    <a:lnTo>
                      <a:pt x="1155" y="427"/>
                    </a:lnTo>
                    <a:lnTo>
                      <a:pt x="1154" y="441"/>
                    </a:lnTo>
                    <a:lnTo>
                      <a:pt x="1149" y="454"/>
                    </a:lnTo>
                    <a:lnTo>
                      <a:pt x="1142" y="466"/>
                    </a:lnTo>
                    <a:lnTo>
                      <a:pt x="1131" y="475"/>
                    </a:lnTo>
                    <a:lnTo>
                      <a:pt x="1118" y="481"/>
                    </a:lnTo>
                    <a:lnTo>
                      <a:pt x="1101" y="483"/>
                    </a:lnTo>
                    <a:lnTo>
                      <a:pt x="1066" y="482"/>
                    </a:lnTo>
                    <a:lnTo>
                      <a:pt x="1031" y="478"/>
                    </a:lnTo>
                    <a:lnTo>
                      <a:pt x="993" y="473"/>
                    </a:lnTo>
                    <a:lnTo>
                      <a:pt x="957" y="467"/>
                    </a:lnTo>
                    <a:lnTo>
                      <a:pt x="919" y="460"/>
                    </a:lnTo>
                    <a:lnTo>
                      <a:pt x="881" y="455"/>
                    </a:lnTo>
                    <a:lnTo>
                      <a:pt x="843" y="452"/>
                    </a:lnTo>
                    <a:lnTo>
                      <a:pt x="807" y="451"/>
                    </a:lnTo>
                    <a:lnTo>
                      <a:pt x="771" y="454"/>
                    </a:lnTo>
                    <a:lnTo>
                      <a:pt x="738" y="461"/>
                    </a:lnTo>
                    <a:lnTo>
                      <a:pt x="705" y="474"/>
                    </a:lnTo>
                    <a:lnTo>
                      <a:pt x="693" y="480"/>
                    </a:lnTo>
                    <a:lnTo>
                      <a:pt x="679" y="486"/>
                    </a:lnTo>
                    <a:lnTo>
                      <a:pt x="664" y="492"/>
                    </a:lnTo>
                    <a:lnTo>
                      <a:pt x="651" y="494"/>
                    </a:lnTo>
                    <a:lnTo>
                      <a:pt x="636" y="492"/>
                    </a:lnTo>
                    <a:lnTo>
                      <a:pt x="626" y="487"/>
                    </a:lnTo>
                    <a:lnTo>
                      <a:pt x="614" y="482"/>
                    </a:lnTo>
                    <a:lnTo>
                      <a:pt x="603" y="477"/>
                    </a:lnTo>
                    <a:lnTo>
                      <a:pt x="592" y="471"/>
                    </a:lnTo>
                    <a:lnTo>
                      <a:pt x="584" y="464"/>
                    </a:lnTo>
                    <a:lnTo>
                      <a:pt x="576" y="454"/>
                    </a:lnTo>
                    <a:lnTo>
                      <a:pt x="572" y="442"/>
                    </a:lnTo>
                    <a:lnTo>
                      <a:pt x="571" y="423"/>
                    </a:lnTo>
                    <a:lnTo>
                      <a:pt x="571" y="407"/>
                    </a:lnTo>
                    <a:lnTo>
                      <a:pt x="560" y="427"/>
                    </a:lnTo>
                    <a:lnTo>
                      <a:pt x="547" y="446"/>
                    </a:lnTo>
                    <a:lnTo>
                      <a:pt x="537" y="457"/>
                    </a:lnTo>
                    <a:lnTo>
                      <a:pt x="524" y="466"/>
                    </a:lnTo>
                    <a:lnTo>
                      <a:pt x="509" y="470"/>
                    </a:lnTo>
                    <a:lnTo>
                      <a:pt x="495" y="471"/>
                    </a:lnTo>
                    <a:lnTo>
                      <a:pt x="480" y="469"/>
                    </a:lnTo>
                    <a:lnTo>
                      <a:pt x="467" y="464"/>
                    </a:lnTo>
                    <a:lnTo>
                      <a:pt x="455" y="456"/>
                    </a:lnTo>
                    <a:lnTo>
                      <a:pt x="446" y="446"/>
                    </a:lnTo>
                    <a:lnTo>
                      <a:pt x="440" y="433"/>
                    </a:lnTo>
                    <a:lnTo>
                      <a:pt x="439" y="419"/>
                    </a:lnTo>
                    <a:lnTo>
                      <a:pt x="444" y="402"/>
                    </a:lnTo>
                    <a:lnTo>
                      <a:pt x="447" y="396"/>
                    </a:lnTo>
                    <a:lnTo>
                      <a:pt x="450" y="390"/>
                    </a:lnTo>
                    <a:lnTo>
                      <a:pt x="450" y="390"/>
                    </a:lnTo>
                    <a:lnTo>
                      <a:pt x="449" y="390"/>
                    </a:lnTo>
                    <a:lnTo>
                      <a:pt x="458" y="369"/>
                    </a:lnTo>
                    <a:lnTo>
                      <a:pt x="445" y="378"/>
                    </a:lnTo>
                    <a:lnTo>
                      <a:pt x="432" y="390"/>
                    </a:lnTo>
                    <a:lnTo>
                      <a:pt x="422" y="404"/>
                    </a:lnTo>
                    <a:lnTo>
                      <a:pt x="409" y="417"/>
                    </a:lnTo>
                    <a:lnTo>
                      <a:pt x="394" y="425"/>
                    </a:lnTo>
                    <a:lnTo>
                      <a:pt x="379" y="428"/>
                    </a:lnTo>
                    <a:lnTo>
                      <a:pt x="363" y="428"/>
                    </a:lnTo>
                    <a:lnTo>
                      <a:pt x="348" y="424"/>
                    </a:lnTo>
                    <a:lnTo>
                      <a:pt x="335" y="417"/>
                    </a:lnTo>
                    <a:lnTo>
                      <a:pt x="324" y="406"/>
                    </a:lnTo>
                    <a:lnTo>
                      <a:pt x="317" y="394"/>
                    </a:lnTo>
                    <a:lnTo>
                      <a:pt x="314" y="379"/>
                    </a:lnTo>
                    <a:lnTo>
                      <a:pt x="316" y="364"/>
                    </a:lnTo>
                    <a:lnTo>
                      <a:pt x="323" y="347"/>
                    </a:lnTo>
                    <a:lnTo>
                      <a:pt x="364" y="288"/>
                    </a:lnTo>
                    <a:lnTo>
                      <a:pt x="404" y="226"/>
                    </a:lnTo>
                    <a:lnTo>
                      <a:pt x="326" y="309"/>
                    </a:lnTo>
                    <a:lnTo>
                      <a:pt x="252" y="393"/>
                    </a:lnTo>
                    <a:lnTo>
                      <a:pt x="179" y="480"/>
                    </a:lnTo>
                    <a:lnTo>
                      <a:pt x="108" y="569"/>
                    </a:lnTo>
                    <a:lnTo>
                      <a:pt x="96" y="581"/>
                    </a:lnTo>
                    <a:lnTo>
                      <a:pt x="80" y="588"/>
                    </a:lnTo>
                    <a:lnTo>
                      <a:pt x="65" y="591"/>
                    </a:lnTo>
                    <a:lnTo>
                      <a:pt x="49" y="590"/>
                    </a:lnTo>
                    <a:lnTo>
                      <a:pt x="33" y="586"/>
                    </a:lnTo>
                    <a:lnTo>
                      <a:pt x="21" y="579"/>
                    </a:lnTo>
                    <a:lnTo>
                      <a:pt x="9" y="569"/>
                    </a:lnTo>
                    <a:lnTo>
                      <a:pt x="2" y="556"/>
                    </a:lnTo>
                    <a:lnTo>
                      <a:pt x="0" y="542"/>
                    </a:lnTo>
                    <a:lnTo>
                      <a:pt x="2" y="527"/>
                    </a:lnTo>
                    <a:lnTo>
                      <a:pt x="11" y="511"/>
                    </a:lnTo>
                    <a:lnTo>
                      <a:pt x="74" y="431"/>
                    </a:lnTo>
                    <a:lnTo>
                      <a:pt x="138" y="351"/>
                    </a:lnTo>
                    <a:lnTo>
                      <a:pt x="204" y="273"/>
                    </a:lnTo>
                    <a:lnTo>
                      <a:pt x="273" y="196"/>
                    </a:lnTo>
                    <a:lnTo>
                      <a:pt x="344" y="123"/>
                    </a:lnTo>
                    <a:lnTo>
                      <a:pt x="361" y="107"/>
                    </a:lnTo>
                    <a:lnTo>
                      <a:pt x="380" y="89"/>
                    </a:lnTo>
                    <a:lnTo>
                      <a:pt x="398" y="70"/>
                    </a:lnTo>
                    <a:lnTo>
                      <a:pt x="418" y="52"/>
                    </a:lnTo>
                    <a:lnTo>
                      <a:pt x="439" y="35"/>
                    </a:lnTo>
                    <a:lnTo>
                      <a:pt x="462" y="20"/>
                    </a:lnTo>
                    <a:lnTo>
                      <a:pt x="485" y="9"/>
                    </a:lnTo>
                    <a:lnTo>
                      <a:pt x="509" y="2"/>
                    </a:lnTo>
                    <a:lnTo>
                      <a:pt x="534" y="0"/>
                    </a:lnTo>
                    <a:close/>
                  </a:path>
                </a:pathLst>
              </a:custGeom>
              <a:grpFill/>
              <a:ln w="0">
                <a:noFill/>
                <a:prstDash val="solid"/>
                <a:round/>
                <a:headEnd/>
                <a:tailEnd/>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endParaRPr>
              </a:p>
            </p:txBody>
          </p:sp>
        </p:grpSp>
        <p:grpSp>
          <p:nvGrpSpPr>
            <p:cNvPr id="68" name="Group 67"/>
            <p:cNvGrpSpPr/>
            <p:nvPr/>
          </p:nvGrpSpPr>
          <p:grpSpPr>
            <a:xfrm>
              <a:off x="4663797" y="4514929"/>
              <a:ext cx="792493" cy="761843"/>
              <a:chOff x="4967288" y="5026025"/>
              <a:chExt cx="574676" cy="552451"/>
            </a:xfrm>
            <a:solidFill>
              <a:schemeClr val="bg1"/>
            </a:solidFill>
          </p:grpSpPr>
          <p:sp>
            <p:nvSpPr>
              <p:cNvPr id="69" name="Freeform 64"/>
              <p:cNvSpPr>
                <a:spLocks/>
              </p:cNvSpPr>
              <p:nvPr/>
            </p:nvSpPr>
            <p:spPr bwMode="auto">
              <a:xfrm>
                <a:off x="5049838" y="5100638"/>
                <a:ext cx="131763" cy="128588"/>
              </a:xfrm>
              <a:custGeom>
                <a:avLst/>
                <a:gdLst>
                  <a:gd name="T0" fmla="*/ 327 w 833"/>
                  <a:gd name="T1" fmla="*/ 0 h 811"/>
                  <a:gd name="T2" fmla="*/ 372 w 833"/>
                  <a:gd name="T3" fmla="*/ 3 h 811"/>
                  <a:gd name="T4" fmla="*/ 414 w 833"/>
                  <a:gd name="T5" fmla="*/ 12 h 811"/>
                  <a:gd name="T6" fmla="*/ 454 w 833"/>
                  <a:gd name="T7" fmla="*/ 25 h 811"/>
                  <a:gd name="T8" fmla="*/ 492 w 833"/>
                  <a:gd name="T9" fmla="*/ 44 h 811"/>
                  <a:gd name="T10" fmla="*/ 527 w 833"/>
                  <a:gd name="T11" fmla="*/ 68 h 811"/>
                  <a:gd name="T12" fmla="*/ 558 w 833"/>
                  <a:gd name="T13" fmla="*/ 95 h 811"/>
                  <a:gd name="T14" fmla="*/ 586 w 833"/>
                  <a:gd name="T15" fmla="*/ 127 h 811"/>
                  <a:gd name="T16" fmla="*/ 609 w 833"/>
                  <a:gd name="T17" fmla="*/ 162 h 811"/>
                  <a:gd name="T18" fmla="*/ 628 w 833"/>
                  <a:gd name="T19" fmla="*/ 200 h 811"/>
                  <a:gd name="T20" fmla="*/ 642 w 833"/>
                  <a:gd name="T21" fmla="*/ 239 h 811"/>
                  <a:gd name="T22" fmla="*/ 651 w 833"/>
                  <a:gd name="T23" fmla="*/ 283 h 811"/>
                  <a:gd name="T24" fmla="*/ 654 w 833"/>
                  <a:gd name="T25" fmla="*/ 327 h 811"/>
                  <a:gd name="T26" fmla="*/ 651 w 833"/>
                  <a:gd name="T27" fmla="*/ 369 h 811"/>
                  <a:gd name="T28" fmla="*/ 642 w 833"/>
                  <a:gd name="T29" fmla="*/ 409 h 811"/>
                  <a:gd name="T30" fmla="*/ 629 w 833"/>
                  <a:gd name="T31" fmla="*/ 447 h 811"/>
                  <a:gd name="T32" fmla="*/ 612 w 833"/>
                  <a:gd name="T33" fmla="*/ 483 h 811"/>
                  <a:gd name="T34" fmla="*/ 833 w 833"/>
                  <a:gd name="T35" fmla="*/ 692 h 811"/>
                  <a:gd name="T36" fmla="*/ 792 w 833"/>
                  <a:gd name="T37" fmla="*/ 729 h 811"/>
                  <a:gd name="T38" fmla="*/ 754 w 833"/>
                  <a:gd name="T39" fmla="*/ 768 h 811"/>
                  <a:gd name="T40" fmla="*/ 720 w 833"/>
                  <a:gd name="T41" fmla="*/ 811 h 811"/>
                  <a:gd name="T42" fmla="*/ 499 w 833"/>
                  <a:gd name="T43" fmla="*/ 603 h 811"/>
                  <a:gd name="T44" fmla="*/ 461 w 833"/>
                  <a:gd name="T45" fmla="*/ 624 h 811"/>
                  <a:gd name="T46" fmla="*/ 418 w 833"/>
                  <a:gd name="T47" fmla="*/ 640 h 811"/>
                  <a:gd name="T48" fmla="*/ 374 w 833"/>
                  <a:gd name="T49" fmla="*/ 650 h 811"/>
                  <a:gd name="T50" fmla="*/ 327 w 833"/>
                  <a:gd name="T51" fmla="*/ 653 h 811"/>
                  <a:gd name="T52" fmla="*/ 283 w 833"/>
                  <a:gd name="T53" fmla="*/ 651 h 811"/>
                  <a:gd name="T54" fmla="*/ 240 w 833"/>
                  <a:gd name="T55" fmla="*/ 642 h 811"/>
                  <a:gd name="T56" fmla="*/ 200 w 833"/>
                  <a:gd name="T57" fmla="*/ 628 h 811"/>
                  <a:gd name="T58" fmla="*/ 162 w 833"/>
                  <a:gd name="T59" fmla="*/ 609 h 811"/>
                  <a:gd name="T60" fmla="*/ 127 w 833"/>
                  <a:gd name="T61" fmla="*/ 585 h 811"/>
                  <a:gd name="T62" fmla="*/ 96 w 833"/>
                  <a:gd name="T63" fmla="*/ 558 h 811"/>
                  <a:gd name="T64" fmla="*/ 68 w 833"/>
                  <a:gd name="T65" fmla="*/ 527 h 811"/>
                  <a:gd name="T66" fmla="*/ 45 w 833"/>
                  <a:gd name="T67" fmla="*/ 491 h 811"/>
                  <a:gd name="T68" fmla="*/ 26 w 833"/>
                  <a:gd name="T69" fmla="*/ 454 h 811"/>
                  <a:gd name="T70" fmla="*/ 11 w 833"/>
                  <a:gd name="T71" fmla="*/ 414 h 811"/>
                  <a:gd name="T72" fmla="*/ 4 w 833"/>
                  <a:gd name="T73" fmla="*/ 371 h 811"/>
                  <a:gd name="T74" fmla="*/ 0 w 833"/>
                  <a:gd name="T75" fmla="*/ 327 h 811"/>
                  <a:gd name="T76" fmla="*/ 4 w 833"/>
                  <a:gd name="T77" fmla="*/ 283 h 811"/>
                  <a:gd name="T78" fmla="*/ 11 w 833"/>
                  <a:gd name="T79" fmla="*/ 239 h 811"/>
                  <a:gd name="T80" fmla="*/ 26 w 833"/>
                  <a:gd name="T81" fmla="*/ 200 h 811"/>
                  <a:gd name="T82" fmla="*/ 45 w 833"/>
                  <a:gd name="T83" fmla="*/ 162 h 811"/>
                  <a:gd name="T84" fmla="*/ 68 w 833"/>
                  <a:gd name="T85" fmla="*/ 127 h 811"/>
                  <a:gd name="T86" fmla="*/ 96 w 833"/>
                  <a:gd name="T87" fmla="*/ 95 h 811"/>
                  <a:gd name="T88" fmla="*/ 127 w 833"/>
                  <a:gd name="T89" fmla="*/ 68 h 811"/>
                  <a:gd name="T90" fmla="*/ 162 w 833"/>
                  <a:gd name="T91" fmla="*/ 44 h 811"/>
                  <a:gd name="T92" fmla="*/ 200 w 833"/>
                  <a:gd name="T93" fmla="*/ 25 h 811"/>
                  <a:gd name="T94" fmla="*/ 240 w 833"/>
                  <a:gd name="T95" fmla="*/ 12 h 811"/>
                  <a:gd name="T96" fmla="*/ 283 w 833"/>
                  <a:gd name="T97" fmla="*/ 3 h 811"/>
                  <a:gd name="T98" fmla="*/ 327 w 833"/>
                  <a:gd name="T99"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33" h="811">
                    <a:moveTo>
                      <a:pt x="327" y="0"/>
                    </a:moveTo>
                    <a:lnTo>
                      <a:pt x="372" y="3"/>
                    </a:lnTo>
                    <a:lnTo>
                      <a:pt x="414" y="12"/>
                    </a:lnTo>
                    <a:lnTo>
                      <a:pt x="454" y="25"/>
                    </a:lnTo>
                    <a:lnTo>
                      <a:pt x="492" y="44"/>
                    </a:lnTo>
                    <a:lnTo>
                      <a:pt x="527" y="68"/>
                    </a:lnTo>
                    <a:lnTo>
                      <a:pt x="558" y="95"/>
                    </a:lnTo>
                    <a:lnTo>
                      <a:pt x="586" y="127"/>
                    </a:lnTo>
                    <a:lnTo>
                      <a:pt x="609" y="162"/>
                    </a:lnTo>
                    <a:lnTo>
                      <a:pt x="628" y="200"/>
                    </a:lnTo>
                    <a:lnTo>
                      <a:pt x="642" y="239"/>
                    </a:lnTo>
                    <a:lnTo>
                      <a:pt x="651" y="283"/>
                    </a:lnTo>
                    <a:lnTo>
                      <a:pt x="654" y="327"/>
                    </a:lnTo>
                    <a:lnTo>
                      <a:pt x="651" y="369"/>
                    </a:lnTo>
                    <a:lnTo>
                      <a:pt x="642" y="409"/>
                    </a:lnTo>
                    <a:lnTo>
                      <a:pt x="629" y="447"/>
                    </a:lnTo>
                    <a:lnTo>
                      <a:pt x="612" y="483"/>
                    </a:lnTo>
                    <a:lnTo>
                      <a:pt x="833" y="692"/>
                    </a:lnTo>
                    <a:lnTo>
                      <a:pt x="792" y="729"/>
                    </a:lnTo>
                    <a:lnTo>
                      <a:pt x="754" y="768"/>
                    </a:lnTo>
                    <a:lnTo>
                      <a:pt x="720" y="811"/>
                    </a:lnTo>
                    <a:lnTo>
                      <a:pt x="499" y="603"/>
                    </a:lnTo>
                    <a:lnTo>
                      <a:pt x="461" y="624"/>
                    </a:lnTo>
                    <a:lnTo>
                      <a:pt x="418" y="640"/>
                    </a:lnTo>
                    <a:lnTo>
                      <a:pt x="374" y="650"/>
                    </a:lnTo>
                    <a:lnTo>
                      <a:pt x="327" y="653"/>
                    </a:lnTo>
                    <a:lnTo>
                      <a:pt x="283" y="651"/>
                    </a:lnTo>
                    <a:lnTo>
                      <a:pt x="240" y="642"/>
                    </a:lnTo>
                    <a:lnTo>
                      <a:pt x="200" y="628"/>
                    </a:lnTo>
                    <a:lnTo>
                      <a:pt x="162" y="609"/>
                    </a:lnTo>
                    <a:lnTo>
                      <a:pt x="127" y="585"/>
                    </a:lnTo>
                    <a:lnTo>
                      <a:pt x="96" y="558"/>
                    </a:lnTo>
                    <a:lnTo>
                      <a:pt x="68" y="527"/>
                    </a:lnTo>
                    <a:lnTo>
                      <a:pt x="45" y="491"/>
                    </a:lnTo>
                    <a:lnTo>
                      <a:pt x="26" y="454"/>
                    </a:lnTo>
                    <a:lnTo>
                      <a:pt x="11" y="414"/>
                    </a:lnTo>
                    <a:lnTo>
                      <a:pt x="4" y="371"/>
                    </a:lnTo>
                    <a:lnTo>
                      <a:pt x="0" y="327"/>
                    </a:lnTo>
                    <a:lnTo>
                      <a:pt x="4" y="283"/>
                    </a:lnTo>
                    <a:lnTo>
                      <a:pt x="11" y="239"/>
                    </a:lnTo>
                    <a:lnTo>
                      <a:pt x="26" y="200"/>
                    </a:lnTo>
                    <a:lnTo>
                      <a:pt x="45" y="162"/>
                    </a:lnTo>
                    <a:lnTo>
                      <a:pt x="68" y="127"/>
                    </a:lnTo>
                    <a:lnTo>
                      <a:pt x="96" y="95"/>
                    </a:lnTo>
                    <a:lnTo>
                      <a:pt x="127" y="68"/>
                    </a:lnTo>
                    <a:lnTo>
                      <a:pt x="162" y="44"/>
                    </a:lnTo>
                    <a:lnTo>
                      <a:pt x="200" y="25"/>
                    </a:lnTo>
                    <a:lnTo>
                      <a:pt x="240" y="12"/>
                    </a:lnTo>
                    <a:lnTo>
                      <a:pt x="283" y="3"/>
                    </a:lnTo>
                    <a:lnTo>
                      <a:pt x="327" y="0"/>
                    </a:lnTo>
                    <a:close/>
                  </a:path>
                </a:pathLst>
              </a:custGeom>
              <a:grpFill/>
              <a:ln w="0">
                <a:noFill/>
                <a:prstDash val="solid"/>
                <a:round/>
                <a:headEnd/>
                <a:tailEnd/>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endParaRPr>
              </a:p>
            </p:txBody>
          </p:sp>
          <p:sp>
            <p:nvSpPr>
              <p:cNvPr id="70" name="Freeform 65"/>
              <p:cNvSpPr>
                <a:spLocks/>
              </p:cNvSpPr>
              <p:nvPr/>
            </p:nvSpPr>
            <p:spPr bwMode="auto">
              <a:xfrm>
                <a:off x="5307013" y="5026025"/>
                <a:ext cx="136525" cy="179388"/>
              </a:xfrm>
              <a:custGeom>
                <a:avLst/>
                <a:gdLst>
                  <a:gd name="T0" fmla="*/ 524 w 852"/>
                  <a:gd name="T1" fmla="*/ 0 h 1132"/>
                  <a:gd name="T2" fmla="*/ 524 w 852"/>
                  <a:gd name="T3" fmla="*/ 0 h 1132"/>
                  <a:gd name="T4" fmla="*/ 569 w 852"/>
                  <a:gd name="T5" fmla="*/ 3 h 1132"/>
                  <a:gd name="T6" fmla="*/ 611 w 852"/>
                  <a:gd name="T7" fmla="*/ 12 h 1132"/>
                  <a:gd name="T8" fmla="*/ 652 w 852"/>
                  <a:gd name="T9" fmla="*/ 27 h 1132"/>
                  <a:gd name="T10" fmla="*/ 690 w 852"/>
                  <a:gd name="T11" fmla="*/ 45 h 1132"/>
                  <a:gd name="T12" fmla="*/ 724 w 852"/>
                  <a:gd name="T13" fmla="*/ 69 h 1132"/>
                  <a:gd name="T14" fmla="*/ 755 w 852"/>
                  <a:gd name="T15" fmla="*/ 96 h 1132"/>
                  <a:gd name="T16" fmla="*/ 783 w 852"/>
                  <a:gd name="T17" fmla="*/ 128 h 1132"/>
                  <a:gd name="T18" fmla="*/ 806 w 852"/>
                  <a:gd name="T19" fmla="*/ 162 h 1132"/>
                  <a:gd name="T20" fmla="*/ 825 w 852"/>
                  <a:gd name="T21" fmla="*/ 200 h 1132"/>
                  <a:gd name="T22" fmla="*/ 839 w 852"/>
                  <a:gd name="T23" fmla="*/ 241 h 1132"/>
                  <a:gd name="T24" fmla="*/ 848 w 852"/>
                  <a:gd name="T25" fmla="*/ 283 h 1132"/>
                  <a:gd name="T26" fmla="*/ 852 w 852"/>
                  <a:gd name="T27" fmla="*/ 327 h 1132"/>
                  <a:gd name="T28" fmla="*/ 848 w 852"/>
                  <a:gd name="T29" fmla="*/ 372 h 1132"/>
                  <a:gd name="T30" fmla="*/ 839 w 852"/>
                  <a:gd name="T31" fmla="*/ 414 h 1132"/>
                  <a:gd name="T32" fmla="*/ 825 w 852"/>
                  <a:gd name="T33" fmla="*/ 455 h 1132"/>
                  <a:gd name="T34" fmla="*/ 806 w 852"/>
                  <a:gd name="T35" fmla="*/ 492 h 1132"/>
                  <a:gd name="T36" fmla="*/ 783 w 852"/>
                  <a:gd name="T37" fmla="*/ 527 h 1132"/>
                  <a:gd name="T38" fmla="*/ 755 w 852"/>
                  <a:gd name="T39" fmla="*/ 558 h 1132"/>
                  <a:gd name="T40" fmla="*/ 724 w 852"/>
                  <a:gd name="T41" fmla="*/ 586 h 1132"/>
                  <a:gd name="T42" fmla="*/ 690 w 852"/>
                  <a:gd name="T43" fmla="*/ 609 h 1132"/>
                  <a:gd name="T44" fmla="*/ 652 w 852"/>
                  <a:gd name="T45" fmla="*/ 628 h 1132"/>
                  <a:gd name="T46" fmla="*/ 611 w 852"/>
                  <a:gd name="T47" fmla="*/ 642 h 1132"/>
                  <a:gd name="T48" fmla="*/ 569 w 852"/>
                  <a:gd name="T49" fmla="*/ 651 h 1132"/>
                  <a:gd name="T50" fmla="*/ 524 w 852"/>
                  <a:gd name="T51" fmla="*/ 654 h 1132"/>
                  <a:gd name="T52" fmla="*/ 493 w 852"/>
                  <a:gd name="T53" fmla="*/ 652 h 1132"/>
                  <a:gd name="T54" fmla="*/ 463 w 852"/>
                  <a:gd name="T55" fmla="*/ 647 h 1132"/>
                  <a:gd name="T56" fmla="*/ 434 w 852"/>
                  <a:gd name="T57" fmla="*/ 640 h 1132"/>
                  <a:gd name="T58" fmla="*/ 142 w 852"/>
                  <a:gd name="T59" fmla="*/ 1132 h 1132"/>
                  <a:gd name="T60" fmla="*/ 96 w 852"/>
                  <a:gd name="T61" fmla="*/ 1100 h 1132"/>
                  <a:gd name="T62" fmla="*/ 50 w 852"/>
                  <a:gd name="T63" fmla="*/ 1072 h 1132"/>
                  <a:gd name="T64" fmla="*/ 0 w 852"/>
                  <a:gd name="T65" fmla="*/ 1048 h 1132"/>
                  <a:gd name="T66" fmla="*/ 292 w 852"/>
                  <a:gd name="T67" fmla="*/ 557 h 1132"/>
                  <a:gd name="T68" fmla="*/ 265 w 852"/>
                  <a:gd name="T69" fmla="*/ 526 h 1132"/>
                  <a:gd name="T70" fmla="*/ 242 w 852"/>
                  <a:gd name="T71" fmla="*/ 491 h 1132"/>
                  <a:gd name="T72" fmla="*/ 223 w 852"/>
                  <a:gd name="T73" fmla="*/ 454 h 1132"/>
                  <a:gd name="T74" fmla="*/ 209 w 852"/>
                  <a:gd name="T75" fmla="*/ 414 h 1132"/>
                  <a:gd name="T76" fmla="*/ 201 w 852"/>
                  <a:gd name="T77" fmla="*/ 372 h 1132"/>
                  <a:gd name="T78" fmla="*/ 197 w 852"/>
                  <a:gd name="T79" fmla="*/ 327 h 1132"/>
                  <a:gd name="T80" fmla="*/ 201 w 852"/>
                  <a:gd name="T81" fmla="*/ 283 h 1132"/>
                  <a:gd name="T82" fmla="*/ 209 w 852"/>
                  <a:gd name="T83" fmla="*/ 240 h 1132"/>
                  <a:gd name="T84" fmla="*/ 223 w 852"/>
                  <a:gd name="T85" fmla="*/ 200 h 1132"/>
                  <a:gd name="T86" fmla="*/ 242 w 852"/>
                  <a:gd name="T87" fmla="*/ 162 h 1132"/>
                  <a:gd name="T88" fmla="*/ 266 w 852"/>
                  <a:gd name="T89" fmla="*/ 128 h 1132"/>
                  <a:gd name="T90" fmla="*/ 293 w 852"/>
                  <a:gd name="T91" fmla="*/ 96 h 1132"/>
                  <a:gd name="T92" fmla="*/ 325 w 852"/>
                  <a:gd name="T93" fmla="*/ 69 h 1132"/>
                  <a:gd name="T94" fmla="*/ 359 w 852"/>
                  <a:gd name="T95" fmla="*/ 45 h 1132"/>
                  <a:gd name="T96" fmla="*/ 397 w 852"/>
                  <a:gd name="T97" fmla="*/ 27 h 1132"/>
                  <a:gd name="T98" fmla="*/ 437 w 852"/>
                  <a:gd name="T99" fmla="*/ 12 h 1132"/>
                  <a:gd name="T100" fmla="*/ 480 w 852"/>
                  <a:gd name="T101" fmla="*/ 3 h 1132"/>
                  <a:gd name="T102" fmla="*/ 524 w 852"/>
                  <a:gd name="T103" fmla="*/ 0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52" h="1132">
                    <a:moveTo>
                      <a:pt x="524" y="0"/>
                    </a:moveTo>
                    <a:lnTo>
                      <a:pt x="524" y="0"/>
                    </a:lnTo>
                    <a:lnTo>
                      <a:pt x="569" y="3"/>
                    </a:lnTo>
                    <a:lnTo>
                      <a:pt x="611" y="12"/>
                    </a:lnTo>
                    <a:lnTo>
                      <a:pt x="652" y="27"/>
                    </a:lnTo>
                    <a:lnTo>
                      <a:pt x="690" y="45"/>
                    </a:lnTo>
                    <a:lnTo>
                      <a:pt x="724" y="69"/>
                    </a:lnTo>
                    <a:lnTo>
                      <a:pt x="755" y="96"/>
                    </a:lnTo>
                    <a:lnTo>
                      <a:pt x="783" y="128"/>
                    </a:lnTo>
                    <a:lnTo>
                      <a:pt x="806" y="162"/>
                    </a:lnTo>
                    <a:lnTo>
                      <a:pt x="825" y="200"/>
                    </a:lnTo>
                    <a:lnTo>
                      <a:pt x="839" y="241"/>
                    </a:lnTo>
                    <a:lnTo>
                      <a:pt x="848" y="283"/>
                    </a:lnTo>
                    <a:lnTo>
                      <a:pt x="852" y="327"/>
                    </a:lnTo>
                    <a:lnTo>
                      <a:pt x="848" y="372"/>
                    </a:lnTo>
                    <a:lnTo>
                      <a:pt x="839" y="414"/>
                    </a:lnTo>
                    <a:lnTo>
                      <a:pt x="825" y="455"/>
                    </a:lnTo>
                    <a:lnTo>
                      <a:pt x="806" y="492"/>
                    </a:lnTo>
                    <a:lnTo>
                      <a:pt x="783" y="527"/>
                    </a:lnTo>
                    <a:lnTo>
                      <a:pt x="755" y="558"/>
                    </a:lnTo>
                    <a:lnTo>
                      <a:pt x="724" y="586"/>
                    </a:lnTo>
                    <a:lnTo>
                      <a:pt x="690" y="609"/>
                    </a:lnTo>
                    <a:lnTo>
                      <a:pt x="652" y="628"/>
                    </a:lnTo>
                    <a:lnTo>
                      <a:pt x="611" y="642"/>
                    </a:lnTo>
                    <a:lnTo>
                      <a:pt x="569" y="651"/>
                    </a:lnTo>
                    <a:lnTo>
                      <a:pt x="524" y="654"/>
                    </a:lnTo>
                    <a:lnTo>
                      <a:pt x="493" y="652"/>
                    </a:lnTo>
                    <a:lnTo>
                      <a:pt x="463" y="647"/>
                    </a:lnTo>
                    <a:lnTo>
                      <a:pt x="434" y="640"/>
                    </a:lnTo>
                    <a:lnTo>
                      <a:pt x="142" y="1132"/>
                    </a:lnTo>
                    <a:lnTo>
                      <a:pt x="96" y="1100"/>
                    </a:lnTo>
                    <a:lnTo>
                      <a:pt x="50" y="1072"/>
                    </a:lnTo>
                    <a:lnTo>
                      <a:pt x="0" y="1048"/>
                    </a:lnTo>
                    <a:lnTo>
                      <a:pt x="292" y="557"/>
                    </a:lnTo>
                    <a:lnTo>
                      <a:pt x="265" y="526"/>
                    </a:lnTo>
                    <a:lnTo>
                      <a:pt x="242" y="491"/>
                    </a:lnTo>
                    <a:lnTo>
                      <a:pt x="223" y="454"/>
                    </a:lnTo>
                    <a:lnTo>
                      <a:pt x="209" y="414"/>
                    </a:lnTo>
                    <a:lnTo>
                      <a:pt x="201" y="372"/>
                    </a:lnTo>
                    <a:lnTo>
                      <a:pt x="197" y="327"/>
                    </a:lnTo>
                    <a:lnTo>
                      <a:pt x="201" y="283"/>
                    </a:lnTo>
                    <a:lnTo>
                      <a:pt x="209" y="240"/>
                    </a:lnTo>
                    <a:lnTo>
                      <a:pt x="223" y="200"/>
                    </a:lnTo>
                    <a:lnTo>
                      <a:pt x="242" y="162"/>
                    </a:lnTo>
                    <a:lnTo>
                      <a:pt x="266" y="128"/>
                    </a:lnTo>
                    <a:lnTo>
                      <a:pt x="293" y="96"/>
                    </a:lnTo>
                    <a:lnTo>
                      <a:pt x="325" y="69"/>
                    </a:lnTo>
                    <a:lnTo>
                      <a:pt x="359" y="45"/>
                    </a:lnTo>
                    <a:lnTo>
                      <a:pt x="397" y="27"/>
                    </a:lnTo>
                    <a:lnTo>
                      <a:pt x="437" y="12"/>
                    </a:lnTo>
                    <a:lnTo>
                      <a:pt x="480" y="3"/>
                    </a:lnTo>
                    <a:lnTo>
                      <a:pt x="524" y="0"/>
                    </a:lnTo>
                    <a:close/>
                  </a:path>
                </a:pathLst>
              </a:custGeom>
              <a:grpFill/>
              <a:ln w="0">
                <a:noFill/>
                <a:prstDash val="solid"/>
                <a:round/>
                <a:headEnd/>
                <a:tailEnd/>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endParaRPr>
              </a:p>
            </p:txBody>
          </p:sp>
          <p:sp>
            <p:nvSpPr>
              <p:cNvPr id="71" name="Freeform 66"/>
              <p:cNvSpPr>
                <a:spLocks/>
              </p:cNvSpPr>
              <p:nvPr/>
            </p:nvSpPr>
            <p:spPr bwMode="auto">
              <a:xfrm>
                <a:off x="5375276" y="5272088"/>
                <a:ext cx="166688" cy="103188"/>
              </a:xfrm>
              <a:custGeom>
                <a:avLst/>
                <a:gdLst>
                  <a:gd name="T0" fmla="*/ 729 w 1055"/>
                  <a:gd name="T1" fmla="*/ 0 h 653"/>
                  <a:gd name="T2" fmla="*/ 773 w 1055"/>
                  <a:gd name="T3" fmla="*/ 2 h 653"/>
                  <a:gd name="T4" fmla="*/ 816 w 1055"/>
                  <a:gd name="T5" fmla="*/ 11 h 653"/>
                  <a:gd name="T6" fmla="*/ 856 w 1055"/>
                  <a:gd name="T7" fmla="*/ 25 h 653"/>
                  <a:gd name="T8" fmla="*/ 893 w 1055"/>
                  <a:gd name="T9" fmla="*/ 44 h 653"/>
                  <a:gd name="T10" fmla="*/ 929 w 1055"/>
                  <a:gd name="T11" fmla="*/ 68 h 653"/>
                  <a:gd name="T12" fmla="*/ 960 w 1055"/>
                  <a:gd name="T13" fmla="*/ 95 h 653"/>
                  <a:gd name="T14" fmla="*/ 988 w 1055"/>
                  <a:gd name="T15" fmla="*/ 126 h 653"/>
                  <a:gd name="T16" fmla="*/ 1011 w 1055"/>
                  <a:gd name="T17" fmla="*/ 162 h 653"/>
                  <a:gd name="T18" fmla="*/ 1030 w 1055"/>
                  <a:gd name="T19" fmla="*/ 200 h 653"/>
                  <a:gd name="T20" fmla="*/ 1044 w 1055"/>
                  <a:gd name="T21" fmla="*/ 239 h 653"/>
                  <a:gd name="T22" fmla="*/ 1053 w 1055"/>
                  <a:gd name="T23" fmla="*/ 282 h 653"/>
                  <a:gd name="T24" fmla="*/ 1055 w 1055"/>
                  <a:gd name="T25" fmla="*/ 326 h 653"/>
                  <a:gd name="T26" fmla="*/ 1053 w 1055"/>
                  <a:gd name="T27" fmla="*/ 370 h 653"/>
                  <a:gd name="T28" fmla="*/ 1044 w 1055"/>
                  <a:gd name="T29" fmla="*/ 414 h 653"/>
                  <a:gd name="T30" fmla="*/ 1030 w 1055"/>
                  <a:gd name="T31" fmla="*/ 454 h 653"/>
                  <a:gd name="T32" fmla="*/ 1011 w 1055"/>
                  <a:gd name="T33" fmla="*/ 491 h 653"/>
                  <a:gd name="T34" fmla="*/ 988 w 1055"/>
                  <a:gd name="T35" fmla="*/ 526 h 653"/>
                  <a:gd name="T36" fmla="*/ 960 w 1055"/>
                  <a:gd name="T37" fmla="*/ 558 h 653"/>
                  <a:gd name="T38" fmla="*/ 929 w 1055"/>
                  <a:gd name="T39" fmla="*/ 584 h 653"/>
                  <a:gd name="T40" fmla="*/ 893 w 1055"/>
                  <a:gd name="T41" fmla="*/ 609 h 653"/>
                  <a:gd name="T42" fmla="*/ 856 w 1055"/>
                  <a:gd name="T43" fmla="*/ 628 h 653"/>
                  <a:gd name="T44" fmla="*/ 816 w 1055"/>
                  <a:gd name="T45" fmla="*/ 641 h 653"/>
                  <a:gd name="T46" fmla="*/ 773 w 1055"/>
                  <a:gd name="T47" fmla="*/ 650 h 653"/>
                  <a:gd name="T48" fmla="*/ 729 w 1055"/>
                  <a:gd name="T49" fmla="*/ 653 h 653"/>
                  <a:gd name="T50" fmla="*/ 685 w 1055"/>
                  <a:gd name="T51" fmla="*/ 650 h 653"/>
                  <a:gd name="T52" fmla="*/ 644 w 1055"/>
                  <a:gd name="T53" fmla="*/ 642 h 653"/>
                  <a:gd name="T54" fmla="*/ 604 w 1055"/>
                  <a:gd name="T55" fmla="*/ 628 h 653"/>
                  <a:gd name="T56" fmla="*/ 566 w 1055"/>
                  <a:gd name="T57" fmla="*/ 610 h 653"/>
                  <a:gd name="T58" fmla="*/ 532 w 1055"/>
                  <a:gd name="T59" fmla="*/ 587 h 653"/>
                  <a:gd name="T60" fmla="*/ 501 w 1055"/>
                  <a:gd name="T61" fmla="*/ 560 h 653"/>
                  <a:gd name="T62" fmla="*/ 474 w 1055"/>
                  <a:gd name="T63" fmla="*/ 529 h 653"/>
                  <a:gd name="T64" fmla="*/ 450 w 1055"/>
                  <a:gd name="T65" fmla="*/ 495 h 653"/>
                  <a:gd name="T66" fmla="*/ 431 w 1055"/>
                  <a:gd name="T67" fmla="*/ 458 h 653"/>
                  <a:gd name="T68" fmla="*/ 416 w 1055"/>
                  <a:gd name="T69" fmla="*/ 419 h 653"/>
                  <a:gd name="T70" fmla="*/ 407 w 1055"/>
                  <a:gd name="T71" fmla="*/ 377 h 653"/>
                  <a:gd name="T72" fmla="*/ 0 w 1055"/>
                  <a:gd name="T73" fmla="*/ 337 h 653"/>
                  <a:gd name="T74" fmla="*/ 9 w 1055"/>
                  <a:gd name="T75" fmla="*/ 287 h 653"/>
                  <a:gd name="T76" fmla="*/ 15 w 1055"/>
                  <a:gd name="T77" fmla="*/ 235 h 653"/>
                  <a:gd name="T78" fmla="*/ 17 w 1055"/>
                  <a:gd name="T79" fmla="*/ 182 h 653"/>
                  <a:gd name="T80" fmla="*/ 16 w 1055"/>
                  <a:gd name="T81" fmla="*/ 173 h 653"/>
                  <a:gd name="T82" fmla="*/ 423 w 1055"/>
                  <a:gd name="T83" fmla="*/ 214 h 653"/>
                  <a:gd name="T84" fmla="*/ 441 w 1055"/>
                  <a:gd name="T85" fmla="*/ 173 h 653"/>
                  <a:gd name="T86" fmla="*/ 464 w 1055"/>
                  <a:gd name="T87" fmla="*/ 136 h 653"/>
                  <a:gd name="T88" fmla="*/ 492 w 1055"/>
                  <a:gd name="T89" fmla="*/ 103 h 653"/>
                  <a:gd name="T90" fmla="*/ 524 w 1055"/>
                  <a:gd name="T91" fmla="*/ 73 h 653"/>
                  <a:gd name="T92" fmla="*/ 558 w 1055"/>
                  <a:gd name="T93" fmla="*/ 48 h 653"/>
                  <a:gd name="T94" fmla="*/ 597 w 1055"/>
                  <a:gd name="T95" fmla="*/ 28 h 653"/>
                  <a:gd name="T96" fmla="*/ 639 w 1055"/>
                  <a:gd name="T97" fmla="*/ 12 h 653"/>
                  <a:gd name="T98" fmla="*/ 683 w 1055"/>
                  <a:gd name="T99" fmla="*/ 3 h 653"/>
                  <a:gd name="T100" fmla="*/ 729 w 1055"/>
                  <a:gd name="T101" fmla="*/ 0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55" h="653">
                    <a:moveTo>
                      <a:pt x="729" y="0"/>
                    </a:moveTo>
                    <a:lnTo>
                      <a:pt x="773" y="2"/>
                    </a:lnTo>
                    <a:lnTo>
                      <a:pt x="816" y="11"/>
                    </a:lnTo>
                    <a:lnTo>
                      <a:pt x="856" y="25"/>
                    </a:lnTo>
                    <a:lnTo>
                      <a:pt x="893" y="44"/>
                    </a:lnTo>
                    <a:lnTo>
                      <a:pt x="929" y="68"/>
                    </a:lnTo>
                    <a:lnTo>
                      <a:pt x="960" y="95"/>
                    </a:lnTo>
                    <a:lnTo>
                      <a:pt x="988" y="126"/>
                    </a:lnTo>
                    <a:lnTo>
                      <a:pt x="1011" y="162"/>
                    </a:lnTo>
                    <a:lnTo>
                      <a:pt x="1030" y="200"/>
                    </a:lnTo>
                    <a:lnTo>
                      <a:pt x="1044" y="239"/>
                    </a:lnTo>
                    <a:lnTo>
                      <a:pt x="1053" y="282"/>
                    </a:lnTo>
                    <a:lnTo>
                      <a:pt x="1055" y="326"/>
                    </a:lnTo>
                    <a:lnTo>
                      <a:pt x="1053" y="370"/>
                    </a:lnTo>
                    <a:lnTo>
                      <a:pt x="1044" y="414"/>
                    </a:lnTo>
                    <a:lnTo>
                      <a:pt x="1030" y="454"/>
                    </a:lnTo>
                    <a:lnTo>
                      <a:pt x="1011" y="491"/>
                    </a:lnTo>
                    <a:lnTo>
                      <a:pt x="988" y="526"/>
                    </a:lnTo>
                    <a:lnTo>
                      <a:pt x="960" y="558"/>
                    </a:lnTo>
                    <a:lnTo>
                      <a:pt x="929" y="584"/>
                    </a:lnTo>
                    <a:lnTo>
                      <a:pt x="893" y="609"/>
                    </a:lnTo>
                    <a:lnTo>
                      <a:pt x="856" y="628"/>
                    </a:lnTo>
                    <a:lnTo>
                      <a:pt x="816" y="641"/>
                    </a:lnTo>
                    <a:lnTo>
                      <a:pt x="773" y="650"/>
                    </a:lnTo>
                    <a:lnTo>
                      <a:pt x="729" y="653"/>
                    </a:lnTo>
                    <a:lnTo>
                      <a:pt x="685" y="650"/>
                    </a:lnTo>
                    <a:lnTo>
                      <a:pt x="644" y="642"/>
                    </a:lnTo>
                    <a:lnTo>
                      <a:pt x="604" y="628"/>
                    </a:lnTo>
                    <a:lnTo>
                      <a:pt x="566" y="610"/>
                    </a:lnTo>
                    <a:lnTo>
                      <a:pt x="532" y="587"/>
                    </a:lnTo>
                    <a:lnTo>
                      <a:pt x="501" y="560"/>
                    </a:lnTo>
                    <a:lnTo>
                      <a:pt x="474" y="529"/>
                    </a:lnTo>
                    <a:lnTo>
                      <a:pt x="450" y="495"/>
                    </a:lnTo>
                    <a:lnTo>
                      <a:pt x="431" y="458"/>
                    </a:lnTo>
                    <a:lnTo>
                      <a:pt x="416" y="419"/>
                    </a:lnTo>
                    <a:lnTo>
                      <a:pt x="407" y="377"/>
                    </a:lnTo>
                    <a:lnTo>
                      <a:pt x="0" y="337"/>
                    </a:lnTo>
                    <a:lnTo>
                      <a:pt x="9" y="287"/>
                    </a:lnTo>
                    <a:lnTo>
                      <a:pt x="15" y="235"/>
                    </a:lnTo>
                    <a:lnTo>
                      <a:pt x="17" y="182"/>
                    </a:lnTo>
                    <a:lnTo>
                      <a:pt x="16" y="173"/>
                    </a:lnTo>
                    <a:lnTo>
                      <a:pt x="423" y="214"/>
                    </a:lnTo>
                    <a:lnTo>
                      <a:pt x="441" y="173"/>
                    </a:lnTo>
                    <a:lnTo>
                      <a:pt x="464" y="136"/>
                    </a:lnTo>
                    <a:lnTo>
                      <a:pt x="492" y="103"/>
                    </a:lnTo>
                    <a:lnTo>
                      <a:pt x="524" y="73"/>
                    </a:lnTo>
                    <a:lnTo>
                      <a:pt x="558" y="48"/>
                    </a:lnTo>
                    <a:lnTo>
                      <a:pt x="597" y="28"/>
                    </a:lnTo>
                    <a:lnTo>
                      <a:pt x="639" y="12"/>
                    </a:lnTo>
                    <a:lnTo>
                      <a:pt x="683" y="3"/>
                    </a:lnTo>
                    <a:lnTo>
                      <a:pt x="729" y="0"/>
                    </a:lnTo>
                    <a:close/>
                  </a:path>
                </a:pathLst>
              </a:custGeom>
              <a:grpFill/>
              <a:ln w="0">
                <a:noFill/>
                <a:prstDash val="solid"/>
                <a:round/>
                <a:headEnd/>
                <a:tailEnd/>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endParaRPr>
              </a:p>
            </p:txBody>
          </p:sp>
          <p:sp>
            <p:nvSpPr>
              <p:cNvPr id="72" name="Freeform 67"/>
              <p:cNvSpPr>
                <a:spLocks/>
              </p:cNvSpPr>
              <p:nvPr/>
            </p:nvSpPr>
            <p:spPr bwMode="auto">
              <a:xfrm>
                <a:off x="5259388" y="5411788"/>
                <a:ext cx="103188" cy="166688"/>
              </a:xfrm>
              <a:custGeom>
                <a:avLst/>
                <a:gdLst>
                  <a:gd name="T0" fmla="*/ 246 w 654"/>
                  <a:gd name="T1" fmla="*/ 0 h 1049"/>
                  <a:gd name="T2" fmla="*/ 337 w 654"/>
                  <a:gd name="T3" fmla="*/ 397 h 1049"/>
                  <a:gd name="T4" fmla="*/ 383 w 654"/>
                  <a:gd name="T5" fmla="*/ 402 h 1049"/>
                  <a:gd name="T6" fmla="*/ 429 w 654"/>
                  <a:gd name="T7" fmla="*/ 413 h 1049"/>
                  <a:gd name="T8" fmla="*/ 471 w 654"/>
                  <a:gd name="T9" fmla="*/ 431 h 1049"/>
                  <a:gd name="T10" fmla="*/ 510 w 654"/>
                  <a:gd name="T11" fmla="*/ 453 h 1049"/>
                  <a:gd name="T12" fmla="*/ 545 w 654"/>
                  <a:gd name="T13" fmla="*/ 480 h 1049"/>
                  <a:gd name="T14" fmla="*/ 576 w 654"/>
                  <a:gd name="T15" fmla="*/ 513 h 1049"/>
                  <a:gd name="T16" fmla="*/ 603 w 654"/>
                  <a:gd name="T17" fmla="*/ 548 h 1049"/>
                  <a:gd name="T18" fmla="*/ 624 w 654"/>
                  <a:gd name="T19" fmla="*/ 588 h 1049"/>
                  <a:gd name="T20" fmla="*/ 641 w 654"/>
                  <a:gd name="T21" fmla="*/ 630 h 1049"/>
                  <a:gd name="T22" fmla="*/ 651 w 654"/>
                  <a:gd name="T23" fmla="*/ 676 h 1049"/>
                  <a:gd name="T24" fmla="*/ 654 w 654"/>
                  <a:gd name="T25" fmla="*/ 723 h 1049"/>
                  <a:gd name="T26" fmla="*/ 651 w 654"/>
                  <a:gd name="T27" fmla="*/ 768 h 1049"/>
                  <a:gd name="T28" fmla="*/ 642 w 654"/>
                  <a:gd name="T29" fmla="*/ 810 h 1049"/>
                  <a:gd name="T30" fmla="*/ 628 w 654"/>
                  <a:gd name="T31" fmla="*/ 850 h 1049"/>
                  <a:gd name="T32" fmla="*/ 608 w 654"/>
                  <a:gd name="T33" fmla="*/ 887 h 1049"/>
                  <a:gd name="T34" fmla="*/ 585 w 654"/>
                  <a:gd name="T35" fmla="*/ 923 h 1049"/>
                  <a:gd name="T36" fmla="*/ 557 w 654"/>
                  <a:gd name="T37" fmla="*/ 954 h 1049"/>
                  <a:gd name="T38" fmla="*/ 526 w 654"/>
                  <a:gd name="T39" fmla="*/ 982 h 1049"/>
                  <a:gd name="T40" fmla="*/ 492 w 654"/>
                  <a:gd name="T41" fmla="*/ 1005 h 1049"/>
                  <a:gd name="T42" fmla="*/ 454 w 654"/>
                  <a:gd name="T43" fmla="*/ 1024 h 1049"/>
                  <a:gd name="T44" fmla="*/ 413 w 654"/>
                  <a:gd name="T45" fmla="*/ 1038 h 1049"/>
                  <a:gd name="T46" fmla="*/ 371 w 654"/>
                  <a:gd name="T47" fmla="*/ 1047 h 1049"/>
                  <a:gd name="T48" fmla="*/ 327 w 654"/>
                  <a:gd name="T49" fmla="*/ 1049 h 1049"/>
                  <a:gd name="T50" fmla="*/ 282 w 654"/>
                  <a:gd name="T51" fmla="*/ 1047 h 1049"/>
                  <a:gd name="T52" fmla="*/ 240 w 654"/>
                  <a:gd name="T53" fmla="*/ 1038 h 1049"/>
                  <a:gd name="T54" fmla="*/ 199 w 654"/>
                  <a:gd name="T55" fmla="*/ 1024 h 1049"/>
                  <a:gd name="T56" fmla="*/ 161 w 654"/>
                  <a:gd name="T57" fmla="*/ 1005 h 1049"/>
                  <a:gd name="T58" fmla="*/ 127 w 654"/>
                  <a:gd name="T59" fmla="*/ 982 h 1049"/>
                  <a:gd name="T60" fmla="*/ 96 w 654"/>
                  <a:gd name="T61" fmla="*/ 954 h 1049"/>
                  <a:gd name="T62" fmla="*/ 68 w 654"/>
                  <a:gd name="T63" fmla="*/ 923 h 1049"/>
                  <a:gd name="T64" fmla="*/ 45 w 654"/>
                  <a:gd name="T65" fmla="*/ 887 h 1049"/>
                  <a:gd name="T66" fmla="*/ 26 w 654"/>
                  <a:gd name="T67" fmla="*/ 850 h 1049"/>
                  <a:gd name="T68" fmla="*/ 12 w 654"/>
                  <a:gd name="T69" fmla="*/ 810 h 1049"/>
                  <a:gd name="T70" fmla="*/ 3 w 654"/>
                  <a:gd name="T71" fmla="*/ 768 h 1049"/>
                  <a:gd name="T72" fmla="*/ 0 w 654"/>
                  <a:gd name="T73" fmla="*/ 723 h 1049"/>
                  <a:gd name="T74" fmla="*/ 3 w 654"/>
                  <a:gd name="T75" fmla="*/ 677 h 1049"/>
                  <a:gd name="T76" fmla="*/ 13 w 654"/>
                  <a:gd name="T77" fmla="*/ 632 h 1049"/>
                  <a:gd name="T78" fmla="*/ 28 w 654"/>
                  <a:gd name="T79" fmla="*/ 591 h 1049"/>
                  <a:gd name="T80" fmla="*/ 49 w 654"/>
                  <a:gd name="T81" fmla="*/ 553 h 1049"/>
                  <a:gd name="T82" fmla="*/ 75 w 654"/>
                  <a:gd name="T83" fmla="*/ 517 h 1049"/>
                  <a:gd name="T84" fmla="*/ 105 w 654"/>
                  <a:gd name="T85" fmla="*/ 485 h 1049"/>
                  <a:gd name="T86" fmla="*/ 139 w 654"/>
                  <a:gd name="T87" fmla="*/ 457 h 1049"/>
                  <a:gd name="T88" fmla="*/ 177 w 654"/>
                  <a:gd name="T89" fmla="*/ 435 h 1049"/>
                  <a:gd name="T90" fmla="*/ 85 w 654"/>
                  <a:gd name="T91" fmla="*/ 37 h 1049"/>
                  <a:gd name="T92" fmla="*/ 140 w 654"/>
                  <a:gd name="T93" fmla="*/ 28 h 1049"/>
                  <a:gd name="T94" fmla="*/ 194 w 654"/>
                  <a:gd name="T95" fmla="*/ 16 h 1049"/>
                  <a:gd name="T96" fmla="*/ 246 w 654"/>
                  <a:gd name="T97" fmla="*/ 0 h 1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54" h="1049">
                    <a:moveTo>
                      <a:pt x="246" y="0"/>
                    </a:moveTo>
                    <a:lnTo>
                      <a:pt x="337" y="397"/>
                    </a:lnTo>
                    <a:lnTo>
                      <a:pt x="383" y="402"/>
                    </a:lnTo>
                    <a:lnTo>
                      <a:pt x="429" y="413"/>
                    </a:lnTo>
                    <a:lnTo>
                      <a:pt x="471" y="431"/>
                    </a:lnTo>
                    <a:lnTo>
                      <a:pt x="510" y="453"/>
                    </a:lnTo>
                    <a:lnTo>
                      <a:pt x="545" y="480"/>
                    </a:lnTo>
                    <a:lnTo>
                      <a:pt x="576" y="513"/>
                    </a:lnTo>
                    <a:lnTo>
                      <a:pt x="603" y="548"/>
                    </a:lnTo>
                    <a:lnTo>
                      <a:pt x="624" y="588"/>
                    </a:lnTo>
                    <a:lnTo>
                      <a:pt x="641" y="630"/>
                    </a:lnTo>
                    <a:lnTo>
                      <a:pt x="651" y="676"/>
                    </a:lnTo>
                    <a:lnTo>
                      <a:pt x="654" y="723"/>
                    </a:lnTo>
                    <a:lnTo>
                      <a:pt x="651" y="768"/>
                    </a:lnTo>
                    <a:lnTo>
                      <a:pt x="642" y="810"/>
                    </a:lnTo>
                    <a:lnTo>
                      <a:pt x="628" y="850"/>
                    </a:lnTo>
                    <a:lnTo>
                      <a:pt x="608" y="887"/>
                    </a:lnTo>
                    <a:lnTo>
                      <a:pt x="585" y="923"/>
                    </a:lnTo>
                    <a:lnTo>
                      <a:pt x="557" y="954"/>
                    </a:lnTo>
                    <a:lnTo>
                      <a:pt x="526" y="982"/>
                    </a:lnTo>
                    <a:lnTo>
                      <a:pt x="492" y="1005"/>
                    </a:lnTo>
                    <a:lnTo>
                      <a:pt x="454" y="1024"/>
                    </a:lnTo>
                    <a:lnTo>
                      <a:pt x="413" y="1038"/>
                    </a:lnTo>
                    <a:lnTo>
                      <a:pt x="371" y="1047"/>
                    </a:lnTo>
                    <a:lnTo>
                      <a:pt x="327" y="1049"/>
                    </a:lnTo>
                    <a:lnTo>
                      <a:pt x="282" y="1047"/>
                    </a:lnTo>
                    <a:lnTo>
                      <a:pt x="240" y="1038"/>
                    </a:lnTo>
                    <a:lnTo>
                      <a:pt x="199" y="1024"/>
                    </a:lnTo>
                    <a:lnTo>
                      <a:pt x="161" y="1005"/>
                    </a:lnTo>
                    <a:lnTo>
                      <a:pt x="127" y="982"/>
                    </a:lnTo>
                    <a:lnTo>
                      <a:pt x="96" y="954"/>
                    </a:lnTo>
                    <a:lnTo>
                      <a:pt x="68" y="923"/>
                    </a:lnTo>
                    <a:lnTo>
                      <a:pt x="45" y="887"/>
                    </a:lnTo>
                    <a:lnTo>
                      <a:pt x="26" y="850"/>
                    </a:lnTo>
                    <a:lnTo>
                      <a:pt x="12" y="810"/>
                    </a:lnTo>
                    <a:lnTo>
                      <a:pt x="3" y="768"/>
                    </a:lnTo>
                    <a:lnTo>
                      <a:pt x="0" y="723"/>
                    </a:lnTo>
                    <a:lnTo>
                      <a:pt x="3" y="677"/>
                    </a:lnTo>
                    <a:lnTo>
                      <a:pt x="13" y="632"/>
                    </a:lnTo>
                    <a:lnTo>
                      <a:pt x="28" y="591"/>
                    </a:lnTo>
                    <a:lnTo>
                      <a:pt x="49" y="553"/>
                    </a:lnTo>
                    <a:lnTo>
                      <a:pt x="75" y="517"/>
                    </a:lnTo>
                    <a:lnTo>
                      <a:pt x="105" y="485"/>
                    </a:lnTo>
                    <a:lnTo>
                      <a:pt x="139" y="457"/>
                    </a:lnTo>
                    <a:lnTo>
                      <a:pt x="177" y="435"/>
                    </a:lnTo>
                    <a:lnTo>
                      <a:pt x="85" y="37"/>
                    </a:lnTo>
                    <a:lnTo>
                      <a:pt x="140" y="28"/>
                    </a:lnTo>
                    <a:lnTo>
                      <a:pt x="194" y="16"/>
                    </a:lnTo>
                    <a:lnTo>
                      <a:pt x="246" y="0"/>
                    </a:lnTo>
                    <a:close/>
                  </a:path>
                </a:pathLst>
              </a:custGeom>
              <a:grpFill/>
              <a:ln w="0">
                <a:noFill/>
                <a:prstDash val="solid"/>
                <a:round/>
                <a:headEnd/>
                <a:tailEnd/>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endParaRPr>
              </a:p>
            </p:txBody>
          </p:sp>
          <p:sp>
            <p:nvSpPr>
              <p:cNvPr id="73" name="Freeform 68"/>
              <p:cNvSpPr>
                <a:spLocks/>
              </p:cNvSpPr>
              <p:nvPr/>
            </p:nvSpPr>
            <p:spPr bwMode="auto">
              <a:xfrm>
                <a:off x="4967288" y="5326063"/>
                <a:ext cx="184150" cy="106363"/>
              </a:xfrm>
              <a:custGeom>
                <a:avLst/>
                <a:gdLst>
                  <a:gd name="T0" fmla="*/ 1106 w 1159"/>
                  <a:gd name="T1" fmla="*/ 0 h 675"/>
                  <a:gd name="T2" fmla="*/ 1120 w 1159"/>
                  <a:gd name="T3" fmla="*/ 54 h 675"/>
                  <a:gd name="T4" fmla="*/ 1138 w 1159"/>
                  <a:gd name="T5" fmla="*/ 106 h 675"/>
                  <a:gd name="T6" fmla="*/ 1159 w 1159"/>
                  <a:gd name="T7" fmla="*/ 156 h 675"/>
                  <a:gd name="T8" fmla="*/ 651 w 1159"/>
                  <a:gd name="T9" fmla="*/ 326 h 675"/>
                  <a:gd name="T10" fmla="*/ 652 w 1159"/>
                  <a:gd name="T11" fmla="*/ 336 h 675"/>
                  <a:gd name="T12" fmla="*/ 653 w 1159"/>
                  <a:gd name="T13" fmla="*/ 348 h 675"/>
                  <a:gd name="T14" fmla="*/ 651 w 1159"/>
                  <a:gd name="T15" fmla="*/ 392 h 675"/>
                  <a:gd name="T16" fmla="*/ 642 w 1159"/>
                  <a:gd name="T17" fmla="*/ 435 h 675"/>
                  <a:gd name="T18" fmla="*/ 628 w 1159"/>
                  <a:gd name="T19" fmla="*/ 475 h 675"/>
                  <a:gd name="T20" fmla="*/ 609 w 1159"/>
                  <a:gd name="T21" fmla="*/ 513 h 675"/>
                  <a:gd name="T22" fmla="*/ 586 w 1159"/>
                  <a:gd name="T23" fmla="*/ 547 h 675"/>
                  <a:gd name="T24" fmla="*/ 558 w 1159"/>
                  <a:gd name="T25" fmla="*/ 579 h 675"/>
                  <a:gd name="T26" fmla="*/ 527 w 1159"/>
                  <a:gd name="T27" fmla="*/ 607 h 675"/>
                  <a:gd name="T28" fmla="*/ 491 w 1159"/>
                  <a:gd name="T29" fmla="*/ 630 h 675"/>
                  <a:gd name="T30" fmla="*/ 454 w 1159"/>
                  <a:gd name="T31" fmla="*/ 649 h 675"/>
                  <a:gd name="T32" fmla="*/ 414 w 1159"/>
                  <a:gd name="T33" fmla="*/ 664 h 675"/>
                  <a:gd name="T34" fmla="*/ 370 w 1159"/>
                  <a:gd name="T35" fmla="*/ 671 h 675"/>
                  <a:gd name="T36" fmla="*/ 326 w 1159"/>
                  <a:gd name="T37" fmla="*/ 675 h 675"/>
                  <a:gd name="T38" fmla="*/ 282 w 1159"/>
                  <a:gd name="T39" fmla="*/ 671 h 675"/>
                  <a:gd name="T40" fmla="*/ 240 w 1159"/>
                  <a:gd name="T41" fmla="*/ 664 h 675"/>
                  <a:gd name="T42" fmla="*/ 200 w 1159"/>
                  <a:gd name="T43" fmla="*/ 649 h 675"/>
                  <a:gd name="T44" fmla="*/ 162 w 1159"/>
                  <a:gd name="T45" fmla="*/ 630 h 675"/>
                  <a:gd name="T46" fmla="*/ 126 w 1159"/>
                  <a:gd name="T47" fmla="*/ 607 h 675"/>
                  <a:gd name="T48" fmla="*/ 95 w 1159"/>
                  <a:gd name="T49" fmla="*/ 579 h 675"/>
                  <a:gd name="T50" fmla="*/ 68 w 1159"/>
                  <a:gd name="T51" fmla="*/ 547 h 675"/>
                  <a:gd name="T52" fmla="*/ 44 w 1159"/>
                  <a:gd name="T53" fmla="*/ 513 h 675"/>
                  <a:gd name="T54" fmla="*/ 26 w 1159"/>
                  <a:gd name="T55" fmla="*/ 475 h 675"/>
                  <a:gd name="T56" fmla="*/ 12 w 1159"/>
                  <a:gd name="T57" fmla="*/ 435 h 675"/>
                  <a:gd name="T58" fmla="*/ 3 w 1159"/>
                  <a:gd name="T59" fmla="*/ 392 h 675"/>
                  <a:gd name="T60" fmla="*/ 0 w 1159"/>
                  <a:gd name="T61" fmla="*/ 348 h 675"/>
                  <a:gd name="T62" fmla="*/ 3 w 1159"/>
                  <a:gd name="T63" fmla="*/ 303 h 675"/>
                  <a:gd name="T64" fmla="*/ 12 w 1159"/>
                  <a:gd name="T65" fmla="*/ 261 h 675"/>
                  <a:gd name="T66" fmla="*/ 26 w 1159"/>
                  <a:gd name="T67" fmla="*/ 221 h 675"/>
                  <a:gd name="T68" fmla="*/ 44 w 1159"/>
                  <a:gd name="T69" fmla="*/ 183 h 675"/>
                  <a:gd name="T70" fmla="*/ 68 w 1159"/>
                  <a:gd name="T71" fmla="*/ 148 h 675"/>
                  <a:gd name="T72" fmla="*/ 95 w 1159"/>
                  <a:gd name="T73" fmla="*/ 117 h 675"/>
                  <a:gd name="T74" fmla="*/ 126 w 1159"/>
                  <a:gd name="T75" fmla="*/ 89 h 675"/>
                  <a:gd name="T76" fmla="*/ 162 w 1159"/>
                  <a:gd name="T77" fmla="*/ 66 h 675"/>
                  <a:gd name="T78" fmla="*/ 200 w 1159"/>
                  <a:gd name="T79" fmla="*/ 47 h 675"/>
                  <a:gd name="T80" fmla="*/ 240 w 1159"/>
                  <a:gd name="T81" fmla="*/ 33 h 675"/>
                  <a:gd name="T82" fmla="*/ 282 w 1159"/>
                  <a:gd name="T83" fmla="*/ 25 h 675"/>
                  <a:gd name="T84" fmla="*/ 326 w 1159"/>
                  <a:gd name="T85" fmla="*/ 21 h 675"/>
                  <a:gd name="T86" fmla="*/ 369 w 1159"/>
                  <a:gd name="T87" fmla="*/ 24 h 675"/>
                  <a:gd name="T88" fmla="*/ 409 w 1159"/>
                  <a:gd name="T89" fmla="*/ 33 h 675"/>
                  <a:gd name="T90" fmla="*/ 448 w 1159"/>
                  <a:gd name="T91" fmla="*/ 45 h 675"/>
                  <a:gd name="T92" fmla="*/ 485 w 1159"/>
                  <a:gd name="T93" fmla="*/ 63 h 675"/>
                  <a:gd name="T94" fmla="*/ 518 w 1159"/>
                  <a:gd name="T95" fmla="*/ 84 h 675"/>
                  <a:gd name="T96" fmla="*/ 549 w 1159"/>
                  <a:gd name="T97" fmla="*/ 109 h 675"/>
                  <a:gd name="T98" fmla="*/ 577 w 1159"/>
                  <a:gd name="T99" fmla="*/ 138 h 675"/>
                  <a:gd name="T100" fmla="*/ 600 w 1159"/>
                  <a:gd name="T101" fmla="*/ 170 h 675"/>
                  <a:gd name="T102" fmla="*/ 1106 w 1159"/>
                  <a:gd name="T103" fmla="*/ 0 h 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59" h="675">
                    <a:moveTo>
                      <a:pt x="1106" y="0"/>
                    </a:moveTo>
                    <a:lnTo>
                      <a:pt x="1120" y="54"/>
                    </a:lnTo>
                    <a:lnTo>
                      <a:pt x="1138" y="106"/>
                    </a:lnTo>
                    <a:lnTo>
                      <a:pt x="1159" y="156"/>
                    </a:lnTo>
                    <a:lnTo>
                      <a:pt x="651" y="326"/>
                    </a:lnTo>
                    <a:lnTo>
                      <a:pt x="652" y="336"/>
                    </a:lnTo>
                    <a:lnTo>
                      <a:pt x="653" y="348"/>
                    </a:lnTo>
                    <a:lnTo>
                      <a:pt x="651" y="392"/>
                    </a:lnTo>
                    <a:lnTo>
                      <a:pt x="642" y="435"/>
                    </a:lnTo>
                    <a:lnTo>
                      <a:pt x="628" y="475"/>
                    </a:lnTo>
                    <a:lnTo>
                      <a:pt x="609" y="513"/>
                    </a:lnTo>
                    <a:lnTo>
                      <a:pt x="586" y="547"/>
                    </a:lnTo>
                    <a:lnTo>
                      <a:pt x="558" y="579"/>
                    </a:lnTo>
                    <a:lnTo>
                      <a:pt x="527" y="607"/>
                    </a:lnTo>
                    <a:lnTo>
                      <a:pt x="491" y="630"/>
                    </a:lnTo>
                    <a:lnTo>
                      <a:pt x="454" y="649"/>
                    </a:lnTo>
                    <a:lnTo>
                      <a:pt x="414" y="664"/>
                    </a:lnTo>
                    <a:lnTo>
                      <a:pt x="370" y="671"/>
                    </a:lnTo>
                    <a:lnTo>
                      <a:pt x="326" y="675"/>
                    </a:lnTo>
                    <a:lnTo>
                      <a:pt x="282" y="671"/>
                    </a:lnTo>
                    <a:lnTo>
                      <a:pt x="240" y="664"/>
                    </a:lnTo>
                    <a:lnTo>
                      <a:pt x="200" y="649"/>
                    </a:lnTo>
                    <a:lnTo>
                      <a:pt x="162" y="630"/>
                    </a:lnTo>
                    <a:lnTo>
                      <a:pt x="126" y="607"/>
                    </a:lnTo>
                    <a:lnTo>
                      <a:pt x="95" y="579"/>
                    </a:lnTo>
                    <a:lnTo>
                      <a:pt x="68" y="547"/>
                    </a:lnTo>
                    <a:lnTo>
                      <a:pt x="44" y="513"/>
                    </a:lnTo>
                    <a:lnTo>
                      <a:pt x="26" y="475"/>
                    </a:lnTo>
                    <a:lnTo>
                      <a:pt x="12" y="435"/>
                    </a:lnTo>
                    <a:lnTo>
                      <a:pt x="3" y="392"/>
                    </a:lnTo>
                    <a:lnTo>
                      <a:pt x="0" y="348"/>
                    </a:lnTo>
                    <a:lnTo>
                      <a:pt x="3" y="303"/>
                    </a:lnTo>
                    <a:lnTo>
                      <a:pt x="12" y="261"/>
                    </a:lnTo>
                    <a:lnTo>
                      <a:pt x="26" y="221"/>
                    </a:lnTo>
                    <a:lnTo>
                      <a:pt x="44" y="183"/>
                    </a:lnTo>
                    <a:lnTo>
                      <a:pt x="68" y="148"/>
                    </a:lnTo>
                    <a:lnTo>
                      <a:pt x="95" y="117"/>
                    </a:lnTo>
                    <a:lnTo>
                      <a:pt x="126" y="89"/>
                    </a:lnTo>
                    <a:lnTo>
                      <a:pt x="162" y="66"/>
                    </a:lnTo>
                    <a:lnTo>
                      <a:pt x="200" y="47"/>
                    </a:lnTo>
                    <a:lnTo>
                      <a:pt x="240" y="33"/>
                    </a:lnTo>
                    <a:lnTo>
                      <a:pt x="282" y="25"/>
                    </a:lnTo>
                    <a:lnTo>
                      <a:pt x="326" y="21"/>
                    </a:lnTo>
                    <a:lnTo>
                      <a:pt x="369" y="24"/>
                    </a:lnTo>
                    <a:lnTo>
                      <a:pt x="409" y="33"/>
                    </a:lnTo>
                    <a:lnTo>
                      <a:pt x="448" y="45"/>
                    </a:lnTo>
                    <a:lnTo>
                      <a:pt x="485" y="63"/>
                    </a:lnTo>
                    <a:lnTo>
                      <a:pt x="518" y="84"/>
                    </a:lnTo>
                    <a:lnTo>
                      <a:pt x="549" y="109"/>
                    </a:lnTo>
                    <a:lnTo>
                      <a:pt x="577" y="138"/>
                    </a:lnTo>
                    <a:lnTo>
                      <a:pt x="600" y="170"/>
                    </a:lnTo>
                    <a:lnTo>
                      <a:pt x="1106" y="0"/>
                    </a:lnTo>
                    <a:close/>
                  </a:path>
                </a:pathLst>
              </a:custGeom>
              <a:grpFill/>
              <a:ln w="0">
                <a:noFill/>
                <a:prstDash val="solid"/>
                <a:round/>
                <a:headEnd/>
                <a:tailEnd/>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endParaRPr>
              </a:p>
            </p:txBody>
          </p:sp>
          <p:sp>
            <p:nvSpPr>
              <p:cNvPr id="74" name="Freeform 69"/>
              <p:cNvSpPr>
                <a:spLocks/>
              </p:cNvSpPr>
              <p:nvPr/>
            </p:nvSpPr>
            <p:spPr bwMode="auto">
              <a:xfrm>
                <a:off x="5170488" y="5211763"/>
                <a:ext cx="177800" cy="177800"/>
              </a:xfrm>
              <a:custGeom>
                <a:avLst/>
                <a:gdLst>
                  <a:gd name="T0" fmla="*/ 561 w 1122"/>
                  <a:gd name="T1" fmla="*/ 0 h 1121"/>
                  <a:gd name="T2" fmla="*/ 622 w 1122"/>
                  <a:gd name="T3" fmla="*/ 3 h 1121"/>
                  <a:gd name="T4" fmla="*/ 681 w 1122"/>
                  <a:gd name="T5" fmla="*/ 13 h 1121"/>
                  <a:gd name="T6" fmla="*/ 738 w 1122"/>
                  <a:gd name="T7" fmla="*/ 29 h 1121"/>
                  <a:gd name="T8" fmla="*/ 792 w 1122"/>
                  <a:gd name="T9" fmla="*/ 50 h 1121"/>
                  <a:gd name="T10" fmla="*/ 843 w 1122"/>
                  <a:gd name="T11" fmla="*/ 76 h 1121"/>
                  <a:gd name="T12" fmla="*/ 892 w 1122"/>
                  <a:gd name="T13" fmla="*/ 108 h 1121"/>
                  <a:gd name="T14" fmla="*/ 937 w 1122"/>
                  <a:gd name="T15" fmla="*/ 145 h 1121"/>
                  <a:gd name="T16" fmla="*/ 976 w 1122"/>
                  <a:gd name="T17" fmla="*/ 185 h 1121"/>
                  <a:gd name="T18" fmla="*/ 1013 w 1122"/>
                  <a:gd name="T19" fmla="*/ 229 h 1121"/>
                  <a:gd name="T20" fmla="*/ 1045 w 1122"/>
                  <a:gd name="T21" fmla="*/ 278 h 1121"/>
                  <a:gd name="T22" fmla="*/ 1072 w 1122"/>
                  <a:gd name="T23" fmla="*/ 329 h 1121"/>
                  <a:gd name="T24" fmla="*/ 1093 w 1122"/>
                  <a:gd name="T25" fmla="*/ 383 h 1121"/>
                  <a:gd name="T26" fmla="*/ 1108 w 1122"/>
                  <a:gd name="T27" fmla="*/ 440 h 1121"/>
                  <a:gd name="T28" fmla="*/ 1118 w 1122"/>
                  <a:gd name="T29" fmla="*/ 499 h 1121"/>
                  <a:gd name="T30" fmla="*/ 1122 w 1122"/>
                  <a:gd name="T31" fmla="*/ 560 h 1121"/>
                  <a:gd name="T32" fmla="*/ 1118 w 1122"/>
                  <a:gd name="T33" fmla="*/ 621 h 1121"/>
                  <a:gd name="T34" fmla="*/ 1108 w 1122"/>
                  <a:gd name="T35" fmla="*/ 681 h 1121"/>
                  <a:gd name="T36" fmla="*/ 1093 w 1122"/>
                  <a:gd name="T37" fmla="*/ 737 h 1121"/>
                  <a:gd name="T38" fmla="*/ 1072 w 1122"/>
                  <a:gd name="T39" fmla="*/ 792 h 1121"/>
                  <a:gd name="T40" fmla="*/ 1045 w 1122"/>
                  <a:gd name="T41" fmla="*/ 843 h 1121"/>
                  <a:gd name="T42" fmla="*/ 1013 w 1122"/>
                  <a:gd name="T43" fmla="*/ 891 h 1121"/>
                  <a:gd name="T44" fmla="*/ 976 w 1122"/>
                  <a:gd name="T45" fmla="*/ 936 h 1121"/>
                  <a:gd name="T46" fmla="*/ 937 w 1122"/>
                  <a:gd name="T47" fmla="*/ 977 h 1121"/>
                  <a:gd name="T48" fmla="*/ 892 w 1122"/>
                  <a:gd name="T49" fmla="*/ 1012 h 1121"/>
                  <a:gd name="T50" fmla="*/ 843 w 1122"/>
                  <a:gd name="T51" fmla="*/ 1044 h 1121"/>
                  <a:gd name="T52" fmla="*/ 792 w 1122"/>
                  <a:gd name="T53" fmla="*/ 1071 h 1121"/>
                  <a:gd name="T54" fmla="*/ 738 w 1122"/>
                  <a:gd name="T55" fmla="*/ 1092 h 1121"/>
                  <a:gd name="T56" fmla="*/ 681 w 1122"/>
                  <a:gd name="T57" fmla="*/ 1108 h 1121"/>
                  <a:gd name="T58" fmla="*/ 622 w 1122"/>
                  <a:gd name="T59" fmla="*/ 1118 h 1121"/>
                  <a:gd name="T60" fmla="*/ 561 w 1122"/>
                  <a:gd name="T61" fmla="*/ 1121 h 1121"/>
                  <a:gd name="T62" fmla="*/ 500 w 1122"/>
                  <a:gd name="T63" fmla="*/ 1118 h 1121"/>
                  <a:gd name="T64" fmla="*/ 441 w 1122"/>
                  <a:gd name="T65" fmla="*/ 1108 h 1121"/>
                  <a:gd name="T66" fmla="*/ 384 w 1122"/>
                  <a:gd name="T67" fmla="*/ 1092 h 1121"/>
                  <a:gd name="T68" fmla="*/ 330 w 1122"/>
                  <a:gd name="T69" fmla="*/ 1071 h 1121"/>
                  <a:gd name="T70" fmla="*/ 279 w 1122"/>
                  <a:gd name="T71" fmla="*/ 1044 h 1121"/>
                  <a:gd name="T72" fmla="*/ 230 w 1122"/>
                  <a:gd name="T73" fmla="*/ 1012 h 1121"/>
                  <a:gd name="T74" fmla="*/ 186 w 1122"/>
                  <a:gd name="T75" fmla="*/ 977 h 1121"/>
                  <a:gd name="T76" fmla="*/ 145 w 1122"/>
                  <a:gd name="T77" fmla="*/ 936 h 1121"/>
                  <a:gd name="T78" fmla="*/ 109 w 1122"/>
                  <a:gd name="T79" fmla="*/ 891 h 1121"/>
                  <a:gd name="T80" fmla="*/ 77 w 1122"/>
                  <a:gd name="T81" fmla="*/ 843 h 1121"/>
                  <a:gd name="T82" fmla="*/ 50 w 1122"/>
                  <a:gd name="T83" fmla="*/ 792 h 1121"/>
                  <a:gd name="T84" fmla="*/ 29 w 1122"/>
                  <a:gd name="T85" fmla="*/ 737 h 1121"/>
                  <a:gd name="T86" fmla="*/ 14 w 1122"/>
                  <a:gd name="T87" fmla="*/ 681 h 1121"/>
                  <a:gd name="T88" fmla="*/ 4 w 1122"/>
                  <a:gd name="T89" fmla="*/ 621 h 1121"/>
                  <a:gd name="T90" fmla="*/ 0 w 1122"/>
                  <a:gd name="T91" fmla="*/ 560 h 1121"/>
                  <a:gd name="T92" fmla="*/ 4 w 1122"/>
                  <a:gd name="T93" fmla="*/ 499 h 1121"/>
                  <a:gd name="T94" fmla="*/ 14 w 1122"/>
                  <a:gd name="T95" fmla="*/ 440 h 1121"/>
                  <a:gd name="T96" fmla="*/ 29 w 1122"/>
                  <a:gd name="T97" fmla="*/ 383 h 1121"/>
                  <a:gd name="T98" fmla="*/ 50 w 1122"/>
                  <a:gd name="T99" fmla="*/ 329 h 1121"/>
                  <a:gd name="T100" fmla="*/ 77 w 1122"/>
                  <a:gd name="T101" fmla="*/ 278 h 1121"/>
                  <a:gd name="T102" fmla="*/ 109 w 1122"/>
                  <a:gd name="T103" fmla="*/ 229 h 1121"/>
                  <a:gd name="T104" fmla="*/ 145 w 1122"/>
                  <a:gd name="T105" fmla="*/ 185 h 1121"/>
                  <a:gd name="T106" fmla="*/ 186 w 1122"/>
                  <a:gd name="T107" fmla="*/ 145 h 1121"/>
                  <a:gd name="T108" fmla="*/ 230 w 1122"/>
                  <a:gd name="T109" fmla="*/ 108 h 1121"/>
                  <a:gd name="T110" fmla="*/ 279 w 1122"/>
                  <a:gd name="T111" fmla="*/ 76 h 1121"/>
                  <a:gd name="T112" fmla="*/ 330 w 1122"/>
                  <a:gd name="T113" fmla="*/ 50 h 1121"/>
                  <a:gd name="T114" fmla="*/ 384 w 1122"/>
                  <a:gd name="T115" fmla="*/ 29 h 1121"/>
                  <a:gd name="T116" fmla="*/ 441 w 1122"/>
                  <a:gd name="T117" fmla="*/ 13 h 1121"/>
                  <a:gd name="T118" fmla="*/ 500 w 1122"/>
                  <a:gd name="T119" fmla="*/ 3 h 1121"/>
                  <a:gd name="T120" fmla="*/ 561 w 1122"/>
                  <a:gd name="T121" fmla="*/ 0 h 1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22" h="1121">
                    <a:moveTo>
                      <a:pt x="561" y="0"/>
                    </a:moveTo>
                    <a:lnTo>
                      <a:pt x="622" y="3"/>
                    </a:lnTo>
                    <a:lnTo>
                      <a:pt x="681" y="13"/>
                    </a:lnTo>
                    <a:lnTo>
                      <a:pt x="738" y="29"/>
                    </a:lnTo>
                    <a:lnTo>
                      <a:pt x="792" y="50"/>
                    </a:lnTo>
                    <a:lnTo>
                      <a:pt x="843" y="76"/>
                    </a:lnTo>
                    <a:lnTo>
                      <a:pt x="892" y="108"/>
                    </a:lnTo>
                    <a:lnTo>
                      <a:pt x="937" y="145"/>
                    </a:lnTo>
                    <a:lnTo>
                      <a:pt x="976" y="185"/>
                    </a:lnTo>
                    <a:lnTo>
                      <a:pt x="1013" y="229"/>
                    </a:lnTo>
                    <a:lnTo>
                      <a:pt x="1045" y="278"/>
                    </a:lnTo>
                    <a:lnTo>
                      <a:pt x="1072" y="329"/>
                    </a:lnTo>
                    <a:lnTo>
                      <a:pt x="1093" y="383"/>
                    </a:lnTo>
                    <a:lnTo>
                      <a:pt x="1108" y="440"/>
                    </a:lnTo>
                    <a:lnTo>
                      <a:pt x="1118" y="499"/>
                    </a:lnTo>
                    <a:lnTo>
                      <a:pt x="1122" y="560"/>
                    </a:lnTo>
                    <a:lnTo>
                      <a:pt x="1118" y="621"/>
                    </a:lnTo>
                    <a:lnTo>
                      <a:pt x="1108" y="681"/>
                    </a:lnTo>
                    <a:lnTo>
                      <a:pt x="1093" y="737"/>
                    </a:lnTo>
                    <a:lnTo>
                      <a:pt x="1072" y="792"/>
                    </a:lnTo>
                    <a:lnTo>
                      <a:pt x="1045" y="843"/>
                    </a:lnTo>
                    <a:lnTo>
                      <a:pt x="1013" y="891"/>
                    </a:lnTo>
                    <a:lnTo>
                      <a:pt x="976" y="936"/>
                    </a:lnTo>
                    <a:lnTo>
                      <a:pt x="937" y="977"/>
                    </a:lnTo>
                    <a:lnTo>
                      <a:pt x="892" y="1012"/>
                    </a:lnTo>
                    <a:lnTo>
                      <a:pt x="843" y="1044"/>
                    </a:lnTo>
                    <a:lnTo>
                      <a:pt x="792" y="1071"/>
                    </a:lnTo>
                    <a:lnTo>
                      <a:pt x="738" y="1092"/>
                    </a:lnTo>
                    <a:lnTo>
                      <a:pt x="681" y="1108"/>
                    </a:lnTo>
                    <a:lnTo>
                      <a:pt x="622" y="1118"/>
                    </a:lnTo>
                    <a:lnTo>
                      <a:pt x="561" y="1121"/>
                    </a:lnTo>
                    <a:lnTo>
                      <a:pt x="500" y="1118"/>
                    </a:lnTo>
                    <a:lnTo>
                      <a:pt x="441" y="1108"/>
                    </a:lnTo>
                    <a:lnTo>
                      <a:pt x="384" y="1092"/>
                    </a:lnTo>
                    <a:lnTo>
                      <a:pt x="330" y="1071"/>
                    </a:lnTo>
                    <a:lnTo>
                      <a:pt x="279" y="1044"/>
                    </a:lnTo>
                    <a:lnTo>
                      <a:pt x="230" y="1012"/>
                    </a:lnTo>
                    <a:lnTo>
                      <a:pt x="186" y="977"/>
                    </a:lnTo>
                    <a:lnTo>
                      <a:pt x="145" y="936"/>
                    </a:lnTo>
                    <a:lnTo>
                      <a:pt x="109" y="891"/>
                    </a:lnTo>
                    <a:lnTo>
                      <a:pt x="77" y="843"/>
                    </a:lnTo>
                    <a:lnTo>
                      <a:pt x="50" y="792"/>
                    </a:lnTo>
                    <a:lnTo>
                      <a:pt x="29" y="737"/>
                    </a:lnTo>
                    <a:lnTo>
                      <a:pt x="14" y="681"/>
                    </a:lnTo>
                    <a:lnTo>
                      <a:pt x="4" y="621"/>
                    </a:lnTo>
                    <a:lnTo>
                      <a:pt x="0" y="560"/>
                    </a:lnTo>
                    <a:lnTo>
                      <a:pt x="4" y="499"/>
                    </a:lnTo>
                    <a:lnTo>
                      <a:pt x="14" y="440"/>
                    </a:lnTo>
                    <a:lnTo>
                      <a:pt x="29" y="383"/>
                    </a:lnTo>
                    <a:lnTo>
                      <a:pt x="50" y="329"/>
                    </a:lnTo>
                    <a:lnTo>
                      <a:pt x="77" y="278"/>
                    </a:lnTo>
                    <a:lnTo>
                      <a:pt x="109" y="229"/>
                    </a:lnTo>
                    <a:lnTo>
                      <a:pt x="145" y="185"/>
                    </a:lnTo>
                    <a:lnTo>
                      <a:pt x="186" y="145"/>
                    </a:lnTo>
                    <a:lnTo>
                      <a:pt x="230" y="108"/>
                    </a:lnTo>
                    <a:lnTo>
                      <a:pt x="279" y="76"/>
                    </a:lnTo>
                    <a:lnTo>
                      <a:pt x="330" y="50"/>
                    </a:lnTo>
                    <a:lnTo>
                      <a:pt x="384" y="29"/>
                    </a:lnTo>
                    <a:lnTo>
                      <a:pt x="441" y="13"/>
                    </a:lnTo>
                    <a:lnTo>
                      <a:pt x="500" y="3"/>
                    </a:lnTo>
                    <a:lnTo>
                      <a:pt x="561" y="0"/>
                    </a:lnTo>
                    <a:close/>
                  </a:path>
                </a:pathLst>
              </a:custGeom>
              <a:grpFill/>
              <a:ln w="0">
                <a:noFill/>
                <a:prstDash val="solid"/>
                <a:round/>
                <a:headEnd/>
                <a:tailEnd/>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endParaRPr>
              </a:p>
            </p:txBody>
          </p:sp>
        </p:grpSp>
      </p:grpSp>
      <p:sp>
        <p:nvSpPr>
          <p:cNvPr id="99" name="TextBox 98"/>
          <p:cNvSpPr txBox="1"/>
          <p:nvPr/>
        </p:nvSpPr>
        <p:spPr>
          <a:xfrm>
            <a:off x="7544753" y="1768952"/>
            <a:ext cx="2849149" cy="707702"/>
          </a:xfrm>
          <a:prstGeom prst="rect">
            <a:avLst/>
          </a:prstGeom>
          <a:noFill/>
        </p:spPr>
        <p:txBody>
          <a:bodyPr wrap="square" rtlCol="0">
            <a:spAutoFit/>
          </a:bodyPr>
          <a:lstStyle/>
          <a:p>
            <a:r>
              <a:rPr lang="en-US" sz="1999" dirty="0">
                <a:solidFill>
                  <a:schemeClr val="tx1">
                    <a:lumMod val="75000"/>
                    <a:lumOff val="25000"/>
                  </a:schemeClr>
                </a:solidFill>
                <a:cs typeface="Arial" panose="020B0604020202020204" pitchFamily="34" charset="0"/>
              </a:rPr>
              <a:t>Current Billing Period to Date</a:t>
            </a:r>
          </a:p>
        </p:txBody>
      </p:sp>
      <p:sp>
        <p:nvSpPr>
          <p:cNvPr id="137" name="TextBox 136"/>
          <p:cNvSpPr txBox="1"/>
          <p:nvPr/>
        </p:nvSpPr>
        <p:spPr>
          <a:xfrm>
            <a:off x="1262858" y="3068703"/>
            <a:ext cx="2849149" cy="1015399"/>
          </a:xfrm>
          <a:prstGeom prst="rect">
            <a:avLst/>
          </a:prstGeom>
          <a:noFill/>
        </p:spPr>
        <p:txBody>
          <a:bodyPr wrap="square" rtlCol="0">
            <a:spAutoFit/>
          </a:bodyPr>
          <a:lstStyle/>
          <a:p>
            <a:pPr algn="r"/>
            <a:r>
              <a:rPr lang="en-US" sz="1999" dirty="0">
                <a:solidFill>
                  <a:schemeClr val="tx1">
                    <a:lumMod val="75000"/>
                    <a:lumOff val="25000"/>
                  </a:schemeClr>
                </a:solidFill>
                <a:cs typeface="Arial" panose="020B0604020202020204" pitchFamily="34" charset="0"/>
              </a:rPr>
              <a:t>Cumulative and Detailed Org Level Summary</a:t>
            </a:r>
          </a:p>
        </p:txBody>
      </p:sp>
      <p:sp>
        <p:nvSpPr>
          <p:cNvPr id="139" name="TextBox 138"/>
          <p:cNvSpPr txBox="1"/>
          <p:nvPr/>
        </p:nvSpPr>
        <p:spPr>
          <a:xfrm>
            <a:off x="7716525" y="3173657"/>
            <a:ext cx="2849149" cy="400006"/>
          </a:xfrm>
          <a:prstGeom prst="rect">
            <a:avLst/>
          </a:prstGeom>
          <a:noFill/>
        </p:spPr>
        <p:txBody>
          <a:bodyPr wrap="square" rtlCol="0">
            <a:spAutoFit/>
          </a:bodyPr>
          <a:lstStyle/>
          <a:p>
            <a:r>
              <a:rPr lang="en-US" sz="1999" dirty="0">
                <a:solidFill>
                  <a:schemeClr val="tx1">
                    <a:lumMod val="75000"/>
                    <a:lumOff val="25000"/>
                  </a:schemeClr>
                </a:solidFill>
                <a:cs typeface="Arial" panose="020B0604020202020204" pitchFamily="34" charset="0"/>
              </a:rPr>
              <a:t>History</a:t>
            </a:r>
          </a:p>
        </p:txBody>
      </p:sp>
      <p:sp>
        <p:nvSpPr>
          <p:cNvPr id="141" name="TextBox 140"/>
          <p:cNvSpPr txBox="1"/>
          <p:nvPr/>
        </p:nvSpPr>
        <p:spPr>
          <a:xfrm>
            <a:off x="8244936" y="4690378"/>
            <a:ext cx="2849149" cy="400006"/>
          </a:xfrm>
          <a:prstGeom prst="rect">
            <a:avLst/>
          </a:prstGeom>
          <a:noFill/>
        </p:spPr>
        <p:txBody>
          <a:bodyPr wrap="square" rtlCol="0">
            <a:spAutoFit/>
          </a:bodyPr>
          <a:lstStyle/>
          <a:p>
            <a:r>
              <a:rPr lang="en-US" sz="1999" dirty="0">
                <a:solidFill>
                  <a:schemeClr val="tx1">
                    <a:lumMod val="75000"/>
                    <a:lumOff val="25000"/>
                  </a:schemeClr>
                </a:solidFill>
                <a:cs typeface="Arial" panose="020B0604020202020204" pitchFamily="34" charset="0"/>
              </a:rPr>
              <a:t>Trending</a:t>
            </a:r>
          </a:p>
        </p:txBody>
      </p:sp>
      <p:sp>
        <p:nvSpPr>
          <p:cNvPr id="143" name="TextBox 142"/>
          <p:cNvSpPr txBox="1"/>
          <p:nvPr/>
        </p:nvSpPr>
        <p:spPr>
          <a:xfrm>
            <a:off x="1094740" y="4745800"/>
            <a:ext cx="2849149" cy="400006"/>
          </a:xfrm>
          <a:prstGeom prst="rect">
            <a:avLst/>
          </a:prstGeom>
          <a:noFill/>
        </p:spPr>
        <p:txBody>
          <a:bodyPr wrap="square" rtlCol="0">
            <a:spAutoFit/>
          </a:bodyPr>
          <a:lstStyle/>
          <a:p>
            <a:pPr algn="r"/>
            <a:r>
              <a:rPr lang="en-US" sz="1999" dirty="0">
                <a:solidFill>
                  <a:schemeClr val="tx1">
                    <a:lumMod val="75000"/>
                    <a:lumOff val="25000"/>
                  </a:schemeClr>
                </a:solidFill>
                <a:cs typeface="Arial" panose="020B0604020202020204" pitchFamily="34" charset="0"/>
              </a:rPr>
              <a:t>Usage by Service</a:t>
            </a:r>
          </a:p>
        </p:txBody>
      </p:sp>
      <p:sp>
        <p:nvSpPr>
          <p:cNvPr id="76" name="TextBox 75">
            <a:extLst>
              <a:ext uri="{FF2B5EF4-FFF2-40B4-BE49-F238E27FC236}">
                <a16:creationId xmlns:a16="http://schemas.microsoft.com/office/drawing/2014/main" id="{A04CB870-8318-4E2E-8736-B42AB7D25808}"/>
              </a:ext>
            </a:extLst>
          </p:cNvPr>
          <p:cNvSpPr txBox="1"/>
          <p:nvPr/>
        </p:nvSpPr>
        <p:spPr>
          <a:xfrm>
            <a:off x="1786342" y="1934094"/>
            <a:ext cx="2849149" cy="707702"/>
          </a:xfrm>
          <a:prstGeom prst="rect">
            <a:avLst/>
          </a:prstGeom>
          <a:noFill/>
        </p:spPr>
        <p:txBody>
          <a:bodyPr wrap="square" rtlCol="0">
            <a:spAutoFit/>
          </a:bodyPr>
          <a:lstStyle/>
          <a:p>
            <a:pPr algn="r"/>
            <a:r>
              <a:rPr lang="en-US" sz="1999" dirty="0">
                <a:solidFill>
                  <a:schemeClr val="tx1">
                    <a:lumMod val="75000"/>
                    <a:lumOff val="25000"/>
                  </a:schemeClr>
                </a:solidFill>
                <a:cs typeface="Arial" panose="020B0604020202020204" pitchFamily="34" charset="0"/>
              </a:rPr>
              <a:t>Entitlement Vs Consumption</a:t>
            </a:r>
          </a:p>
        </p:txBody>
      </p:sp>
      <p:pic>
        <p:nvPicPr>
          <p:cNvPr id="5" name="Graphic 4" descr="Statistics with solid fill">
            <a:extLst>
              <a:ext uri="{FF2B5EF4-FFF2-40B4-BE49-F238E27FC236}">
                <a16:creationId xmlns:a16="http://schemas.microsoft.com/office/drawing/2014/main" id="{45E16E45-77E8-447C-93E4-9B9470509DD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550113" y="4584528"/>
            <a:ext cx="914162" cy="914162"/>
          </a:xfrm>
          <a:prstGeom prst="rect">
            <a:avLst/>
          </a:prstGeom>
        </p:spPr>
      </p:pic>
      <p:pic>
        <p:nvPicPr>
          <p:cNvPr id="13" name="Graphic 12" descr="History with solid fill">
            <a:extLst>
              <a:ext uri="{FF2B5EF4-FFF2-40B4-BE49-F238E27FC236}">
                <a16:creationId xmlns:a16="http://schemas.microsoft.com/office/drawing/2014/main" id="{7DFDBB0D-CF87-47CA-973C-3C442617E75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287253" y="3072320"/>
            <a:ext cx="914162" cy="914162"/>
          </a:xfrm>
          <a:prstGeom prst="rect">
            <a:avLst/>
          </a:prstGeom>
        </p:spPr>
      </p:pic>
      <p:sp>
        <p:nvSpPr>
          <p:cNvPr id="14" name="TextBox 13">
            <a:extLst>
              <a:ext uri="{FF2B5EF4-FFF2-40B4-BE49-F238E27FC236}">
                <a16:creationId xmlns:a16="http://schemas.microsoft.com/office/drawing/2014/main" id="{1C134BC0-F2D3-461F-A992-1DAD7D8FDC65}"/>
              </a:ext>
            </a:extLst>
          </p:cNvPr>
          <p:cNvSpPr txBox="1"/>
          <p:nvPr/>
        </p:nvSpPr>
        <p:spPr>
          <a:xfrm>
            <a:off x="7716523" y="6483131"/>
            <a:ext cx="1961217" cy="914162"/>
          </a:xfrm>
          <a:prstGeom prst="rect">
            <a:avLst/>
          </a:prstGeom>
          <a:noFill/>
        </p:spPr>
        <p:txBody>
          <a:bodyPr wrap="none" lIns="0" tIns="0" rIns="0" bIns="0" rtlCol="0">
            <a:noAutofit/>
          </a:bodyPr>
          <a:lstStyle/>
          <a:p>
            <a:pPr>
              <a:lnSpc>
                <a:spcPct val="90000"/>
              </a:lnSpc>
              <a:spcAft>
                <a:spcPts val="1000"/>
              </a:spcAft>
            </a:pPr>
            <a:r>
              <a:rPr lang="en-US" sz="1799" dirty="0">
                <a:latin typeface="Roboto" charset="0"/>
                <a:ea typeface="Roboto" charset="0"/>
                <a:cs typeface="Roboto" charset="0"/>
                <a:hlinkClick r:id="rId7"/>
              </a:rPr>
              <a:t>Cassini - ICDM</a:t>
            </a:r>
            <a:endParaRPr lang="en-US" sz="1799" dirty="0">
              <a:latin typeface="Roboto" charset="0"/>
              <a:ea typeface="Roboto" charset="0"/>
              <a:cs typeface="Roboto" charset="0"/>
            </a:endParaRPr>
          </a:p>
        </p:txBody>
      </p:sp>
    </p:spTree>
    <p:extLst>
      <p:ext uri="{BB962C8B-B14F-4D97-AF65-F5344CB8AC3E}">
        <p14:creationId xmlns:p14="http://schemas.microsoft.com/office/powerpoint/2010/main" val="1389149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2AB3401-B94F-45E8-9BD2-8F1CBAE50AA2}"/>
              </a:ext>
            </a:extLst>
          </p:cNvPr>
          <p:cNvSpPr>
            <a:spLocks noGrp="1"/>
          </p:cNvSpPr>
          <p:nvPr>
            <p:ph sz="quarter" idx="14"/>
          </p:nvPr>
        </p:nvSpPr>
        <p:spPr/>
        <p:txBody>
          <a:bodyPr/>
          <a:lstStyle/>
          <a:p>
            <a:endParaRPr lang="en-US"/>
          </a:p>
        </p:txBody>
      </p:sp>
      <p:sp>
        <p:nvSpPr>
          <p:cNvPr id="3" name="Title 2">
            <a:extLst>
              <a:ext uri="{FF2B5EF4-FFF2-40B4-BE49-F238E27FC236}">
                <a16:creationId xmlns:a16="http://schemas.microsoft.com/office/drawing/2014/main" id="{73B2117A-F487-4307-ABCB-4136CAB44619}"/>
              </a:ext>
            </a:extLst>
          </p:cNvPr>
          <p:cNvSpPr>
            <a:spLocks noGrp="1"/>
          </p:cNvSpPr>
          <p:nvPr>
            <p:ph type="title"/>
          </p:nvPr>
        </p:nvSpPr>
        <p:spPr/>
        <p:txBody>
          <a:bodyPr/>
          <a:lstStyle/>
          <a:p>
            <a:r>
              <a:rPr lang="en-US" dirty="0"/>
              <a:t>Agenda</a:t>
            </a:r>
          </a:p>
        </p:txBody>
      </p:sp>
    </p:spTree>
    <p:extLst>
      <p:ext uri="{BB962C8B-B14F-4D97-AF65-F5344CB8AC3E}">
        <p14:creationId xmlns:p14="http://schemas.microsoft.com/office/powerpoint/2010/main" val="3681119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58C416B-22C5-465B-B532-522AE8B21B97}"/>
              </a:ext>
            </a:extLst>
          </p:cNvPr>
          <p:cNvGraphicFramePr>
            <a:graphicFrameLocks noChangeAspect="1"/>
          </p:cNvGraphicFramePr>
          <p:nvPr>
            <p:custDataLst>
              <p:tags r:id="rId2"/>
            </p:custDataLst>
          </p:nvPr>
        </p:nvGraphicFramePr>
        <p:xfrm>
          <a:off x="1587" y="2480"/>
          <a:ext cx="1588" cy="1588"/>
        </p:xfrm>
        <a:graphic>
          <a:graphicData uri="http://schemas.openxmlformats.org/presentationml/2006/ole">
            <mc:AlternateContent xmlns:mc="http://schemas.openxmlformats.org/markup-compatibility/2006">
              <mc:Choice xmlns:v="urn:schemas-microsoft-com:vml" Requires="v">
                <p:oleObj spid="_x0000_s182273" name="think-cell Slide" r:id="rId5" imgW="592" imgH="595" progId="TCLayout.ActiveDocument.1">
                  <p:embed/>
                </p:oleObj>
              </mc:Choice>
              <mc:Fallback>
                <p:oleObj name="think-cell Slide" r:id="rId5" imgW="592" imgH="595" progId="TCLayout.ActiveDocument.1">
                  <p:embed/>
                  <p:pic>
                    <p:nvPicPr>
                      <p:cNvPr id="4" name="Object 3" hidden="1">
                        <a:extLst>
                          <a:ext uri="{FF2B5EF4-FFF2-40B4-BE49-F238E27FC236}">
                            <a16:creationId xmlns:a16="http://schemas.microsoft.com/office/drawing/2014/main" id="{D58C416B-22C5-465B-B532-522AE8B21B97}"/>
                          </a:ext>
                        </a:extLst>
                      </p:cNvPr>
                      <p:cNvPicPr/>
                      <p:nvPr/>
                    </p:nvPicPr>
                    <p:blipFill>
                      <a:blip r:embed="rId6"/>
                      <a:stretch>
                        <a:fillRect/>
                      </a:stretch>
                    </p:blipFill>
                    <p:spPr>
                      <a:xfrm>
                        <a:off x="1587" y="2480"/>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A6BD966C-BCDE-4FA4-812F-E286CDE55900}"/>
              </a:ext>
            </a:extLst>
          </p:cNvPr>
          <p:cNvSpPr>
            <a:spLocks noGrp="1"/>
          </p:cNvSpPr>
          <p:nvPr>
            <p:ph type="body" sz="quarter" idx="11"/>
          </p:nvPr>
        </p:nvSpPr>
        <p:spPr/>
        <p:txBody>
          <a:bodyPr/>
          <a:lstStyle/>
          <a:p>
            <a:r>
              <a:rPr lang="en-US" sz="4799" dirty="0">
                <a:latin typeface="Roboto" panose="02000000000000000000" pitchFamily="2" charset="0"/>
                <a:ea typeface="Roboto" panose="02000000000000000000" pitchFamily="2" charset="0"/>
                <a:cs typeface="Roboto" panose="02000000000000000000" pitchFamily="2" charset="0"/>
              </a:rPr>
              <a:t>Appendix</a:t>
            </a:r>
            <a:endParaRPr lang="en-US" sz="3199" dirty="0">
              <a:latin typeface="Roboto" panose="02000000000000000000" pitchFamily="2" charset="0"/>
              <a:ea typeface="Roboto" panose="02000000000000000000" pitchFamily="2" charset="0"/>
              <a:cs typeface="Roboto" panose="02000000000000000000" pitchFamily="2" charset="0"/>
            </a:endParaRPr>
          </a:p>
        </p:txBody>
      </p:sp>
      <p:sp>
        <p:nvSpPr>
          <p:cNvPr id="7" name="Text Placeholder 6">
            <a:extLst>
              <a:ext uri="{FF2B5EF4-FFF2-40B4-BE49-F238E27FC236}">
                <a16:creationId xmlns:a16="http://schemas.microsoft.com/office/drawing/2014/main" id="{7C0A7F28-8674-40B4-AC36-702C4DCF4EBB}"/>
              </a:ext>
            </a:extLst>
          </p:cNvPr>
          <p:cNvSpPr>
            <a:spLocks noGrp="1"/>
          </p:cNvSpPr>
          <p:nvPr>
            <p:ph type="body" sz="quarter" idx="12"/>
          </p:nvPr>
        </p:nvSpPr>
        <p:spPr/>
        <p:txBody>
          <a:bodyPr/>
          <a:lstStyle/>
          <a:p>
            <a:r>
              <a:rPr lang="en-IN" dirty="0"/>
              <a:t>.</a:t>
            </a:r>
          </a:p>
        </p:txBody>
      </p:sp>
    </p:spTree>
    <p:extLst>
      <p:ext uri="{BB962C8B-B14F-4D97-AF65-F5344CB8AC3E}">
        <p14:creationId xmlns:p14="http://schemas.microsoft.com/office/powerpoint/2010/main" val="2884896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22">
            <a:extLst>
              <a:ext uri="{FF2B5EF4-FFF2-40B4-BE49-F238E27FC236}">
                <a16:creationId xmlns:a16="http://schemas.microsoft.com/office/drawing/2014/main" id="{24FB8532-3D96-47AA-BEA8-1988E25F8487}"/>
              </a:ext>
            </a:extLst>
          </p:cNvPr>
          <p:cNvSpPr txBox="1"/>
          <p:nvPr/>
        </p:nvSpPr>
        <p:spPr>
          <a:xfrm>
            <a:off x="483969" y="263644"/>
            <a:ext cx="2113079" cy="707758"/>
          </a:xfrm>
          <a:prstGeom prst="rect">
            <a:avLst/>
          </a:prstGeom>
          <a:noFill/>
        </p:spPr>
        <p:txBody>
          <a:bodyPr wrap="none" rtlCol="0">
            <a:spAutoFit/>
          </a:bodyPr>
          <a:lstStyle/>
          <a:p>
            <a:pPr defTabSz="457063">
              <a:defRPr/>
            </a:pPr>
            <a:r>
              <a:rPr lang="en-US" sz="3999" b="1" spc="50" dirty="0">
                <a:gradFill>
                  <a:gsLst>
                    <a:gs pos="0">
                      <a:srgbClr val="FF4D00">
                        <a:alpha val="85000"/>
                      </a:srgbClr>
                    </a:gs>
                    <a:gs pos="97000">
                      <a:srgbClr val="FF7D00">
                        <a:alpha val="88000"/>
                      </a:srgbClr>
                    </a:gs>
                  </a:gsLst>
                  <a:lin ang="10200000" scaled="0"/>
                </a:gradFill>
                <a:latin typeface="Roboto" panose="02000000000000000000" pitchFamily="2" charset="0"/>
                <a:ea typeface="Roboto" panose="02000000000000000000" pitchFamily="2" charset="0"/>
                <a:cs typeface="Roboto" panose="02000000000000000000" pitchFamily="2" charset="0"/>
              </a:rPr>
              <a:t>Jargons</a:t>
            </a:r>
          </a:p>
        </p:txBody>
      </p:sp>
      <p:sp>
        <p:nvSpPr>
          <p:cNvPr id="4" name="TextBox 3">
            <a:extLst>
              <a:ext uri="{FF2B5EF4-FFF2-40B4-BE49-F238E27FC236}">
                <a16:creationId xmlns:a16="http://schemas.microsoft.com/office/drawing/2014/main" id="{E65D4282-220D-484D-B0C2-CC3AE6E5B9F0}"/>
              </a:ext>
            </a:extLst>
          </p:cNvPr>
          <p:cNvSpPr txBox="1"/>
          <p:nvPr/>
        </p:nvSpPr>
        <p:spPr>
          <a:xfrm>
            <a:off x="995289" y="1504409"/>
            <a:ext cx="5181540" cy="5353591"/>
          </a:xfrm>
          <a:prstGeom prst="rect">
            <a:avLst/>
          </a:prstGeom>
          <a:noFill/>
        </p:spPr>
        <p:txBody>
          <a:bodyPr wrap="square" lIns="0" tIns="0" rIns="0" bIns="0" rtlCol="0">
            <a:noAutofit/>
          </a:bodyPr>
          <a:lstStyle/>
          <a:p>
            <a:pPr marL="457063" indent="-457063">
              <a:lnSpc>
                <a:spcPct val="90000"/>
              </a:lnSpc>
              <a:spcAft>
                <a:spcPts val="1000"/>
              </a:spcAft>
              <a:buFont typeface="Arial" panose="020B0604020202020204" pitchFamily="34" charset="0"/>
              <a:buChar char="•"/>
            </a:pPr>
            <a:r>
              <a:rPr lang="en-US" sz="1400" b="1" dirty="0">
                <a:latin typeface="Roboto" charset="0"/>
                <a:ea typeface="Roboto" charset="0"/>
                <a:cs typeface="Roboto" charset="0"/>
                <a:hlinkClick r:id="rId3"/>
              </a:rPr>
              <a:t>Data Integration Glossary1</a:t>
            </a:r>
            <a:endParaRPr lang="en-US" sz="1400" b="1" dirty="0">
              <a:latin typeface="Roboto" charset="0"/>
              <a:ea typeface="Roboto" charset="0"/>
              <a:cs typeface="Roboto" charset="0"/>
            </a:endParaRPr>
          </a:p>
          <a:p>
            <a:pPr marL="457063" indent="-457063">
              <a:lnSpc>
                <a:spcPct val="90000"/>
              </a:lnSpc>
              <a:spcAft>
                <a:spcPts val="1000"/>
              </a:spcAft>
              <a:buFont typeface="Arial" panose="020B0604020202020204" pitchFamily="34" charset="0"/>
              <a:buChar char="•"/>
            </a:pPr>
            <a:r>
              <a:rPr lang="en-US" sz="1400" b="1" dirty="0">
                <a:latin typeface="Roboto" charset="0"/>
                <a:ea typeface="Roboto" charset="0"/>
                <a:cs typeface="Roboto" charset="0"/>
                <a:hlinkClick r:id="rId4"/>
              </a:rPr>
              <a:t>Data Integration Glossary2</a:t>
            </a:r>
            <a:endParaRPr lang="en-US" sz="1400" b="1" dirty="0">
              <a:latin typeface="Roboto" charset="0"/>
              <a:ea typeface="Roboto" charset="0"/>
              <a:cs typeface="Roboto" charset="0"/>
            </a:endParaRPr>
          </a:p>
          <a:p>
            <a:pPr marL="457063" indent="-457063">
              <a:lnSpc>
                <a:spcPct val="90000"/>
              </a:lnSpc>
              <a:spcAft>
                <a:spcPts val="1000"/>
              </a:spcAft>
              <a:buFont typeface="Arial" panose="020B0604020202020204" pitchFamily="34" charset="0"/>
              <a:buChar char="•"/>
            </a:pPr>
            <a:r>
              <a:rPr lang="en-US" sz="1400" b="1" dirty="0">
                <a:latin typeface="Roboto" charset="0"/>
                <a:ea typeface="Roboto" charset="0"/>
                <a:cs typeface="Roboto" charset="0"/>
              </a:rPr>
              <a:t>Amazon</a:t>
            </a:r>
          </a:p>
          <a:p>
            <a:pPr marL="914263" lvl="1" indent="-457063">
              <a:lnSpc>
                <a:spcPct val="90000"/>
              </a:lnSpc>
              <a:spcAft>
                <a:spcPts val="1000"/>
              </a:spcAft>
              <a:buFont typeface="Arial" panose="020B0604020202020204" pitchFamily="34" charset="0"/>
              <a:buChar char="•"/>
            </a:pPr>
            <a:r>
              <a:rPr lang="en-US" sz="1400" b="1" dirty="0">
                <a:latin typeface="Roboto" charset="0"/>
                <a:ea typeface="Roboto" charset="0"/>
                <a:cs typeface="Roboto" charset="0"/>
                <a:hlinkClick r:id="rId5"/>
              </a:rPr>
              <a:t>Amazon Services</a:t>
            </a:r>
            <a:endParaRPr lang="en-US" sz="1400" b="1" dirty="0">
              <a:latin typeface="Roboto" charset="0"/>
              <a:ea typeface="Roboto" charset="0"/>
              <a:cs typeface="Roboto" charset="0"/>
            </a:endParaRPr>
          </a:p>
          <a:p>
            <a:pPr marL="914263" lvl="1" indent="-457063">
              <a:lnSpc>
                <a:spcPct val="90000"/>
              </a:lnSpc>
              <a:spcAft>
                <a:spcPts val="1000"/>
              </a:spcAft>
              <a:buFont typeface="Arial" panose="020B0604020202020204" pitchFamily="34" charset="0"/>
              <a:buChar char="•"/>
            </a:pPr>
            <a:r>
              <a:rPr lang="en-US" sz="1400" b="1" dirty="0">
                <a:latin typeface="Roboto" charset="0"/>
                <a:ea typeface="Roboto" charset="0"/>
                <a:cs typeface="Roboto" charset="0"/>
                <a:hlinkClick r:id="rId6"/>
              </a:rPr>
              <a:t>Top Amazon Products &amp; Services</a:t>
            </a:r>
            <a:endParaRPr lang="en-US" sz="1400" b="1" dirty="0">
              <a:latin typeface="Roboto" charset="0"/>
              <a:ea typeface="Roboto" charset="0"/>
              <a:cs typeface="Roboto" charset="0"/>
            </a:endParaRPr>
          </a:p>
          <a:p>
            <a:pPr marL="914263" lvl="1" indent="-457063">
              <a:lnSpc>
                <a:spcPct val="90000"/>
              </a:lnSpc>
              <a:spcAft>
                <a:spcPts val="1000"/>
              </a:spcAft>
              <a:buFont typeface="Arial" panose="020B0604020202020204" pitchFamily="34" charset="0"/>
              <a:buChar char="•"/>
            </a:pPr>
            <a:r>
              <a:rPr lang="en-US" sz="1400" b="1" dirty="0">
                <a:latin typeface="Roboto" charset="0"/>
                <a:ea typeface="Roboto" charset="0"/>
                <a:cs typeface="Roboto" charset="0"/>
                <a:hlinkClick r:id="rId7"/>
              </a:rPr>
              <a:t>A Guide to AWS Products</a:t>
            </a:r>
            <a:endParaRPr lang="en-US" sz="1400" b="1" dirty="0">
              <a:latin typeface="Roboto" charset="0"/>
              <a:ea typeface="Roboto" charset="0"/>
              <a:cs typeface="Roboto" charset="0"/>
            </a:endParaRPr>
          </a:p>
          <a:p>
            <a:pPr marL="914263" lvl="1" indent="-457063">
              <a:lnSpc>
                <a:spcPct val="90000"/>
              </a:lnSpc>
              <a:spcAft>
                <a:spcPts val="1000"/>
              </a:spcAft>
              <a:buFont typeface="Arial" panose="020B0604020202020204" pitchFamily="34" charset="0"/>
              <a:buChar char="•"/>
            </a:pPr>
            <a:r>
              <a:rPr lang="en-US" sz="1400" b="1" dirty="0">
                <a:latin typeface="Roboto" charset="0"/>
                <a:ea typeface="Roboto" charset="0"/>
                <a:cs typeface="Roboto" charset="0"/>
                <a:hlinkClick r:id="rId8"/>
              </a:rPr>
              <a:t>Overview of Amazon Services</a:t>
            </a:r>
            <a:endParaRPr lang="en-US" sz="1400" b="1" dirty="0">
              <a:latin typeface="Roboto" charset="0"/>
              <a:ea typeface="Roboto" charset="0"/>
              <a:cs typeface="Roboto" charset="0"/>
            </a:endParaRPr>
          </a:p>
          <a:p>
            <a:pPr marL="457063" indent="-457063">
              <a:lnSpc>
                <a:spcPct val="90000"/>
              </a:lnSpc>
              <a:spcAft>
                <a:spcPts val="1000"/>
              </a:spcAft>
              <a:buFont typeface="Arial" panose="020B0604020202020204" pitchFamily="34" charset="0"/>
              <a:buChar char="•"/>
            </a:pPr>
            <a:r>
              <a:rPr lang="en-US" sz="1400" b="1" dirty="0">
                <a:latin typeface="Roboto" charset="0"/>
                <a:ea typeface="Roboto" charset="0"/>
                <a:cs typeface="Roboto" charset="0"/>
              </a:rPr>
              <a:t>Microsoft Azure</a:t>
            </a:r>
          </a:p>
          <a:p>
            <a:pPr marL="914263" lvl="1" indent="-457063">
              <a:lnSpc>
                <a:spcPct val="90000"/>
              </a:lnSpc>
              <a:spcAft>
                <a:spcPts val="1000"/>
              </a:spcAft>
              <a:buFont typeface="Arial" panose="020B0604020202020204" pitchFamily="34" charset="0"/>
              <a:buChar char="•"/>
            </a:pPr>
            <a:r>
              <a:rPr lang="en-US" sz="1400" b="1" dirty="0">
                <a:latin typeface="Roboto" charset="0"/>
                <a:ea typeface="Roboto" charset="0"/>
                <a:cs typeface="Roboto" charset="0"/>
                <a:hlinkClick r:id="rId9"/>
              </a:rPr>
              <a:t>Azure Products Chart</a:t>
            </a:r>
            <a:endParaRPr lang="en-US" sz="1400" b="1" dirty="0">
              <a:latin typeface="Roboto" charset="0"/>
              <a:ea typeface="Roboto" charset="0"/>
              <a:cs typeface="Roboto" charset="0"/>
            </a:endParaRPr>
          </a:p>
          <a:p>
            <a:pPr marL="457063" indent="-457063">
              <a:lnSpc>
                <a:spcPct val="90000"/>
              </a:lnSpc>
              <a:spcAft>
                <a:spcPts val="1000"/>
              </a:spcAft>
              <a:buFont typeface="Arial" panose="020B0604020202020204" pitchFamily="34" charset="0"/>
              <a:buChar char="•"/>
            </a:pPr>
            <a:r>
              <a:rPr lang="en-US" sz="1400" b="1" dirty="0">
                <a:latin typeface="Roboto" charset="0"/>
                <a:ea typeface="Roboto" charset="0"/>
                <a:cs typeface="Roboto" charset="0"/>
                <a:hlinkClick r:id="rId10"/>
              </a:rPr>
              <a:t>Google Cloud Platform (GCP)</a:t>
            </a:r>
            <a:endParaRPr lang="en-US" sz="1400" b="1" dirty="0">
              <a:latin typeface="Roboto" charset="0"/>
              <a:ea typeface="Roboto" charset="0"/>
              <a:cs typeface="Roboto" charset="0"/>
            </a:endParaRPr>
          </a:p>
          <a:p>
            <a:pPr marL="457063" indent="-457063">
              <a:lnSpc>
                <a:spcPct val="90000"/>
              </a:lnSpc>
              <a:spcAft>
                <a:spcPts val="1000"/>
              </a:spcAft>
              <a:buFont typeface="Arial" panose="020B0604020202020204" pitchFamily="34" charset="0"/>
              <a:buChar char="•"/>
            </a:pPr>
            <a:r>
              <a:rPr lang="en-US" sz="1400" b="1" dirty="0">
                <a:latin typeface="Roboto" charset="0"/>
                <a:ea typeface="Roboto" charset="0"/>
                <a:cs typeface="Roboto" charset="0"/>
                <a:hlinkClick r:id="rId11"/>
              </a:rPr>
              <a:t>SAP</a:t>
            </a:r>
            <a:endParaRPr lang="en-US" sz="1400" b="1" dirty="0">
              <a:latin typeface="Roboto" charset="0"/>
              <a:ea typeface="Roboto" charset="0"/>
              <a:cs typeface="Roboto" charset="0"/>
            </a:endParaRPr>
          </a:p>
          <a:p>
            <a:pPr marL="457063" indent="-457063">
              <a:lnSpc>
                <a:spcPct val="90000"/>
              </a:lnSpc>
              <a:spcAft>
                <a:spcPts val="1000"/>
              </a:spcAft>
              <a:buFont typeface="Arial" panose="020B0604020202020204" pitchFamily="34" charset="0"/>
              <a:buChar char="•"/>
            </a:pPr>
            <a:r>
              <a:rPr lang="en-US" sz="1400" b="1" dirty="0">
                <a:latin typeface="Roboto" charset="0"/>
                <a:ea typeface="Roboto" charset="0"/>
                <a:cs typeface="Roboto" charset="0"/>
                <a:hlinkClick r:id="rId12"/>
              </a:rPr>
              <a:t>Databricks</a:t>
            </a:r>
            <a:r>
              <a:rPr lang="en-US" sz="1400" b="1" dirty="0">
                <a:latin typeface="Roboto" charset="0"/>
                <a:ea typeface="Roboto" charset="0"/>
                <a:cs typeface="Roboto" charset="0"/>
              </a:rPr>
              <a:t> </a:t>
            </a:r>
          </a:p>
          <a:p>
            <a:pPr marL="457063" indent="-457063">
              <a:lnSpc>
                <a:spcPct val="90000"/>
              </a:lnSpc>
              <a:spcAft>
                <a:spcPts val="1000"/>
              </a:spcAft>
              <a:buFont typeface="Arial" panose="020B0604020202020204" pitchFamily="34" charset="0"/>
              <a:buChar char="•"/>
            </a:pPr>
            <a:r>
              <a:rPr lang="en-US" sz="1400" b="1" dirty="0">
                <a:latin typeface="Roboto" charset="0"/>
                <a:ea typeface="Roboto" charset="0"/>
                <a:cs typeface="Roboto" charset="0"/>
              </a:rPr>
              <a:t>Snowflakes</a:t>
            </a:r>
          </a:p>
          <a:p>
            <a:pPr marL="457063" indent="-457063">
              <a:lnSpc>
                <a:spcPct val="90000"/>
              </a:lnSpc>
              <a:spcAft>
                <a:spcPts val="1000"/>
              </a:spcAft>
              <a:buFont typeface="Arial" panose="020B0604020202020204" pitchFamily="34" charset="0"/>
              <a:buChar char="•"/>
            </a:pPr>
            <a:r>
              <a:rPr lang="en-US" sz="1400" b="1" dirty="0">
                <a:latin typeface="Roboto" charset="0"/>
                <a:ea typeface="Roboto" charset="0"/>
                <a:cs typeface="Roboto" charset="0"/>
                <a:hlinkClick r:id="rId13"/>
              </a:rPr>
              <a:t>Salesforce</a:t>
            </a:r>
            <a:endParaRPr lang="en-US" sz="1400" b="1" dirty="0">
              <a:latin typeface="Roboto" charset="0"/>
              <a:ea typeface="Roboto" charset="0"/>
              <a:cs typeface="Roboto" charset="0"/>
            </a:endParaRPr>
          </a:p>
          <a:p>
            <a:pPr marL="914263" lvl="1" indent="-457063">
              <a:lnSpc>
                <a:spcPct val="90000"/>
              </a:lnSpc>
              <a:spcAft>
                <a:spcPts val="1000"/>
              </a:spcAft>
              <a:buFont typeface="Arial" panose="020B0604020202020204" pitchFamily="34" charset="0"/>
              <a:buChar char="•"/>
            </a:pPr>
            <a:endParaRPr lang="en-US" sz="1400" b="1" dirty="0">
              <a:latin typeface="Roboto" charset="0"/>
              <a:ea typeface="Roboto" charset="0"/>
              <a:cs typeface="Roboto" charset="0"/>
            </a:endParaRPr>
          </a:p>
          <a:p>
            <a:pPr marL="457063" indent="-457063">
              <a:lnSpc>
                <a:spcPct val="90000"/>
              </a:lnSpc>
              <a:spcAft>
                <a:spcPts val="1000"/>
              </a:spcAft>
              <a:buFont typeface="Arial" panose="020B0604020202020204" pitchFamily="34" charset="0"/>
              <a:buChar char="•"/>
            </a:pPr>
            <a:endParaRPr lang="en-US" sz="1400" b="1" dirty="0">
              <a:latin typeface="Roboto" charset="0"/>
              <a:ea typeface="Roboto" charset="0"/>
              <a:cs typeface="Roboto" charset="0"/>
            </a:endParaRPr>
          </a:p>
        </p:txBody>
      </p:sp>
    </p:spTree>
    <p:extLst>
      <p:ext uri="{BB962C8B-B14F-4D97-AF65-F5344CB8AC3E}">
        <p14:creationId xmlns:p14="http://schemas.microsoft.com/office/powerpoint/2010/main" val="789905762"/>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F7F05B8-C820-4ABF-BAA2-56915A9080F2}"/>
              </a:ext>
            </a:extLst>
          </p:cNvPr>
          <p:cNvSpPr txBox="1"/>
          <p:nvPr/>
        </p:nvSpPr>
        <p:spPr>
          <a:xfrm>
            <a:off x="474444" y="44446"/>
            <a:ext cx="1444626" cy="707758"/>
          </a:xfrm>
          <a:prstGeom prst="rect">
            <a:avLst/>
          </a:prstGeom>
          <a:noFill/>
        </p:spPr>
        <p:txBody>
          <a:bodyPr wrap="none" rtlCol="0">
            <a:spAutoFit/>
          </a:bodyPr>
          <a:lstStyle/>
          <a:p>
            <a:pPr defTabSz="457063">
              <a:defRPr/>
            </a:pPr>
            <a:r>
              <a:rPr lang="en-US" sz="3999" b="1" spc="50" dirty="0">
                <a:gradFill>
                  <a:gsLst>
                    <a:gs pos="0">
                      <a:srgbClr val="FF4D00">
                        <a:alpha val="85000"/>
                      </a:srgbClr>
                    </a:gs>
                    <a:gs pos="97000">
                      <a:srgbClr val="FF7D00">
                        <a:alpha val="88000"/>
                      </a:srgbClr>
                    </a:gs>
                  </a:gsLst>
                  <a:lin ang="10200000" scaled="0"/>
                </a:gradFill>
                <a:latin typeface="+mj-lt"/>
                <a:ea typeface="Roboto" panose="02000000000000000000" pitchFamily="2" charset="0"/>
                <a:cs typeface="Roboto" panose="02000000000000000000" pitchFamily="2" charset="0"/>
              </a:rPr>
              <a:t>PODs</a:t>
            </a:r>
          </a:p>
        </p:txBody>
      </p:sp>
      <p:sp>
        <p:nvSpPr>
          <p:cNvPr id="6" name="TextBox 5">
            <a:extLst>
              <a:ext uri="{FF2B5EF4-FFF2-40B4-BE49-F238E27FC236}">
                <a16:creationId xmlns:a16="http://schemas.microsoft.com/office/drawing/2014/main" id="{3CFA8245-9F4F-4B62-99DE-D1CA1714BB93}"/>
              </a:ext>
            </a:extLst>
          </p:cNvPr>
          <p:cNvSpPr txBox="1"/>
          <p:nvPr/>
        </p:nvSpPr>
        <p:spPr>
          <a:xfrm>
            <a:off x="631596" y="4864231"/>
            <a:ext cx="9870424" cy="1518462"/>
          </a:xfrm>
          <a:prstGeom prst="rect">
            <a:avLst/>
          </a:prstGeom>
          <a:noFill/>
        </p:spPr>
        <p:txBody>
          <a:bodyPr wrap="none" lIns="0" tIns="0" rIns="0" bIns="0" rtlCol="0">
            <a:noAutofit/>
          </a:bodyPr>
          <a:lstStyle/>
          <a:p>
            <a:pPr marL="285750" indent="-285750" algn="l">
              <a:lnSpc>
                <a:spcPct val="90000"/>
              </a:lnSpc>
              <a:spcAft>
                <a:spcPts val="1000"/>
              </a:spcAft>
              <a:buFont typeface="Arial" panose="020B0604020202020204" pitchFamily="34" charset="0"/>
              <a:buChar char="•"/>
            </a:pPr>
            <a:r>
              <a:rPr lang="en-US" dirty="0">
                <a:latin typeface="Roboto" charset="0"/>
                <a:ea typeface="Roboto" charset="0"/>
                <a:cs typeface="Roboto" charset="0"/>
              </a:rPr>
              <a:t>IPU Metering -  Advisable for the Parent/Child or Sandbox/Prod Org to be in the same POD</a:t>
            </a:r>
          </a:p>
          <a:p>
            <a:pPr marL="285750" indent="-285750">
              <a:lnSpc>
                <a:spcPct val="90000"/>
              </a:lnSpc>
              <a:spcAft>
                <a:spcPts val="1000"/>
              </a:spcAft>
              <a:buFont typeface="Arial" panose="020B0604020202020204" pitchFamily="34" charset="0"/>
              <a:buChar char="•"/>
            </a:pPr>
            <a:r>
              <a:rPr lang="en-US" dirty="0"/>
              <a:t>Note: If customer is using Azure Ecosystem, they don’t have to necessarily use the Azure POD.</a:t>
            </a:r>
            <a:endParaRPr lang="en-US" dirty="0">
              <a:latin typeface="Roboto" charset="0"/>
              <a:ea typeface="Roboto" charset="0"/>
              <a:cs typeface="Roboto" charset="0"/>
            </a:endParaRPr>
          </a:p>
          <a:p>
            <a:pPr marL="285750" indent="-285750" algn="l">
              <a:lnSpc>
                <a:spcPct val="90000"/>
              </a:lnSpc>
              <a:spcAft>
                <a:spcPts val="1000"/>
              </a:spcAft>
              <a:buFont typeface="Arial" panose="020B0604020202020204" pitchFamily="34" charset="0"/>
              <a:buChar char="•"/>
            </a:pPr>
            <a:r>
              <a:rPr lang="en-US" dirty="0">
                <a:latin typeface="Roboto" charset="0"/>
                <a:ea typeface="Roboto" charset="0"/>
                <a:cs typeface="Roboto" charset="0"/>
              </a:rPr>
              <a:t>** Subject to change. Refer </a:t>
            </a:r>
            <a:r>
              <a:rPr lang="en-US" dirty="0">
                <a:latin typeface="Roboto" charset="0"/>
                <a:ea typeface="Roboto" charset="0"/>
                <a:cs typeface="Roboto" charset="0"/>
                <a:hlinkClick r:id="rId3"/>
              </a:rPr>
              <a:t>PAM</a:t>
            </a:r>
            <a:endParaRPr lang="en-US" dirty="0">
              <a:latin typeface="Roboto" charset="0"/>
              <a:ea typeface="Roboto" charset="0"/>
              <a:cs typeface="Roboto" charset="0"/>
            </a:endParaRPr>
          </a:p>
        </p:txBody>
      </p:sp>
      <p:sp>
        <p:nvSpPr>
          <p:cNvPr id="7" name="Rectangle: Rounded Corners 6">
            <a:extLst>
              <a:ext uri="{FF2B5EF4-FFF2-40B4-BE49-F238E27FC236}">
                <a16:creationId xmlns:a16="http://schemas.microsoft.com/office/drawing/2014/main" id="{CB6F3CD5-2C91-48E9-8812-917900C8EC32}"/>
              </a:ext>
            </a:extLst>
          </p:cNvPr>
          <p:cNvSpPr/>
          <p:nvPr/>
        </p:nvSpPr>
        <p:spPr>
          <a:xfrm>
            <a:off x="3054284" y="1140643"/>
            <a:ext cx="5721967" cy="185537"/>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algn="ctr"/>
            <a:r>
              <a:rPr lang="en-US" sz="1600" dirty="0">
                <a:solidFill>
                  <a:schemeClr val="bg1"/>
                </a:solidFill>
                <a:latin typeface="Roboto" charset="0"/>
                <a:ea typeface="Roboto" charset="0"/>
                <a:cs typeface="Roboto" charset="0"/>
              </a:rPr>
              <a:t>North America</a:t>
            </a:r>
          </a:p>
        </p:txBody>
      </p:sp>
      <p:sp>
        <p:nvSpPr>
          <p:cNvPr id="8" name="Rectangle: Rounded Corners 7">
            <a:extLst>
              <a:ext uri="{FF2B5EF4-FFF2-40B4-BE49-F238E27FC236}">
                <a16:creationId xmlns:a16="http://schemas.microsoft.com/office/drawing/2014/main" id="{D7D7BB1D-26CC-4A99-8EDB-1BCEAD49689C}"/>
              </a:ext>
            </a:extLst>
          </p:cNvPr>
          <p:cNvSpPr/>
          <p:nvPr/>
        </p:nvSpPr>
        <p:spPr>
          <a:xfrm>
            <a:off x="8776252" y="1137643"/>
            <a:ext cx="1725768" cy="185537"/>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algn="ctr"/>
            <a:r>
              <a:rPr lang="en-US" sz="1600" dirty="0">
                <a:solidFill>
                  <a:schemeClr val="tx1"/>
                </a:solidFill>
                <a:latin typeface="Roboto" charset="0"/>
                <a:ea typeface="Roboto" charset="0"/>
                <a:cs typeface="Roboto" charset="0"/>
              </a:rPr>
              <a:t>APJ</a:t>
            </a:r>
          </a:p>
        </p:txBody>
      </p:sp>
      <p:sp>
        <p:nvSpPr>
          <p:cNvPr id="9" name="Rectangle: Rounded Corners 8">
            <a:extLst>
              <a:ext uri="{FF2B5EF4-FFF2-40B4-BE49-F238E27FC236}">
                <a16:creationId xmlns:a16="http://schemas.microsoft.com/office/drawing/2014/main" id="{48AFAB72-7EAF-4F6D-A396-482715BD4799}"/>
              </a:ext>
            </a:extLst>
          </p:cNvPr>
          <p:cNvSpPr/>
          <p:nvPr/>
        </p:nvSpPr>
        <p:spPr>
          <a:xfrm>
            <a:off x="10502020" y="1137643"/>
            <a:ext cx="1536569" cy="188538"/>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algn="ctr"/>
            <a:r>
              <a:rPr lang="en-US" sz="1600" dirty="0">
                <a:solidFill>
                  <a:schemeClr val="tx1"/>
                </a:solidFill>
                <a:latin typeface="Roboto" charset="0"/>
                <a:ea typeface="Roboto" charset="0"/>
                <a:cs typeface="Roboto" charset="0"/>
              </a:rPr>
              <a:t>EMEA</a:t>
            </a:r>
          </a:p>
        </p:txBody>
      </p:sp>
      <p:pic>
        <p:nvPicPr>
          <p:cNvPr id="5" name="Picture 4">
            <a:extLst>
              <a:ext uri="{FF2B5EF4-FFF2-40B4-BE49-F238E27FC236}">
                <a16:creationId xmlns:a16="http://schemas.microsoft.com/office/drawing/2014/main" id="{4B184A11-25A9-4997-91C2-F3A225467C9C}"/>
              </a:ext>
            </a:extLst>
          </p:cNvPr>
          <p:cNvPicPr>
            <a:picLocks noChangeAspect="1"/>
          </p:cNvPicPr>
          <p:nvPr/>
        </p:nvPicPr>
        <p:blipFill>
          <a:blip r:embed="rId4"/>
          <a:stretch>
            <a:fillRect/>
          </a:stretch>
        </p:blipFill>
        <p:spPr>
          <a:xfrm>
            <a:off x="114377" y="1326181"/>
            <a:ext cx="11960069" cy="3242540"/>
          </a:xfrm>
          <a:prstGeom prst="rect">
            <a:avLst/>
          </a:prstGeom>
        </p:spPr>
      </p:pic>
    </p:spTree>
    <p:extLst>
      <p:ext uri="{BB962C8B-B14F-4D97-AF65-F5344CB8AC3E}">
        <p14:creationId xmlns:p14="http://schemas.microsoft.com/office/powerpoint/2010/main" val="12164284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22">
            <a:extLst>
              <a:ext uri="{FF2B5EF4-FFF2-40B4-BE49-F238E27FC236}">
                <a16:creationId xmlns:a16="http://schemas.microsoft.com/office/drawing/2014/main" id="{24FB8532-3D96-47AA-BEA8-1988E25F8487}"/>
              </a:ext>
            </a:extLst>
          </p:cNvPr>
          <p:cNvSpPr txBox="1"/>
          <p:nvPr/>
        </p:nvSpPr>
        <p:spPr>
          <a:xfrm>
            <a:off x="483969" y="263644"/>
            <a:ext cx="5945858" cy="707758"/>
          </a:xfrm>
          <a:prstGeom prst="rect">
            <a:avLst/>
          </a:prstGeom>
          <a:noFill/>
        </p:spPr>
        <p:txBody>
          <a:bodyPr wrap="none" rtlCol="0">
            <a:spAutoFit/>
          </a:bodyPr>
          <a:lstStyle/>
          <a:p>
            <a:pPr defTabSz="457063">
              <a:defRPr/>
            </a:pPr>
            <a:r>
              <a:rPr lang="en-US" sz="3999" b="1" spc="50" dirty="0">
                <a:gradFill>
                  <a:gsLst>
                    <a:gs pos="0">
                      <a:srgbClr val="FF4D00">
                        <a:alpha val="85000"/>
                      </a:srgbClr>
                    </a:gs>
                    <a:gs pos="97000">
                      <a:srgbClr val="FF7D00">
                        <a:alpha val="88000"/>
                      </a:srgbClr>
                    </a:gs>
                  </a:gsLst>
                  <a:lin ang="10200000" scaled="0"/>
                </a:gradFill>
                <a:latin typeface="+mj-lt"/>
                <a:ea typeface="Roboto" panose="02000000000000000000" pitchFamily="2" charset="0"/>
                <a:cs typeface="Roboto" panose="02000000000000000000" pitchFamily="2" charset="0"/>
              </a:rPr>
              <a:t>IICS Security Architecture</a:t>
            </a:r>
          </a:p>
        </p:txBody>
      </p:sp>
      <p:sp>
        <p:nvSpPr>
          <p:cNvPr id="4" name="TextBox 3">
            <a:extLst>
              <a:ext uri="{FF2B5EF4-FFF2-40B4-BE49-F238E27FC236}">
                <a16:creationId xmlns:a16="http://schemas.microsoft.com/office/drawing/2014/main" id="{E65D4282-220D-484D-B0C2-CC3AE6E5B9F0}"/>
              </a:ext>
            </a:extLst>
          </p:cNvPr>
          <p:cNvSpPr txBox="1"/>
          <p:nvPr/>
        </p:nvSpPr>
        <p:spPr>
          <a:xfrm>
            <a:off x="273339" y="752204"/>
            <a:ext cx="6301081" cy="5677171"/>
          </a:xfrm>
          <a:prstGeom prst="rect">
            <a:avLst/>
          </a:prstGeom>
          <a:noFill/>
        </p:spPr>
        <p:txBody>
          <a:bodyPr wrap="square" lIns="0" tIns="0" rIns="0" bIns="0" rtlCol="0">
            <a:noAutofit/>
          </a:bodyPr>
          <a:lstStyle/>
          <a:p>
            <a:pPr marL="457063" indent="-457063">
              <a:lnSpc>
                <a:spcPct val="90000"/>
              </a:lnSpc>
              <a:spcAft>
                <a:spcPts val="1000"/>
              </a:spcAft>
              <a:buFont typeface="Arial" panose="020B0604020202020204" pitchFamily="34" charset="0"/>
              <a:buChar char="•"/>
            </a:pPr>
            <a:endParaRPr lang="en-US" sz="1400" b="1" dirty="0">
              <a:latin typeface="Roboto" charset="0"/>
              <a:ea typeface="Roboto" charset="0"/>
              <a:cs typeface="Roboto" charset="0"/>
            </a:endParaRPr>
          </a:p>
          <a:p>
            <a:pPr marL="914263" lvl="1" indent="-457063">
              <a:lnSpc>
                <a:spcPct val="90000"/>
              </a:lnSpc>
              <a:spcAft>
                <a:spcPts val="1000"/>
              </a:spcAft>
              <a:buFont typeface="Arial" panose="020B0604020202020204" pitchFamily="34" charset="0"/>
              <a:buChar char="•"/>
            </a:pPr>
            <a:endParaRPr lang="en-US" sz="1400" b="1" dirty="0">
              <a:latin typeface="Roboto" charset="0"/>
              <a:ea typeface="Roboto" charset="0"/>
              <a:cs typeface="Roboto" charset="0"/>
            </a:endParaRPr>
          </a:p>
          <a:p>
            <a:pPr marL="457063" indent="-457063">
              <a:lnSpc>
                <a:spcPct val="90000"/>
              </a:lnSpc>
              <a:spcAft>
                <a:spcPts val="1000"/>
              </a:spcAft>
              <a:buFont typeface="Arial" panose="020B0604020202020204" pitchFamily="34" charset="0"/>
              <a:buChar char="•"/>
            </a:pPr>
            <a:endParaRPr lang="en-US" sz="1400" dirty="0">
              <a:latin typeface="Roboto" charset="0"/>
              <a:ea typeface="Roboto" charset="0"/>
              <a:cs typeface="Roboto" charset="0"/>
            </a:endParaRPr>
          </a:p>
        </p:txBody>
      </p:sp>
      <p:pic>
        <p:nvPicPr>
          <p:cNvPr id="10" name="Picture 9">
            <a:extLst>
              <a:ext uri="{FF2B5EF4-FFF2-40B4-BE49-F238E27FC236}">
                <a16:creationId xmlns:a16="http://schemas.microsoft.com/office/drawing/2014/main" id="{E4DC3D9D-6E37-42F4-8F08-CF65FD3B5653}"/>
              </a:ext>
            </a:extLst>
          </p:cNvPr>
          <p:cNvPicPr>
            <a:picLocks noChangeAspect="1"/>
          </p:cNvPicPr>
          <p:nvPr/>
        </p:nvPicPr>
        <p:blipFill>
          <a:blip r:embed="rId3"/>
          <a:stretch>
            <a:fillRect/>
          </a:stretch>
        </p:blipFill>
        <p:spPr>
          <a:xfrm>
            <a:off x="2137148" y="1024567"/>
            <a:ext cx="7762372" cy="5595041"/>
          </a:xfrm>
          <a:prstGeom prst="rect">
            <a:avLst/>
          </a:prstGeom>
        </p:spPr>
      </p:pic>
      <p:sp>
        <p:nvSpPr>
          <p:cNvPr id="2" name="TextBox 1">
            <a:extLst>
              <a:ext uri="{FF2B5EF4-FFF2-40B4-BE49-F238E27FC236}">
                <a16:creationId xmlns:a16="http://schemas.microsoft.com/office/drawing/2014/main" id="{1D2995D3-0EBA-473D-9233-A2BA69598C4F}"/>
              </a:ext>
            </a:extLst>
          </p:cNvPr>
          <p:cNvSpPr txBox="1"/>
          <p:nvPr/>
        </p:nvSpPr>
        <p:spPr>
          <a:xfrm>
            <a:off x="8984974" y="6261652"/>
            <a:ext cx="914400" cy="914400"/>
          </a:xfrm>
          <a:prstGeom prst="rect">
            <a:avLst/>
          </a:prstGeom>
          <a:noFill/>
        </p:spPr>
        <p:txBody>
          <a:bodyPr wrap="none" lIns="0" tIns="0" rIns="0" bIns="0" rtlCol="0">
            <a:noAutofit/>
          </a:bodyPr>
          <a:lstStyle/>
          <a:p>
            <a:pPr algn="l">
              <a:lnSpc>
                <a:spcPct val="90000"/>
              </a:lnSpc>
              <a:spcAft>
                <a:spcPts val="1000"/>
              </a:spcAft>
            </a:pPr>
            <a:r>
              <a:rPr lang="en-US" dirty="0">
                <a:latin typeface="Roboto" charset="0"/>
                <a:ea typeface="Roboto" charset="0"/>
                <a:cs typeface="Roboto" charset="0"/>
                <a:hlinkClick r:id="rId4"/>
              </a:rPr>
              <a:t>More on IICS Architecture</a:t>
            </a:r>
            <a:endParaRPr lang="en-US" dirty="0">
              <a:latin typeface="Roboto" charset="0"/>
              <a:ea typeface="Roboto" charset="0"/>
              <a:cs typeface="Roboto" charset="0"/>
            </a:endParaRPr>
          </a:p>
        </p:txBody>
      </p:sp>
    </p:spTree>
    <p:extLst>
      <p:ext uri="{BB962C8B-B14F-4D97-AF65-F5344CB8AC3E}">
        <p14:creationId xmlns:p14="http://schemas.microsoft.com/office/powerpoint/2010/main" val="324607090"/>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22">
            <a:extLst>
              <a:ext uri="{FF2B5EF4-FFF2-40B4-BE49-F238E27FC236}">
                <a16:creationId xmlns:a16="http://schemas.microsoft.com/office/drawing/2014/main" id="{24FB8532-3D96-47AA-BEA8-1988E25F8487}"/>
              </a:ext>
            </a:extLst>
          </p:cNvPr>
          <p:cNvSpPr txBox="1"/>
          <p:nvPr/>
        </p:nvSpPr>
        <p:spPr>
          <a:xfrm>
            <a:off x="483969" y="263644"/>
            <a:ext cx="978153" cy="707758"/>
          </a:xfrm>
          <a:prstGeom prst="rect">
            <a:avLst/>
          </a:prstGeom>
          <a:noFill/>
        </p:spPr>
        <p:txBody>
          <a:bodyPr wrap="none" rtlCol="0">
            <a:spAutoFit/>
          </a:bodyPr>
          <a:lstStyle/>
          <a:p>
            <a:pPr defTabSz="457063">
              <a:defRPr/>
            </a:pPr>
            <a:r>
              <a:rPr lang="en-US" sz="3999" b="1" spc="50" dirty="0">
                <a:gradFill>
                  <a:gsLst>
                    <a:gs pos="0">
                      <a:srgbClr val="FF4D00">
                        <a:alpha val="85000"/>
                      </a:srgbClr>
                    </a:gs>
                    <a:gs pos="97000">
                      <a:srgbClr val="FF7D00">
                        <a:alpha val="88000"/>
                      </a:srgbClr>
                    </a:gs>
                  </a:gsLst>
                  <a:lin ang="10200000" scaled="0"/>
                </a:gradFill>
                <a:latin typeface="+mj-lt"/>
                <a:ea typeface="Roboto" panose="02000000000000000000" pitchFamily="2" charset="0"/>
                <a:cs typeface="Roboto" panose="02000000000000000000" pitchFamily="2" charset="0"/>
              </a:rPr>
              <a:t>IPU</a:t>
            </a:r>
          </a:p>
        </p:txBody>
      </p:sp>
      <p:sp>
        <p:nvSpPr>
          <p:cNvPr id="4" name="TextBox 3">
            <a:extLst>
              <a:ext uri="{FF2B5EF4-FFF2-40B4-BE49-F238E27FC236}">
                <a16:creationId xmlns:a16="http://schemas.microsoft.com/office/drawing/2014/main" id="{E65D4282-220D-484D-B0C2-CC3AE6E5B9F0}"/>
              </a:ext>
            </a:extLst>
          </p:cNvPr>
          <p:cNvSpPr txBox="1"/>
          <p:nvPr/>
        </p:nvSpPr>
        <p:spPr>
          <a:xfrm>
            <a:off x="273339" y="752204"/>
            <a:ext cx="11690062" cy="5677171"/>
          </a:xfrm>
          <a:prstGeom prst="rect">
            <a:avLst/>
          </a:prstGeom>
          <a:noFill/>
        </p:spPr>
        <p:txBody>
          <a:bodyPr wrap="square" lIns="0" tIns="0" rIns="0" bIns="0" rtlCol="0">
            <a:noAutofit/>
          </a:bodyPr>
          <a:lstStyle/>
          <a:p>
            <a:pPr marL="457063" indent="-457063">
              <a:lnSpc>
                <a:spcPct val="90000"/>
              </a:lnSpc>
              <a:spcAft>
                <a:spcPts val="1000"/>
              </a:spcAft>
              <a:buFont typeface="Arial" panose="020B0604020202020204" pitchFamily="34" charset="0"/>
              <a:buChar char="•"/>
            </a:pPr>
            <a:endParaRPr lang="en-US" sz="1400" b="1" dirty="0">
              <a:latin typeface="Roboto" charset="0"/>
              <a:ea typeface="Roboto" charset="0"/>
              <a:cs typeface="Roboto" charset="0"/>
            </a:endParaRPr>
          </a:p>
          <a:p>
            <a:pPr marL="914263" lvl="1" indent="-457063">
              <a:lnSpc>
                <a:spcPct val="90000"/>
              </a:lnSpc>
              <a:spcAft>
                <a:spcPts val="1000"/>
              </a:spcAft>
              <a:buFont typeface="Arial" panose="020B0604020202020204" pitchFamily="34" charset="0"/>
              <a:buChar char="•"/>
            </a:pPr>
            <a:endParaRPr lang="en-US" sz="1400" b="1" dirty="0">
              <a:latin typeface="Roboto" charset="0"/>
              <a:ea typeface="Roboto" charset="0"/>
              <a:cs typeface="Roboto" charset="0"/>
            </a:endParaRPr>
          </a:p>
          <a:p>
            <a:pPr marL="457063" indent="-457063">
              <a:lnSpc>
                <a:spcPct val="90000"/>
              </a:lnSpc>
              <a:spcAft>
                <a:spcPts val="1000"/>
              </a:spcAft>
              <a:buFont typeface="Arial" panose="020B0604020202020204" pitchFamily="34" charset="0"/>
              <a:buChar char="•"/>
            </a:pPr>
            <a:r>
              <a:rPr lang="en-US" dirty="0">
                <a:latin typeface="Roboto" charset="0"/>
                <a:ea typeface="Roboto" charset="0"/>
                <a:cs typeface="Roboto" charset="0"/>
              </a:rPr>
              <a:t>In 2021 Informatica introduced usage-based pricing model. </a:t>
            </a:r>
          </a:p>
          <a:p>
            <a:pPr marL="457063" indent="-457063">
              <a:lnSpc>
                <a:spcPct val="90000"/>
              </a:lnSpc>
              <a:spcAft>
                <a:spcPts val="1000"/>
              </a:spcAft>
              <a:buFont typeface="Arial" panose="020B0604020202020204" pitchFamily="34" charset="0"/>
              <a:buChar char="•"/>
            </a:pPr>
            <a:endParaRPr lang="en-US" dirty="0">
              <a:latin typeface="Roboto" charset="0"/>
              <a:ea typeface="Roboto" charset="0"/>
              <a:cs typeface="Roboto" charset="0"/>
            </a:endParaRPr>
          </a:p>
          <a:p>
            <a:pPr marL="457063" indent="-457063">
              <a:lnSpc>
                <a:spcPct val="90000"/>
              </a:lnSpc>
              <a:spcAft>
                <a:spcPts val="1000"/>
              </a:spcAft>
              <a:buFont typeface="Arial" panose="020B0604020202020204" pitchFamily="34" charset="0"/>
              <a:buChar char="•"/>
            </a:pPr>
            <a:r>
              <a:rPr lang="en-US" dirty="0">
                <a:latin typeface="Roboto" charset="0"/>
                <a:ea typeface="Roboto" charset="0"/>
                <a:cs typeface="Roboto" charset="0"/>
              </a:rPr>
              <a:t>An Informatica processing unit (IPU) is a unit of credit used to pre-pay for using Informatica Intelligent Cloud Services scalars such as compute units and events processed.</a:t>
            </a:r>
          </a:p>
          <a:p>
            <a:pPr marL="457063" indent="-457063">
              <a:lnSpc>
                <a:spcPct val="90000"/>
              </a:lnSpc>
              <a:spcAft>
                <a:spcPts val="1000"/>
              </a:spcAft>
              <a:buFont typeface="Arial" panose="020B0604020202020204" pitchFamily="34" charset="0"/>
              <a:buChar char="•"/>
            </a:pPr>
            <a:endParaRPr lang="en-US" dirty="0">
              <a:latin typeface="Roboto" charset="0"/>
              <a:ea typeface="Roboto" charset="0"/>
              <a:cs typeface="Roboto" charset="0"/>
            </a:endParaRPr>
          </a:p>
          <a:p>
            <a:pPr marL="457063" indent="-457063">
              <a:lnSpc>
                <a:spcPct val="90000"/>
              </a:lnSpc>
              <a:spcAft>
                <a:spcPts val="1000"/>
              </a:spcAft>
              <a:buFont typeface="Arial" panose="020B0604020202020204" pitchFamily="34" charset="0"/>
              <a:buChar char="•"/>
            </a:pPr>
            <a:r>
              <a:rPr lang="en-US" dirty="0">
                <a:latin typeface="Roboto" charset="0"/>
                <a:ea typeface="Roboto" charset="0"/>
                <a:cs typeface="Roboto" charset="0"/>
              </a:rPr>
              <a:t>IPU metering page in IICS Administrator is used for</a:t>
            </a:r>
          </a:p>
          <a:p>
            <a:pPr marL="457063" indent="-457063">
              <a:lnSpc>
                <a:spcPct val="90000"/>
              </a:lnSpc>
              <a:spcAft>
                <a:spcPts val="1000"/>
              </a:spcAft>
              <a:buFont typeface="Arial" panose="020B0604020202020204" pitchFamily="34" charset="0"/>
              <a:buChar char="•"/>
            </a:pPr>
            <a:r>
              <a:rPr lang="en-US" dirty="0">
                <a:latin typeface="Roboto" charset="0"/>
                <a:ea typeface="Roboto" charset="0"/>
                <a:cs typeface="Roboto" charset="0"/>
              </a:rPr>
              <a:t>viewing IPU metrics and is displayed in dashboard view.</a:t>
            </a:r>
          </a:p>
          <a:p>
            <a:pPr>
              <a:lnSpc>
                <a:spcPct val="90000"/>
              </a:lnSpc>
              <a:spcAft>
                <a:spcPts val="1000"/>
              </a:spcAft>
            </a:pPr>
            <a:endParaRPr lang="en-US" dirty="0">
              <a:latin typeface="Roboto" charset="0"/>
              <a:ea typeface="Roboto" charset="0"/>
              <a:cs typeface="Roboto" charset="0"/>
            </a:endParaRPr>
          </a:p>
          <a:p>
            <a:pPr marL="457063" indent="-457063">
              <a:lnSpc>
                <a:spcPct val="90000"/>
              </a:lnSpc>
              <a:spcAft>
                <a:spcPts val="1000"/>
              </a:spcAft>
              <a:buFont typeface="Arial" panose="020B0604020202020204" pitchFamily="34" charset="0"/>
              <a:buChar char="•"/>
            </a:pPr>
            <a:r>
              <a:rPr lang="en-US" dirty="0">
                <a:latin typeface="Roboto" charset="0"/>
                <a:ea typeface="Roboto" charset="0"/>
                <a:cs typeface="Roboto" charset="0"/>
              </a:rPr>
              <a:t>More details can be found </a:t>
            </a:r>
            <a:r>
              <a:rPr lang="en-US" dirty="0">
                <a:latin typeface="Roboto" charset="0"/>
                <a:ea typeface="Roboto" charset="0"/>
                <a:cs typeface="Roboto" charset="0"/>
                <a:hlinkClick r:id="rId3"/>
              </a:rPr>
              <a:t>here</a:t>
            </a:r>
            <a:r>
              <a:rPr lang="en-US" dirty="0">
                <a:latin typeface="Roboto" charset="0"/>
                <a:ea typeface="Roboto" charset="0"/>
                <a:cs typeface="Roboto" charset="0"/>
              </a:rPr>
              <a:t>. </a:t>
            </a:r>
          </a:p>
          <a:p>
            <a:pPr marL="457063" indent="-457063">
              <a:lnSpc>
                <a:spcPct val="90000"/>
              </a:lnSpc>
              <a:spcAft>
                <a:spcPts val="1000"/>
              </a:spcAft>
              <a:buFont typeface="Arial" panose="020B0604020202020204" pitchFamily="34" charset="0"/>
              <a:buChar char="•"/>
            </a:pPr>
            <a:endParaRPr lang="en-US" dirty="0">
              <a:latin typeface="Roboto" charset="0"/>
              <a:ea typeface="Roboto" charset="0"/>
              <a:cs typeface="Roboto" charset="0"/>
            </a:endParaRPr>
          </a:p>
          <a:p>
            <a:pPr marL="457063" indent="-457063">
              <a:lnSpc>
                <a:spcPct val="90000"/>
              </a:lnSpc>
              <a:spcAft>
                <a:spcPts val="1000"/>
              </a:spcAft>
              <a:buFont typeface="Arial" panose="020B0604020202020204" pitchFamily="34" charset="0"/>
              <a:buChar char="•"/>
            </a:pPr>
            <a:r>
              <a:rPr lang="en-US" dirty="0">
                <a:latin typeface="Roboto" charset="0"/>
                <a:ea typeface="Roboto" charset="0"/>
                <a:cs typeface="Roboto" charset="0"/>
                <a:hlinkClick r:id="rId4"/>
              </a:rPr>
              <a:t>Documentation</a:t>
            </a:r>
            <a:r>
              <a:rPr lang="en-US" dirty="0">
                <a:latin typeface="Roboto" charset="0"/>
                <a:ea typeface="Roboto" charset="0"/>
                <a:cs typeface="Roboto" charset="0"/>
              </a:rPr>
              <a:t> </a:t>
            </a:r>
          </a:p>
          <a:p>
            <a:pPr marL="457063" indent="-457063">
              <a:lnSpc>
                <a:spcPct val="90000"/>
              </a:lnSpc>
              <a:spcAft>
                <a:spcPts val="1000"/>
              </a:spcAft>
              <a:buFont typeface="Arial" panose="020B0604020202020204" pitchFamily="34" charset="0"/>
              <a:buChar char="•"/>
            </a:pPr>
            <a:endParaRPr lang="en-US" dirty="0">
              <a:latin typeface="Roboto" charset="0"/>
              <a:ea typeface="Roboto" charset="0"/>
              <a:cs typeface="Roboto" charset="0"/>
            </a:endParaRPr>
          </a:p>
          <a:p>
            <a:pPr marL="457063" indent="-457063">
              <a:lnSpc>
                <a:spcPct val="90000"/>
              </a:lnSpc>
              <a:spcAft>
                <a:spcPts val="1000"/>
              </a:spcAft>
              <a:buFont typeface="Arial" panose="020B0604020202020204" pitchFamily="34" charset="0"/>
              <a:buChar char="•"/>
            </a:pPr>
            <a:r>
              <a:rPr lang="en-US" dirty="0">
                <a:latin typeface="Roboto" charset="0"/>
                <a:ea typeface="Roboto" charset="0"/>
                <a:cs typeface="Roboto" charset="0"/>
                <a:hlinkClick r:id="rId5"/>
              </a:rPr>
              <a:t>Metering Measurement</a:t>
            </a:r>
            <a:endParaRPr lang="en-US" dirty="0">
              <a:latin typeface="Roboto" charset="0"/>
              <a:ea typeface="Roboto" charset="0"/>
              <a:cs typeface="Roboto" charset="0"/>
            </a:endParaRPr>
          </a:p>
          <a:p>
            <a:pPr>
              <a:lnSpc>
                <a:spcPct val="90000"/>
              </a:lnSpc>
              <a:spcAft>
                <a:spcPts val="1000"/>
              </a:spcAft>
            </a:pPr>
            <a:r>
              <a:rPr lang="en-US" dirty="0">
                <a:latin typeface="Roboto" charset="0"/>
                <a:ea typeface="Roboto" charset="0"/>
                <a:cs typeface="Roboto" charset="0"/>
              </a:rPr>
              <a:t>	</a:t>
            </a:r>
          </a:p>
        </p:txBody>
      </p:sp>
      <p:pic>
        <p:nvPicPr>
          <p:cNvPr id="3" name="Picture 2" descr="Graphical user interface, application&#10;&#10;Description automatically generated with medium confidence">
            <a:extLst>
              <a:ext uri="{FF2B5EF4-FFF2-40B4-BE49-F238E27FC236}">
                <a16:creationId xmlns:a16="http://schemas.microsoft.com/office/drawing/2014/main" id="{329CCB73-4FF4-4D18-A642-476F58814FA2}"/>
              </a:ext>
            </a:extLst>
          </p:cNvPr>
          <p:cNvPicPr>
            <a:picLocks noChangeAspect="1"/>
          </p:cNvPicPr>
          <p:nvPr/>
        </p:nvPicPr>
        <p:blipFill>
          <a:blip r:embed="rId6"/>
          <a:stretch>
            <a:fillRect/>
          </a:stretch>
        </p:blipFill>
        <p:spPr>
          <a:xfrm>
            <a:off x="6400800" y="2707710"/>
            <a:ext cx="5702300" cy="3588315"/>
          </a:xfrm>
          <a:prstGeom prst="rect">
            <a:avLst/>
          </a:prstGeom>
        </p:spPr>
      </p:pic>
    </p:spTree>
    <p:extLst>
      <p:ext uri="{BB962C8B-B14F-4D97-AF65-F5344CB8AC3E}">
        <p14:creationId xmlns:p14="http://schemas.microsoft.com/office/powerpoint/2010/main" val="3969630399"/>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22">
            <a:extLst>
              <a:ext uri="{FF2B5EF4-FFF2-40B4-BE49-F238E27FC236}">
                <a16:creationId xmlns:a16="http://schemas.microsoft.com/office/drawing/2014/main" id="{24FB8532-3D96-47AA-BEA8-1988E25F8487}"/>
              </a:ext>
            </a:extLst>
          </p:cNvPr>
          <p:cNvSpPr txBox="1"/>
          <p:nvPr/>
        </p:nvSpPr>
        <p:spPr>
          <a:xfrm>
            <a:off x="483969" y="263644"/>
            <a:ext cx="1899879" cy="707758"/>
          </a:xfrm>
          <a:prstGeom prst="rect">
            <a:avLst/>
          </a:prstGeom>
          <a:noFill/>
        </p:spPr>
        <p:txBody>
          <a:bodyPr wrap="none" rtlCol="0">
            <a:spAutoFit/>
          </a:bodyPr>
          <a:lstStyle/>
          <a:p>
            <a:pPr defTabSz="457063">
              <a:defRPr/>
            </a:pPr>
            <a:r>
              <a:rPr lang="en-US" sz="3999" b="1" spc="50" dirty="0">
                <a:gradFill>
                  <a:gsLst>
                    <a:gs pos="0">
                      <a:srgbClr val="FF4D00">
                        <a:alpha val="85000"/>
                      </a:srgbClr>
                    </a:gs>
                    <a:gs pos="97000">
                      <a:srgbClr val="FF7D00">
                        <a:alpha val="88000"/>
                      </a:srgbClr>
                    </a:gs>
                  </a:gsLst>
                  <a:lin ang="10200000" scaled="0"/>
                </a:gradFill>
                <a:latin typeface="+mj-lt"/>
                <a:ea typeface="Roboto" panose="02000000000000000000" pitchFamily="2" charset="0"/>
                <a:cs typeface="Roboto" panose="02000000000000000000" pitchFamily="2" charset="0"/>
              </a:rPr>
              <a:t>Agenda</a:t>
            </a:r>
          </a:p>
        </p:txBody>
      </p:sp>
      <p:sp>
        <p:nvSpPr>
          <p:cNvPr id="20" name="TextBox 19">
            <a:extLst>
              <a:ext uri="{FF2B5EF4-FFF2-40B4-BE49-F238E27FC236}">
                <a16:creationId xmlns:a16="http://schemas.microsoft.com/office/drawing/2014/main" id="{528740DE-4155-4B4C-8760-25CDE6689619}"/>
              </a:ext>
            </a:extLst>
          </p:cNvPr>
          <p:cNvSpPr txBox="1"/>
          <p:nvPr/>
        </p:nvSpPr>
        <p:spPr>
          <a:xfrm>
            <a:off x="3533992" y="2241753"/>
            <a:ext cx="6672978" cy="2751829"/>
          </a:xfrm>
          <a:prstGeom prst="rect">
            <a:avLst/>
          </a:prstGeom>
          <a:noFill/>
        </p:spPr>
        <p:txBody>
          <a:bodyPr wrap="square" lIns="0" tIns="0" rIns="0" bIns="0" rtlCol="0">
            <a:noAutofit/>
          </a:bodyPr>
          <a:lstStyle/>
          <a:p>
            <a:pPr marL="457063" indent="-457063">
              <a:lnSpc>
                <a:spcPct val="90000"/>
              </a:lnSpc>
              <a:spcAft>
                <a:spcPts val="1000"/>
              </a:spcAft>
              <a:buFont typeface="Arial" panose="020B0604020202020204" pitchFamily="34" charset="0"/>
              <a:buChar char="•"/>
            </a:pPr>
            <a:r>
              <a:rPr lang="en-US" sz="3200" b="1" dirty="0">
                <a:latin typeface="Roboto" charset="0"/>
                <a:ea typeface="Roboto" charset="0"/>
                <a:cs typeface="Roboto" charset="0"/>
              </a:rPr>
              <a:t>Why CDI</a:t>
            </a:r>
          </a:p>
          <a:p>
            <a:pPr marL="457063" indent="-457063">
              <a:lnSpc>
                <a:spcPct val="90000"/>
              </a:lnSpc>
              <a:spcAft>
                <a:spcPts val="1000"/>
              </a:spcAft>
              <a:buFont typeface="Arial" panose="020B0604020202020204" pitchFamily="34" charset="0"/>
              <a:buChar char="•"/>
            </a:pPr>
            <a:r>
              <a:rPr lang="en-US" sz="3200" b="1" dirty="0">
                <a:latin typeface="Roboto" charset="0"/>
                <a:ea typeface="Roboto" charset="0"/>
                <a:cs typeface="Roboto" charset="0"/>
              </a:rPr>
              <a:t>PODs and Orgs</a:t>
            </a:r>
          </a:p>
          <a:p>
            <a:pPr marL="457063" indent="-457063">
              <a:lnSpc>
                <a:spcPct val="90000"/>
              </a:lnSpc>
              <a:spcAft>
                <a:spcPts val="1000"/>
              </a:spcAft>
              <a:buFont typeface="Arial" panose="020B0604020202020204" pitchFamily="34" charset="0"/>
              <a:buChar char="•"/>
            </a:pPr>
            <a:r>
              <a:rPr lang="en-US" sz="3200" b="1" dirty="0">
                <a:latin typeface="Roboto" charset="0"/>
                <a:ea typeface="Roboto" charset="0"/>
                <a:cs typeface="Roboto" charset="0"/>
              </a:rPr>
              <a:t>IICS Architecture</a:t>
            </a:r>
          </a:p>
          <a:p>
            <a:pPr marL="457063" indent="-457063">
              <a:lnSpc>
                <a:spcPct val="90000"/>
              </a:lnSpc>
              <a:spcAft>
                <a:spcPts val="1000"/>
              </a:spcAft>
              <a:buFont typeface="Arial" panose="020B0604020202020204" pitchFamily="34" charset="0"/>
              <a:buChar char="•"/>
            </a:pPr>
            <a:r>
              <a:rPr lang="en-US" sz="3200" b="1" dirty="0">
                <a:latin typeface="Roboto" charset="0"/>
                <a:ea typeface="Roboto" charset="0"/>
                <a:cs typeface="Roboto" charset="0"/>
              </a:rPr>
              <a:t>IPU’s</a:t>
            </a:r>
          </a:p>
        </p:txBody>
      </p:sp>
    </p:spTree>
    <p:extLst>
      <p:ext uri="{BB962C8B-B14F-4D97-AF65-F5344CB8AC3E}">
        <p14:creationId xmlns:p14="http://schemas.microsoft.com/office/powerpoint/2010/main" val="3284682022"/>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 name="Group">
            <a:extLst>
              <a:ext uri="{FF2B5EF4-FFF2-40B4-BE49-F238E27FC236}">
                <a16:creationId xmlns:a16="http://schemas.microsoft.com/office/drawing/2014/main" id="{F7E7072B-94A2-4852-8EEB-382207294E72}"/>
              </a:ext>
            </a:extLst>
          </p:cNvPr>
          <p:cNvSpPr txBox="1"/>
          <p:nvPr/>
        </p:nvSpPr>
        <p:spPr>
          <a:xfrm>
            <a:off x="3832974" y="212067"/>
            <a:ext cx="4508738" cy="50701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ctr">
            <a:noAutofit/>
          </a:bodyPr>
          <a:lstStyle>
            <a:lvl1pPr defTabSz="1828800">
              <a:lnSpc>
                <a:spcPct val="90000"/>
              </a:lnSpc>
              <a:spcBef>
                <a:spcPts val="2000"/>
              </a:spcBef>
              <a:defRPr sz="3500" spc="175">
                <a:latin typeface="Roboto Lt"/>
                <a:ea typeface="Roboto Lt"/>
                <a:cs typeface="Roboto Lt"/>
                <a:sym typeface="Roboto Light"/>
              </a:defRPr>
            </a:lvl1pPr>
          </a:lstStyle>
          <a:p>
            <a:pPr marL="0" marR="0" lvl="0" indent="0" algn="ctr" defTabSz="913760" rtl="0" eaLnBrk="1" fontAlgn="auto" latinLnBrk="0" hangingPunct="1">
              <a:lnSpc>
                <a:spcPct val="90000"/>
              </a:lnSpc>
              <a:spcBef>
                <a:spcPts val="1999"/>
              </a:spcBef>
              <a:spcAft>
                <a:spcPts val="0"/>
              </a:spcAft>
              <a:buClrTx/>
              <a:buSzTx/>
              <a:buFontTx/>
              <a:buNone/>
              <a:tabLst/>
              <a:defRPr/>
            </a:pPr>
            <a:r>
              <a:rPr kumimoji="0" sz="1400" b="0" i="0" u="none" strike="noStrike" kern="1200" cap="none" spc="0" normalizeH="0" baseline="0" noProof="0">
                <a:ln>
                  <a:noFill/>
                </a:ln>
                <a:solidFill>
                  <a:srgbClr val="FF7D00"/>
                </a:solidFill>
                <a:effectLst/>
                <a:uLnTx/>
                <a:uFillTx/>
                <a:latin typeface="Roboto" panose="02000000000000000000" pitchFamily="2" charset="0"/>
                <a:ea typeface="Roboto Light" panose="02000000000000000000" pitchFamily="2" charset="0"/>
                <a:sym typeface="Roboto Light"/>
              </a:rPr>
              <a:t>DATA CONSUMERS</a:t>
            </a:r>
          </a:p>
        </p:txBody>
      </p:sp>
      <p:grpSp>
        <p:nvGrpSpPr>
          <p:cNvPr id="137" name="Group 136">
            <a:extLst>
              <a:ext uri="{FF2B5EF4-FFF2-40B4-BE49-F238E27FC236}">
                <a16:creationId xmlns:a16="http://schemas.microsoft.com/office/drawing/2014/main" id="{8FFDF3CA-E3B3-4518-A812-CB27EFEE943D}"/>
              </a:ext>
            </a:extLst>
          </p:cNvPr>
          <p:cNvGrpSpPr/>
          <p:nvPr/>
        </p:nvGrpSpPr>
        <p:grpSpPr>
          <a:xfrm>
            <a:off x="3694280" y="726408"/>
            <a:ext cx="1102886" cy="322419"/>
            <a:chOff x="5323896" y="746468"/>
            <a:chExt cx="1103747" cy="322671"/>
          </a:xfrm>
        </p:grpSpPr>
        <p:sp>
          <p:nvSpPr>
            <p:cNvPr id="138" name="Google Shape;204;p26">
              <a:extLst>
                <a:ext uri="{FF2B5EF4-FFF2-40B4-BE49-F238E27FC236}">
                  <a16:creationId xmlns:a16="http://schemas.microsoft.com/office/drawing/2014/main" id="{DA8E61FA-3F86-4C25-8AAF-C65F859DD919}"/>
                </a:ext>
              </a:extLst>
            </p:cNvPr>
            <p:cNvSpPr txBox="1"/>
            <p:nvPr/>
          </p:nvSpPr>
          <p:spPr>
            <a:xfrm>
              <a:off x="5583080" y="825111"/>
              <a:ext cx="844563" cy="195518"/>
            </a:xfrm>
            <a:prstGeom prst="rect">
              <a:avLst/>
            </a:prstGeom>
            <a:noFill/>
            <a:ln>
              <a:noFill/>
            </a:ln>
          </p:spPr>
          <p:txBody>
            <a:bodyPr spcFirstLastPara="1" wrap="square" lIns="91257" tIns="91257" rIns="91257" bIns="91257" anchor="ctr" anchorCtr="0">
              <a:noAutofit/>
            </a:bodyPr>
            <a:lstStyle/>
            <a:p>
              <a:pPr marL="0" marR="0" lvl="0" indent="0" algn="l" defTabSz="912664" rtl="0" eaLnBrk="1" fontAlgn="auto" latinLnBrk="0" hangingPunct="1">
                <a:lnSpc>
                  <a:spcPct val="90000"/>
                </a:lnSpc>
                <a:spcBef>
                  <a:spcPts val="0"/>
                </a:spcBef>
                <a:spcAft>
                  <a:spcPts val="0"/>
                </a:spcAft>
                <a:buClr>
                  <a:srgbClr val="000000"/>
                </a:buClr>
                <a:buSzTx/>
                <a:buFontTx/>
                <a:buNone/>
                <a:tabLst/>
                <a:defRPr/>
              </a:pPr>
              <a:r>
                <a:rPr kumimoji="0" lang="en-US" sz="800" b="0" i="0" u="none" strike="noStrike" kern="120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Arial"/>
                  <a:sym typeface="Calibri"/>
                </a:rPr>
                <a:t>Data Engineer</a:t>
              </a:r>
              <a:endParaRPr kumimoji="0" sz="800" b="0" i="0" u="none" strike="noStrike" kern="120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Arial"/>
                <a:sym typeface="Calibri"/>
              </a:endParaRPr>
            </a:p>
          </p:txBody>
        </p:sp>
        <p:pic>
          <p:nvPicPr>
            <p:cNvPr id="139" name="Picture 138">
              <a:extLst>
                <a:ext uri="{FF2B5EF4-FFF2-40B4-BE49-F238E27FC236}">
                  <a16:creationId xmlns:a16="http://schemas.microsoft.com/office/drawing/2014/main" id="{32E0F3EA-52E6-4F30-9315-C72661ED4002}"/>
                </a:ext>
              </a:extLst>
            </p:cNvPr>
            <p:cNvPicPr>
              <a:picLocks noChangeAspect="1"/>
            </p:cNvPicPr>
            <p:nvPr/>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5323896" y="746468"/>
              <a:ext cx="278038" cy="322671"/>
            </a:xfrm>
            <a:prstGeom prst="rect">
              <a:avLst/>
            </a:prstGeom>
          </p:spPr>
        </p:pic>
      </p:grpSp>
      <p:grpSp>
        <p:nvGrpSpPr>
          <p:cNvPr id="140" name="Group 139">
            <a:extLst>
              <a:ext uri="{FF2B5EF4-FFF2-40B4-BE49-F238E27FC236}">
                <a16:creationId xmlns:a16="http://schemas.microsoft.com/office/drawing/2014/main" id="{6972827D-6746-45A1-8B44-5DA0BA0329F8}"/>
              </a:ext>
            </a:extLst>
          </p:cNvPr>
          <p:cNvGrpSpPr/>
          <p:nvPr/>
        </p:nvGrpSpPr>
        <p:grpSpPr>
          <a:xfrm>
            <a:off x="4973482" y="722621"/>
            <a:ext cx="1300075" cy="329990"/>
            <a:chOff x="6046236" y="746468"/>
            <a:chExt cx="1301092" cy="330248"/>
          </a:xfrm>
        </p:grpSpPr>
        <p:sp>
          <p:nvSpPr>
            <p:cNvPr id="141" name="Google Shape;205;p26">
              <a:extLst>
                <a:ext uri="{FF2B5EF4-FFF2-40B4-BE49-F238E27FC236}">
                  <a16:creationId xmlns:a16="http://schemas.microsoft.com/office/drawing/2014/main" id="{6BD10D2F-5022-4817-B44F-4EACC8636A8C}"/>
                </a:ext>
              </a:extLst>
            </p:cNvPr>
            <p:cNvSpPr txBox="1"/>
            <p:nvPr/>
          </p:nvSpPr>
          <p:spPr>
            <a:xfrm>
              <a:off x="6303545" y="789831"/>
              <a:ext cx="1043783" cy="265756"/>
            </a:xfrm>
            <a:prstGeom prst="rect">
              <a:avLst/>
            </a:prstGeom>
            <a:noFill/>
            <a:ln>
              <a:noFill/>
            </a:ln>
          </p:spPr>
          <p:txBody>
            <a:bodyPr spcFirstLastPara="1" wrap="square" lIns="91257" tIns="91257" rIns="91257" bIns="91257" anchor="ctr" anchorCtr="0">
              <a:noAutofit/>
            </a:bodyPr>
            <a:lstStyle/>
            <a:p>
              <a:pPr marL="0" marR="0" lvl="0" indent="0" algn="l" defTabSz="912664" rtl="0" eaLnBrk="1" fontAlgn="auto" latinLnBrk="0" hangingPunct="1">
                <a:lnSpc>
                  <a:spcPct val="90000"/>
                </a:lnSpc>
                <a:spcBef>
                  <a:spcPts val="0"/>
                </a:spcBef>
                <a:spcAft>
                  <a:spcPts val="0"/>
                </a:spcAft>
                <a:buClr>
                  <a:srgbClr val="000000"/>
                </a:buClr>
                <a:buSzTx/>
                <a:buFontTx/>
                <a:buNone/>
                <a:tabLst/>
                <a:defRPr/>
              </a:pPr>
              <a:r>
                <a:rPr kumimoji="0" lang="en-US" sz="800" b="0" i="0" u="none" strike="noStrike" kern="120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Arial"/>
                  <a:sym typeface="Calibri"/>
                </a:rPr>
                <a:t>Citizen Integrator</a:t>
              </a:r>
              <a:endParaRPr kumimoji="0" sz="800" b="0" i="0" u="none" strike="noStrike" kern="120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Arial"/>
                <a:sym typeface="Calibri"/>
              </a:endParaRPr>
            </a:p>
          </p:txBody>
        </p:sp>
        <p:pic>
          <p:nvPicPr>
            <p:cNvPr id="142" name="Picture 141">
              <a:extLst>
                <a:ext uri="{FF2B5EF4-FFF2-40B4-BE49-F238E27FC236}">
                  <a16:creationId xmlns:a16="http://schemas.microsoft.com/office/drawing/2014/main" id="{73202794-B1A5-430B-BCD8-E90ADE13BF4F}"/>
                </a:ext>
              </a:extLst>
            </p:cNvPr>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6046236" y="746468"/>
              <a:ext cx="285388" cy="330248"/>
            </a:xfrm>
            <a:prstGeom prst="rect">
              <a:avLst/>
            </a:prstGeom>
          </p:spPr>
        </p:pic>
      </p:grpSp>
      <p:grpSp>
        <p:nvGrpSpPr>
          <p:cNvPr id="143" name="Group 142">
            <a:extLst>
              <a:ext uri="{FF2B5EF4-FFF2-40B4-BE49-F238E27FC236}">
                <a16:creationId xmlns:a16="http://schemas.microsoft.com/office/drawing/2014/main" id="{D170E843-7A02-4070-8E6C-E3013784CE83}"/>
              </a:ext>
            </a:extLst>
          </p:cNvPr>
          <p:cNvGrpSpPr/>
          <p:nvPr/>
        </p:nvGrpSpPr>
        <p:grpSpPr>
          <a:xfrm>
            <a:off x="6356930" y="715708"/>
            <a:ext cx="1226899" cy="343819"/>
            <a:chOff x="7255203" y="746468"/>
            <a:chExt cx="1227859" cy="344089"/>
          </a:xfrm>
        </p:grpSpPr>
        <p:sp>
          <p:nvSpPr>
            <p:cNvPr id="144" name="Google Shape;205;p26">
              <a:extLst>
                <a:ext uri="{FF2B5EF4-FFF2-40B4-BE49-F238E27FC236}">
                  <a16:creationId xmlns:a16="http://schemas.microsoft.com/office/drawing/2014/main" id="{384D461A-2014-47B0-92B8-FE59A79167B5}"/>
                </a:ext>
              </a:extLst>
            </p:cNvPr>
            <p:cNvSpPr txBox="1"/>
            <p:nvPr/>
          </p:nvSpPr>
          <p:spPr>
            <a:xfrm>
              <a:off x="7531692" y="796468"/>
              <a:ext cx="951370" cy="265756"/>
            </a:xfrm>
            <a:prstGeom prst="rect">
              <a:avLst/>
            </a:prstGeom>
            <a:noFill/>
            <a:ln>
              <a:noFill/>
            </a:ln>
          </p:spPr>
          <p:txBody>
            <a:bodyPr spcFirstLastPara="1" wrap="square" lIns="91257" tIns="91257" rIns="91257" bIns="91257" anchor="ctr" anchorCtr="0">
              <a:noAutofit/>
            </a:bodyPr>
            <a:lstStyle/>
            <a:p>
              <a:pPr marL="0" marR="0" lvl="0" indent="0" algn="l" defTabSz="912664" rtl="0" eaLnBrk="1" fontAlgn="auto" latinLnBrk="0" hangingPunct="1">
                <a:lnSpc>
                  <a:spcPct val="90000"/>
                </a:lnSpc>
                <a:spcBef>
                  <a:spcPts val="0"/>
                </a:spcBef>
                <a:spcAft>
                  <a:spcPts val="0"/>
                </a:spcAft>
                <a:buClr>
                  <a:srgbClr val="000000"/>
                </a:buClr>
                <a:buSzTx/>
                <a:buFontTx/>
                <a:buNone/>
                <a:tabLst/>
                <a:defRPr/>
              </a:pPr>
              <a:r>
                <a:rPr kumimoji="0" lang="en-US" sz="800" b="0" i="0" u="none" strike="noStrike" kern="120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Arial"/>
                  <a:sym typeface="Calibri"/>
                </a:rPr>
                <a:t>Data Scientist</a:t>
              </a:r>
              <a:endParaRPr kumimoji="0" sz="800" b="0" i="0" u="none" strike="noStrike" kern="120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Arial"/>
                <a:sym typeface="Calibri"/>
              </a:endParaRPr>
            </a:p>
          </p:txBody>
        </p:sp>
        <p:pic>
          <p:nvPicPr>
            <p:cNvPr id="145" name="Picture 144">
              <a:extLst>
                <a:ext uri="{FF2B5EF4-FFF2-40B4-BE49-F238E27FC236}">
                  <a16:creationId xmlns:a16="http://schemas.microsoft.com/office/drawing/2014/main" id="{A203225D-B633-4965-BB5A-C720B39F4F93}"/>
                </a:ext>
              </a:extLst>
            </p:cNvPr>
            <p:cNvPicPr>
              <a:picLocks noChangeAspect="1"/>
            </p:cNvPicPr>
            <p:nvPr/>
          </p:nvPicPr>
          <p:blipFill>
            <a:blip r:embed="rId7" cstate="screen">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7255203" y="746468"/>
              <a:ext cx="286182" cy="344089"/>
            </a:xfrm>
            <a:prstGeom prst="rect">
              <a:avLst/>
            </a:prstGeom>
          </p:spPr>
        </p:pic>
      </p:grpSp>
      <p:grpSp>
        <p:nvGrpSpPr>
          <p:cNvPr id="146" name="Group 145">
            <a:extLst>
              <a:ext uri="{FF2B5EF4-FFF2-40B4-BE49-F238E27FC236}">
                <a16:creationId xmlns:a16="http://schemas.microsoft.com/office/drawing/2014/main" id="{E97831C1-493C-431F-8467-4EA0AF67B586}"/>
              </a:ext>
            </a:extLst>
          </p:cNvPr>
          <p:cNvGrpSpPr/>
          <p:nvPr/>
        </p:nvGrpSpPr>
        <p:grpSpPr>
          <a:xfrm>
            <a:off x="7597965" y="722621"/>
            <a:ext cx="1018390" cy="329990"/>
            <a:chOff x="8180880" y="746468"/>
            <a:chExt cx="1019185" cy="330248"/>
          </a:xfrm>
        </p:grpSpPr>
        <p:sp>
          <p:nvSpPr>
            <p:cNvPr id="147" name="Google Shape;205;p26">
              <a:extLst>
                <a:ext uri="{FF2B5EF4-FFF2-40B4-BE49-F238E27FC236}">
                  <a16:creationId xmlns:a16="http://schemas.microsoft.com/office/drawing/2014/main" id="{8BC050AD-0078-4621-BE58-8CFDB9850E85}"/>
                </a:ext>
              </a:extLst>
            </p:cNvPr>
            <p:cNvSpPr txBox="1"/>
            <p:nvPr/>
          </p:nvSpPr>
          <p:spPr>
            <a:xfrm>
              <a:off x="8427845" y="793799"/>
              <a:ext cx="772220" cy="265756"/>
            </a:xfrm>
            <a:prstGeom prst="rect">
              <a:avLst/>
            </a:prstGeom>
            <a:noFill/>
            <a:ln>
              <a:noFill/>
            </a:ln>
          </p:spPr>
          <p:txBody>
            <a:bodyPr spcFirstLastPara="1" wrap="square" lIns="91257" tIns="91257" rIns="91257" bIns="91257" anchor="ctr" anchorCtr="0">
              <a:noAutofit/>
            </a:bodyPr>
            <a:lstStyle/>
            <a:p>
              <a:pPr marL="0" marR="0" lvl="0" indent="0" algn="l" defTabSz="912664" rtl="0" eaLnBrk="1" fontAlgn="auto" latinLnBrk="0" hangingPunct="1">
                <a:lnSpc>
                  <a:spcPct val="90000"/>
                </a:lnSpc>
                <a:spcBef>
                  <a:spcPts val="0"/>
                </a:spcBef>
                <a:spcAft>
                  <a:spcPts val="0"/>
                </a:spcAft>
                <a:buClr>
                  <a:srgbClr val="000000"/>
                </a:buClr>
                <a:buSzTx/>
                <a:buFontTx/>
                <a:buNone/>
                <a:tabLst/>
                <a:defRPr/>
              </a:pPr>
              <a:r>
                <a:rPr kumimoji="0" lang="en-US" sz="800" b="0" i="0" u="none" strike="noStrike" kern="120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Arial"/>
                  <a:sym typeface="Calibri"/>
                </a:rPr>
                <a:t>Data Analyst</a:t>
              </a:r>
              <a:endParaRPr kumimoji="0" sz="800" b="0" i="0" u="none" strike="noStrike" kern="120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Arial"/>
                <a:sym typeface="Calibri"/>
              </a:endParaRPr>
            </a:p>
          </p:txBody>
        </p:sp>
        <p:pic>
          <p:nvPicPr>
            <p:cNvPr id="148" name="Picture 147">
              <a:extLst>
                <a:ext uri="{FF2B5EF4-FFF2-40B4-BE49-F238E27FC236}">
                  <a16:creationId xmlns:a16="http://schemas.microsoft.com/office/drawing/2014/main" id="{B3E06699-1A05-419C-86CA-FE8E26CEB70B}"/>
                </a:ext>
              </a:extLst>
            </p:cNvPr>
            <p:cNvPicPr>
              <a:picLocks noChangeAspect="1"/>
            </p:cNvPicPr>
            <p:nvPr/>
          </p:nvPicPr>
          <p:blipFill>
            <a:blip r:embed="rId9" cstate="screen">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tretch>
              <a:fillRect/>
            </a:stretch>
          </p:blipFill>
          <p:spPr>
            <a:xfrm>
              <a:off x="8180880" y="746468"/>
              <a:ext cx="285865" cy="330248"/>
            </a:xfrm>
            <a:prstGeom prst="rect">
              <a:avLst/>
            </a:prstGeom>
          </p:spPr>
        </p:pic>
      </p:grpSp>
      <p:grpSp>
        <p:nvGrpSpPr>
          <p:cNvPr id="149" name="Group 148">
            <a:extLst>
              <a:ext uri="{FF2B5EF4-FFF2-40B4-BE49-F238E27FC236}">
                <a16:creationId xmlns:a16="http://schemas.microsoft.com/office/drawing/2014/main" id="{CB5AC261-1095-4D6C-A669-47EE1B6788CC}"/>
              </a:ext>
            </a:extLst>
          </p:cNvPr>
          <p:cNvGrpSpPr/>
          <p:nvPr/>
        </p:nvGrpSpPr>
        <p:grpSpPr>
          <a:xfrm>
            <a:off x="8802261" y="715432"/>
            <a:ext cx="1224786" cy="344368"/>
            <a:chOff x="9145407" y="746468"/>
            <a:chExt cx="1225743" cy="344638"/>
          </a:xfrm>
        </p:grpSpPr>
        <p:sp>
          <p:nvSpPr>
            <p:cNvPr id="150" name="Google Shape;205;p26">
              <a:extLst>
                <a:ext uri="{FF2B5EF4-FFF2-40B4-BE49-F238E27FC236}">
                  <a16:creationId xmlns:a16="http://schemas.microsoft.com/office/drawing/2014/main" id="{642F0B6A-0850-457E-85BD-AFD384749940}"/>
                </a:ext>
              </a:extLst>
            </p:cNvPr>
            <p:cNvSpPr txBox="1"/>
            <p:nvPr/>
          </p:nvSpPr>
          <p:spPr>
            <a:xfrm>
              <a:off x="9419780" y="811368"/>
              <a:ext cx="951370" cy="265756"/>
            </a:xfrm>
            <a:prstGeom prst="rect">
              <a:avLst/>
            </a:prstGeom>
            <a:noFill/>
            <a:ln>
              <a:noFill/>
            </a:ln>
          </p:spPr>
          <p:txBody>
            <a:bodyPr spcFirstLastPara="1" wrap="square" lIns="91257" tIns="91257" rIns="91257" bIns="91257" anchor="ctr" anchorCtr="0">
              <a:noAutofit/>
            </a:bodyPr>
            <a:lstStyle/>
            <a:p>
              <a:pPr marL="0" marR="0" lvl="0" indent="0" algn="l" defTabSz="912664" rtl="0" eaLnBrk="1" fontAlgn="auto" latinLnBrk="0" hangingPunct="1">
                <a:lnSpc>
                  <a:spcPct val="90000"/>
                </a:lnSpc>
                <a:spcBef>
                  <a:spcPts val="0"/>
                </a:spcBef>
                <a:spcAft>
                  <a:spcPts val="0"/>
                </a:spcAft>
                <a:buClr>
                  <a:srgbClr val="000000"/>
                </a:buClr>
                <a:buSzTx/>
                <a:buFontTx/>
                <a:buNone/>
                <a:tabLst/>
                <a:defRPr/>
              </a:pPr>
              <a:r>
                <a:rPr kumimoji="0" lang="en-US" sz="800" b="0" i="0" u="none" strike="noStrike" kern="120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Arial"/>
                  <a:sym typeface="Calibri"/>
                </a:rPr>
                <a:t>Business Users</a:t>
              </a:r>
              <a:endParaRPr kumimoji="0" sz="800" b="0" i="0" u="none" strike="noStrike" kern="120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Arial"/>
                <a:sym typeface="Calibri"/>
              </a:endParaRPr>
            </a:p>
          </p:txBody>
        </p:sp>
        <p:pic>
          <p:nvPicPr>
            <p:cNvPr id="151" name="Picture 150">
              <a:extLst>
                <a:ext uri="{FF2B5EF4-FFF2-40B4-BE49-F238E27FC236}">
                  <a16:creationId xmlns:a16="http://schemas.microsoft.com/office/drawing/2014/main" id="{A8895347-050B-4F3C-90C8-FCAE1D8F454F}"/>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9145407" y="746468"/>
              <a:ext cx="298321" cy="344638"/>
            </a:xfrm>
            <a:prstGeom prst="rect">
              <a:avLst/>
            </a:prstGeom>
          </p:spPr>
        </p:pic>
      </p:grpSp>
      <p:grpSp>
        <p:nvGrpSpPr>
          <p:cNvPr id="152" name="Group 151">
            <a:extLst>
              <a:ext uri="{FF2B5EF4-FFF2-40B4-BE49-F238E27FC236}">
                <a16:creationId xmlns:a16="http://schemas.microsoft.com/office/drawing/2014/main" id="{53297B72-B27F-4458-813D-C4352527C743}"/>
              </a:ext>
            </a:extLst>
          </p:cNvPr>
          <p:cNvGrpSpPr/>
          <p:nvPr/>
        </p:nvGrpSpPr>
        <p:grpSpPr>
          <a:xfrm>
            <a:off x="2343694" y="730690"/>
            <a:ext cx="1873673" cy="313852"/>
            <a:chOff x="5364260" y="567663"/>
            <a:chExt cx="1875137" cy="314098"/>
          </a:xfrm>
        </p:grpSpPr>
        <p:sp>
          <p:nvSpPr>
            <p:cNvPr id="153" name="Google Shape;209;p26">
              <a:extLst>
                <a:ext uri="{FF2B5EF4-FFF2-40B4-BE49-F238E27FC236}">
                  <a16:creationId xmlns:a16="http://schemas.microsoft.com/office/drawing/2014/main" id="{6B650731-AB8E-4A28-9F9D-95871A6D069C}"/>
                </a:ext>
              </a:extLst>
            </p:cNvPr>
            <p:cNvSpPr txBox="1"/>
            <p:nvPr/>
          </p:nvSpPr>
          <p:spPr>
            <a:xfrm>
              <a:off x="5658247" y="587363"/>
              <a:ext cx="1581150" cy="291086"/>
            </a:xfrm>
            <a:prstGeom prst="rect">
              <a:avLst/>
            </a:prstGeom>
            <a:noFill/>
            <a:ln>
              <a:noFill/>
            </a:ln>
          </p:spPr>
          <p:txBody>
            <a:bodyPr spcFirstLastPara="1" wrap="square" lIns="91257" tIns="91257" rIns="91257" bIns="91257" anchor="ctr" anchorCtr="0">
              <a:noAutofit/>
            </a:bodyPr>
            <a:lstStyle/>
            <a:p>
              <a:pPr marL="0" marR="0" lvl="0" indent="0" algn="l" defTabSz="912664" rtl="0" eaLnBrk="1" fontAlgn="auto" latinLnBrk="0" hangingPunct="1">
                <a:lnSpc>
                  <a:spcPct val="90000"/>
                </a:lnSpc>
                <a:spcBef>
                  <a:spcPts val="0"/>
                </a:spcBef>
                <a:spcAft>
                  <a:spcPts val="0"/>
                </a:spcAft>
                <a:buClr>
                  <a:srgbClr val="000000"/>
                </a:buClr>
                <a:buSzTx/>
                <a:buFontTx/>
                <a:buNone/>
                <a:tabLst/>
                <a:defRPr/>
              </a:pPr>
              <a:r>
                <a:rPr kumimoji="0" lang="en-US" sz="800" b="0" i="0" u="none" strike="noStrike" kern="120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Arial"/>
                  <a:sym typeface="Calibri"/>
                </a:rPr>
                <a:t>ETL Developer</a:t>
              </a:r>
              <a:endParaRPr kumimoji="0" sz="800" b="0" i="0" u="none" strike="noStrike" kern="120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Arial"/>
                <a:sym typeface="Calibri"/>
              </a:endParaRPr>
            </a:p>
          </p:txBody>
        </p:sp>
        <p:pic>
          <p:nvPicPr>
            <p:cNvPr id="154" name="Picture 153">
              <a:extLst>
                <a:ext uri="{FF2B5EF4-FFF2-40B4-BE49-F238E27FC236}">
                  <a16:creationId xmlns:a16="http://schemas.microsoft.com/office/drawing/2014/main" id="{DCE57291-07FA-4B94-85A3-AED57F4E88D3}"/>
                </a:ext>
              </a:extLst>
            </p:cNvPr>
            <p:cNvPicPr>
              <a:picLocks noChangeAspect="1"/>
            </p:cNvPicPr>
            <p:nvPr/>
          </p:nvPicPr>
          <p:blipFill>
            <a:blip r:embed="rId12" cstate="screen">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tretch>
              <a:fillRect/>
            </a:stretch>
          </p:blipFill>
          <p:spPr>
            <a:xfrm>
              <a:off x="5364260" y="567663"/>
              <a:ext cx="271824" cy="314098"/>
            </a:xfrm>
            <a:prstGeom prst="rect">
              <a:avLst/>
            </a:prstGeom>
          </p:spPr>
        </p:pic>
      </p:grpSp>
      <p:cxnSp>
        <p:nvCxnSpPr>
          <p:cNvPr id="156" name="Straight Connector 155">
            <a:extLst>
              <a:ext uri="{FF2B5EF4-FFF2-40B4-BE49-F238E27FC236}">
                <a16:creationId xmlns:a16="http://schemas.microsoft.com/office/drawing/2014/main" id="{E0140EE1-E84B-43CB-B509-6072111A5B2E}"/>
              </a:ext>
            </a:extLst>
          </p:cNvPr>
          <p:cNvCxnSpPr>
            <a:cxnSpLocks/>
          </p:cNvCxnSpPr>
          <p:nvPr/>
        </p:nvCxnSpPr>
        <p:spPr>
          <a:xfrm>
            <a:off x="1142703" y="607773"/>
            <a:ext cx="9787235" cy="0"/>
          </a:xfrm>
          <a:prstGeom prst="line">
            <a:avLst/>
          </a:prstGeom>
          <a:noFill/>
          <a:ln w="9525" cap="flat" cmpd="sng" algn="ctr">
            <a:solidFill>
              <a:schemeClr val="accent2"/>
            </a:solidFill>
            <a:prstDash val="solid"/>
            <a:miter lim="800000"/>
          </a:ln>
          <a:effectLst/>
        </p:spPr>
      </p:cxnSp>
      <p:sp>
        <p:nvSpPr>
          <p:cNvPr id="134" name="Rounded Rectangle">
            <a:extLst>
              <a:ext uri="{FF2B5EF4-FFF2-40B4-BE49-F238E27FC236}">
                <a16:creationId xmlns:a16="http://schemas.microsoft.com/office/drawing/2014/main" id="{59BCBD5D-3F15-4659-A6A3-687DC5EFD0FE}"/>
              </a:ext>
            </a:extLst>
          </p:cNvPr>
          <p:cNvSpPr/>
          <p:nvPr/>
        </p:nvSpPr>
        <p:spPr>
          <a:xfrm>
            <a:off x="986774" y="1652113"/>
            <a:ext cx="10192500" cy="3427933"/>
          </a:xfrm>
          <a:prstGeom prst="roundRect">
            <a:avLst>
              <a:gd name="adj" fmla="val 5816"/>
            </a:avLst>
          </a:prstGeom>
          <a:solidFill>
            <a:srgbClr val="FFFFFF"/>
          </a:solidFill>
          <a:ln w="127000">
            <a:solidFill>
              <a:srgbClr val="A7A7A7"/>
            </a:solidFill>
            <a:miter lim="400000"/>
          </a:ln>
        </p:spPr>
        <p:txBody>
          <a:bodyPr lIns="25372" tIns="25372" rIns="25372" bIns="25372" anchor="ctr"/>
          <a:lstStyle/>
          <a:p>
            <a:pPr marL="0" marR="0" lvl="0" indent="0" algn="l" defTabSz="412336" rtl="0" eaLnBrk="1" fontAlgn="auto" latinLnBrk="0" hangingPunct="1">
              <a:lnSpc>
                <a:spcPct val="100000"/>
              </a:lnSpc>
              <a:spcBef>
                <a:spcPts val="0"/>
              </a:spcBef>
              <a:spcAft>
                <a:spcPts val="0"/>
              </a:spcAft>
              <a:buClrTx/>
              <a:buSzTx/>
              <a:buFontTx/>
              <a:buNone/>
              <a:tabLst/>
              <a:defRPr sz="3200">
                <a:solidFill>
                  <a:srgbClr val="FF7C00"/>
                </a:solidFill>
                <a:latin typeface="Helvetica Neue Medium"/>
                <a:ea typeface="Helvetica Neue Medium"/>
                <a:cs typeface="Helvetica Neue Medium"/>
                <a:sym typeface="Helvetica Neue Medium"/>
              </a:defRPr>
            </a:pPr>
            <a:endParaRPr kumimoji="0" sz="1600" b="0" i="0" u="none" strike="noStrike" kern="1200" cap="none" spc="0" normalizeH="0" baseline="0" noProof="0">
              <a:ln>
                <a:noFill/>
              </a:ln>
              <a:solidFill>
                <a:srgbClr val="FF7C00"/>
              </a:solidFill>
              <a:effectLst/>
              <a:uLnTx/>
              <a:uFillTx/>
              <a:latin typeface="Roboto" panose="02000000000000000000" pitchFamily="2" charset="0"/>
              <a:ea typeface="Roboto" panose="02000000000000000000" pitchFamily="2" charset="0"/>
              <a:cs typeface="Arial" panose="020B0604020202020204" pitchFamily="34" charset="0"/>
              <a:sym typeface="Helvetica Neue Medium"/>
            </a:endParaRPr>
          </a:p>
        </p:txBody>
      </p:sp>
      <p:sp>
        <p:nvSpPr>
          <p:cNvPr id="225" name="Round Same Side Corner Rectangle 78">
            <a:extLst>
              <a:ext uri="{FF2B5EF4-FFF2-40B4-BE49-F238E27FC236}">
                <a16:creationId xmlns:a16="http://schemas.microsoft.com/office/drawing/2014/main" id="{C4143DE8-B528-40BE-B5E3-DD38D35C1561}"/>
              </a:ext>
            </a:extLst>
          </p:cNvPr>
          <p:cNvSpPr/>
          <p:nvPr/>
        </p:nvSpPr>
        <p:spPr>
          <a:xfrm>
            <a:off x="4107709" y="2612630"/>
            <a:ext cx="1259707" cy="106123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20394"/>
                </a:lnTo>
                <a:cubicBezTo>
                  <a:pt x="21600" y="21060"/>
                  <a:pt x="21037" y="21600"/>
                  <a:pt x="20342" y="21600"/>
                </a:cubicBezTo>
                <a:lnTo>
                  <a:pt x="1258" y="21600"/>
                </a:lnTo>
                <a:cubicBezTo>
                  <a:pt x="563" y="21600"/>
                  <a:pt x="0" y="21060"/>
                  <a:pt x="0" y="20394"/>
                </a:cubicBezTo>
                <a:lnTo>
                  <a:pt x="0" y="0"/>
                </a:lnTo>
                <a:close/>
              </a:path>
            </a:pathLst>
          </a:custGeom>
          <a:gradFill flip="none" rotWithShape="1">
            <a:gsLst>
              <a:gs pos="15000">
                <a:srgbClr val="FFFFFF"/>
              </a:gs>
              <a:gs pos="87000">
                <a:srgbClr val="D9D9D9"/>
              </a:gs>
            </a:gsLst>
            <a:lin ang="5400000" scaled="0"/>
          </a:gradFill>
          <a:ln w="12700" cap="flat">
            <a:noFill/>
            <a:miter lim="400000"/>
          </a:ln>
          <a:effectLst>
            <a:outerShdw blurRad="139700" dist="25400" dir="5400000" rotWithShape="0">
              <a:srgbClr val="000000">
                <a:alpha val="40000"/>
              </a:srgbClr>
            </a:outerShdw>
          </a:effectLst>
        </p:spPr>
        <p:txBody>
          <a:bodyPr wrap="square" lIns="91344" tIns="91344" rIns="91344" bIns="91344" numCol="1" anchor="ctr">
            <a:noAutofit/>
          </a:bodyPr>
          <a:lstStyle/>
          <a:p>
            <a:pPr marL="0" marR="0" lvl="0" indent="0" algn="ctr" defTabSz="456744" rtl="0" eaLnBrk="1" fontAlgn="auto" latinLnBrk="0" hangingPunct="1">
              <a:lnSpc>
                <a:spcPct val="100000"/>
              </a:lnSpc>
              <a:spcBef>
                <a:spcPts val="0"/>
              </a:spcBef>
              <a:spcAft>
                <a:spcPts val="0"/>
              </a:spcAft>
              <a:buClrTx/>
              <a:buSzTx/>
              <a:buFontTx/>
              <a:buNone/>
              <a:tabLst/>
              <a:defRPr sz="3400">
                <a:latin typeface="Roboto Light"/>
                <a:ea typeface="Roboto Light"/>
                <a:cs typeface="Roboto Light"/>
                <a:sym typeface="Roboto Light"/>
              </a:defRPr>
            </a:pPr>
            <a:endParaRPr kumimoji="0" sz="3397" b="0" i="0" u="none" strike="noStrike" kern="1200" cap="none" spc="0" normalizeH="0" baseline="0" noProof="0">
              <a:ln>
                <a:noFill/>
              </a:ln>
              <a:solidFill>
                <a:srgbClr val="373737"/>
              </a:solidFill>
              <a:effectLst/>
              <a:uLnTx/>
              <a:uFillTx/>
              <a:latin typeface="Roboto" panose="02000000000000000000" pitchFamily="2" charset="0"/>
              <a:ea typeface="Roboto Light"/>
              <a:cs typeface="Arial" panose="020B0604020202020204" pitchFamily="34" charset="0"/>
              <a:sym typeface="Roboto Light"/>
            </a:endParaRPr>
          </a:p>
        </p:txBody>
      </p:sp>
      <p:sp>
        <p:nvSpPr>
          <p:cNvPr id="235" name="Rectangle 79">
            <a:extLst>
              <a:ext uri="{FF2B5EF4-FFF2-40B4-BE49-F238E27FC236}">
                <a16:creationId xmlns:a16="http://schemas.microsoft.com/office/drawing/2014/main" id="{1F1276CF-ACA1-4E7E-A2CB-2775C4E5FD1A}"/>
              </a:ext>
            </a:extLst>
          </p:cNvPr>
          <p:cNvSpPr/>
          <p:nvPr/>
        </p:nvSpPr>
        <p:spPr>
          <a:xfrm>
            <a:off x="4107705" y="2612629"/>
            <a:ext cx="1259708" cy="103587"/>
          </a:xfrm>
          <a:prstGeom prst="rect">
            <a:avLst/>
          </a:prstGeom>
          <a:solidFill>
            <a:srgbClr val="00A9BB"/>
          </a:solidFill>
          <a:ln w="12700" cap="flat">
            <a:noFill/>
            <a:miter lim="400000"/>
          </a:ln>
          <a:effectLst/>
        </p:spPr>
        <p:txBody>
          <a:bodyPr wrap="square" lIns="91344" tIns="91344" rIns="91344" bIns="91344" numCol="1" anchor="ctr">
            <a:noAutofit/>
          </a:bodyPr>
          <a:lstStyle/>
          <a:p>
            <a:pPr marL="0" marR="0" lvl="0" indent="0" algn="ctr" defTabSz="456744" rtl="0" eaLnBrk="1" fontAlgn="auto" latinLnBrk="0" hangingPunct="1">
              <a:lnSpc>
                <a:spcPct val="100000"/>
              </a:lnSpc>
              <a:spcBef>
                <a:spcPts val="0"/>
              </a:spcBef>
              <a:spcAft>
                <a:spcPts val="0"/>
              </a:spcAft>
              <a:buClrTx/>
              <a:buSzTx/>
              <a:buFontTx/>
              <a:buNone/>
              <a:tabLst/>
              <a:defRPr sz="3400">
                <a:latin typeface="Roboto Light"/>
                <a:ea typeface="Roboto Light"/>
                <a:cs typeface="Roboto Light"/>
                <a:sym typeface="Roboto Light"/>
              </a:defRPr>
            </a:pPr>
            <a:endParaRPr kumimoji="0" sz="3397" b="0" i="0" u="none" strike="noStrike" kern="1200" cap="none" spc="0" normalizeH="0" baseline="0" noProof="0">
              <a:ln>
                <a:noFill/>
              </a:ln>
              <a:solidFill>
                <a:srgbClr val="373737"/>
              </a:solidFill>
              <a:effectLst/>
              <a:uLnTx/>
              <a:uFillTx/>
              <a:latin typeface="Roboto" panose="02000000000000000000" pitchFamily="2" charset="0"/>
              <a:ea typeface="Roboto Light"/>
              <a:cs typeface="Arial" panose="020B0604020202020204" pitchFamily="34" charset="0"/>
              <a:sym typeface="Roboto Light"/>
            </a:endParaRPr>
          </a:p>
        </p:txBody>
      </p:sp>
      <p:sp>
        <p:nvSpPr>
          <p:cNvPr id="236" name="Right Triangle 80">
            <a:extLst>
              <a:ext uri="{FF2B5EF4-FFF2-40B4-BE49-F238E27FC236}">
                <a16:creationId xmlns:a16="http://schemas.microsoft.com/office/drawing/2014/main" id="{C4E57AF4-7F34-4EB3-B21F-6E6258B2FA93}"/>
              </a:ext>
            </a:extLst>
          </p:cNvPr>
          <p:cNvSpPr/>
          <p:nvPr/>
        </p:nvSpPr>
        <p:spPr>
          <a:xfrm rot="10800000" flipH="1">
            <a:off x="4107709" y="2612628"/>
            <a:ext cx="1176047" cy="106123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0" y="0"/>
                </a:lnTo>
                <a:close/>
              </a:path>
            </a:pathLst>
          </a:custGeom>
          <a:gradFill flip="none" rotWithShape="1">
            <a:gsLst>
              <a:gs pos="15000">
                <a:srgbClr val="FFFFFF">
                  <a:alpha val="27000"/>
                </a:srgbClr>
              </a:gs>
              <a:gs pos="87000">
                <a:srgbClr val="FFFFFF">
                  <a:alpha val="54000"/>
                </a:srgbClr>
              </a:gs>
            </a:gsLst>
            <a:lin ang="16200000" scaled="0"/>
          </a:gradFill>
          <a:ln w="12700" cap="flat">
            <a:noFill/>
            <a:miter lim="400000"/>
          </a:ln>
          <a:effectLst/>
        </p:spPr>
        <p:txBody>
          <a:bodyPr wrap="square" lIns="91344" tIns="91344" rIns="91344" bIns="91344" numCol="1" anchor="ctr">
            <a:noAutofit/>
          </a:bodyPr>
          <a:lstStyle/>
          <a:p>
            <a:pPr marL="0" marR="0" lvl="0" indent="0" algn="ctr" defTabSz="913212" rtl="0" eaLnBrk="1" fontAlgn="auto" latinLnBrk="0" hangingPunct="1">
              <a:lnSpc>
                <a:spcPct val="100000"/>
              </a:lnSpc>
              <a:spcBef>
                <a:spcPts val="0"/>
              </a:spcBef>
              <a:spcAft>
                <a:spcPts val="0"/>
              </a:spcAft>
              <a:buClrTx/>
              <a:buSzTx/>
              <a:buFontTx/>
              <a:buNone/>
              <a:tabLst/>
              <a:defRPr sz="3400">
                <a:latin typeface="Roboto Light"/>
                <a:ea typeface="Roboto Light"/>
                <a:cs typeface="Roboto Light"/>
                <a:sym typeface="Roboto Light"/>
              </a:defRPr>
            </a:pPr>
            <a:endParaRPr kumimoji="0" sz="3397" b="0" i="0" u="none" strike="noStrike" kern="1200" cap="none" spc="0" normalizeH="0" baseline="0" noProof="0">
              <a:ln>
                <a:noFill/>
              </a:ln>
              <a:solidFill>
                <a:srgbClr val="373737"/>
              </a:solidFill>
              <a:effectLst/>
              <a:uLnTx/>
              <a:uFillTx/>
              <a:latin typeface="Roboto" panose="02000000000000000000" pitchFamily="2" charset="0"/>
              <a:ea typeface="Roboto Light"/>
              <a:cs typeface="Arial" panose="020B0604020202020204" pitchFamily="34" charset="0"/>
              <a:sym typeface="Roboto Light"/>
            </a:endParaRPr>
          </a:p>
        </p:txBody>
      </p:sp>
      <p:sp>
        <p:nvSpPr>
          <p:cNvPr id="237" name="TextBox 77">
            <a:extLst>
              <a:ext uri="{FF2B5EF4-FFF2-40B4-BE49-F238E27FC236}">
                <a16:creationId xmlns:a16="http://schemas.microsoft.com/office/drawing/2014/main" id="{CDFEF7E9-149C-40A4-B066-A783F8212513}"/>
              </a:ext>
            </a:extLst>
          </p:cNvPr>
          <p:cNvSpPr txBox="1"/>
          <p:nvPr/>
        </p:nvSpPr>
        <p:spPr>
          <a:xfrm>
            <a:off x="4139294" y="3286169"/>
            <a:ext cx="1205743" cy="36142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t">
            <a:noAutofit/>
          </a:bodyPr>
          <a:lstStyle/>
          <a:p>
            <a:pPr marL="0" marR="0" lvl="0" indent="0" algn="ctr" defTabSz="456744" rtl="0" eaLnBrk="1" fontAlgn="auto" latinLnBrk="0" hangingPunct="1">
              <a:lnSpc>
                <a:spcPct val="90000"/>
              </a:lnSpc>
              <a:spcBef>
                <a:spcPts val="0"/>
              </a:spcBef>
              <a:spcAft>
                <a:spcPts val="0"/>
              </a:spcAft>
              <a:buClrTx/>
              <a:buSzTx/>
              <a:buFontTx/>
              <a:buNone/>
              <a:tabLst/>
              <a:defRPr sz="1800">
                <a:solidFill>
                  <a:srgbClr val="373737"/>
                </a:solidFill>
                <a:latin typeface="Roboto Light"/>
                <a:ea typeface="Roboto Light"/>
                <a:cs typeface="Roboto Light"/>
                <a:sym typeface="Roboto Light"/>
              </a:defRPr>
            </a:pPr>
            <a:r>
              <a:rPr kumimoji="0" lang="en-US" sz="1050" b="0" i="0" u="none" strike="noStrike" kern="1200" cap="none" spc="0" normalizeH="0" baseline="0" noProof="0">
                <a:ln>
                  <a:noFill/>
                </a:ln>
                <a:solidFill>
                  <a:srgbClr val="373737"/>
                </a:solidFill>
                <a:effectLst/>
                <a:uLnTx/>
                <a:uFillTx/>
                <a:latin typeface="Roboto" panose="02000000000000000000" pitchFamily="2" charset="0"/>
                <a:ea typeface="Roboto Light"/>
                <a:cs typeface="Arial" panose="020B0604020202020204" pitchFamily="34" charset="0"/>
                <a:sym typeface="Roboto Light"/>
              </a:rPr>
              <a:t>API &amp; APP </a:t>
            </a:r>
            <a:br>
              <a:rPr kumimoji="0" lang="en-US" sz="1050" b="0" i="0" u="none" strike="noStrike" kern="1200" cap="none" spc="0" normalizeH="0" baseline="0" noProof="0">
                <a:ln>
                  <a:noFill/>
                </a:ln>
                <a:solidFill>
                  <a:srgbClr val="373737"/>
                </a:solidFill>
                <a:effectLst/>
                <a:uLnTx/>
                <a:uFillTx/>
                <a:latin typeface="Roboto" panose="02000000000000000000" pitchFamily="2" charset="0"/>
                <a:ea typeface="Roboto Light"/>
                <a:cs typeface="Arial" panose="020B0604020202020204" pitchFamily="34" charset="0"/>
                <a:sym typeface="Roboto Light"/>
              </a:rPr>
            </a:br>
            <a:r>
              <a:rPr kumimoji="0" lang="en-US" sz="1050" b="0" i="0" u="none" strike="noStrike" kern="1200" cap="none" spc="0" normalizeH="0" baseline="0" noProof="0">
                <a:ln>
                  <a:noFill/>
                </a:ln>
                <a:solidFill>
                  <a:srgbClr val="373737"/>
                </a:solidFill>
                <a:effectLst/>
                <a:uLnTx/>
                <a:uFillTx/>
                <a:latin typeface="Roboto" panose="02000000000000000000" pitchFamily="2" charset="0"/>
                <a:ea typeface="Roboto Light"/>
                <a:cs typeface="Arial" panose="020B0604020202020204" pitchFamily="34" charset="0"/>
                <a:sym typeface="Roboto Light"/>
              </a:rPr>
              <a:t>INTEGRATION</a:t>
            </a:r>
          </a:p>
        </p:txBody>
      </p:sp>
      <p:sp>
        <p:nvSpPr>
          <p:cNvPr id="240" name="Round Same Side Corner Rectangle 86">
            <a:extLst>
              <a:ext uri="{FF2B5EF4-FFF2-40B4-BE49-F238E27FC236}">
                <a16:creationId xmlns:a16="http://schemas.microsoft.com/office/drawing/2014/main" id="{03A26963-AE59-4119-A713-D12972AD9CCD}"/>
              </a:ext>
            </a:extLst>
          </p:cNvPr>
          <p:cNvSpPr/>
          <p:nvPr/>
        </p:nvSpPr>
        <p:spPr>
          <a:xfrm>
            <a:off x="5485272" y="2612630"/>
            <a:ext cx="1259707" cy="106123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20394"/>
                </a:lnTo>
                <a:cubicBezTo>
                  <a:pt x="21600" y="21060"/>
                  <a:pt x="21037" y="21600"/>
                  <a:pt x="20342" y="21600"/>
                </a:cubicBezTo>
                <a:lnTo>
                  <a:pt x="1258" y="21600"/>
                </a:lnTo>
                <a:cubicBezTo>
                  <a:pt x="563" y="21600"/>
                  <a:pt x="0" y="21060"/>
                  <a:pt x="0" y="20394"/>
                </a:cubicBezTo>
                <a:lnTo>
                  <a:pt x="0" y="0"/>
                </a:lnTo>
                <a:close/>
              </a:path>
            </a:pathLst>
          </a:custGeom>
          <a:gradFill flip="none" rotWithShape="1">
            <a:gsLst>
              <a:gs pos="15000">
                <a:srgbClr val="FFFFFF"/>
              </a:gs>
              <a:gs pos="87000">
                <a:srgbClr val="D9D9D9"/>
              </a:gs>
            </a:gsLst>
            <a:lin ang="5400000" scaled="0"/>
          </a:gradFill>
          <a:ln w="12700" cap="flat">
            <a:noFill/>
            <a:miter lim="400000"/>
          </a:ln>
          <a:effectLst>
            <a:outerShdw blurRad="139700" dist="25400" dir="5400000" rotWithShape="0">
              <a:srgbClr val="000000">
                <a:alpha val="40000"/>
              </a:srgbClr>
            </a:outerShdw>
          </a:effectLst>
        </p:spPr>
        <p:txBody>
          <a:bodyPr wrap="square" lIns="91344" tIns="91344" rIns="91344" bIns="91344" numCol="1" anchor="ctr">
            <a:noAutofit/>
          </a:bodyPr>
          <a:lstStyle/>
          <a:p>
            <a:pPr marL="0" marR="0" lvl="0" indent="0" algn="ctr" defTabSz="456744" rtl="0" eaLnBrk="1" fontAlgn="auto" latinLnBrk="0" hangingPunct="1">
              <a:lnSpc>
                <a:spcPct val="100000"/>
              </a:lnSpc>
              <a:spcBef>
                <a:spcPts val="0"/>
              </a:spcBef>
              <a:spcAft>
                <a:spcPts val="0"/>
              </a:spcAft>
              <a:buClrTx/>
              <a:buSzTx/>
              <a:buFontTx/>
              <a:buNone/>
              <a:tabLst/>
              <a:defRPr sz="3400">
                <a:latin typeface="Roboto Light"/>
                <a:ea typeface="Roboto Light"/>
                <a:cs typeface="Roboto Light"/>
                <a:sym typeface="Roboto Light"/>
              </a:defRPr>
            </a:pPr>
            <a:endParaRPr kumimoji="0" sz="3397" b="0" i="0" u="none" strike="noStrike" kern="1200" cap="none" spc="0" normalizeH="0" baseline="0" noProof="0">
              <a:ln>
                <a:noFill/>
              </a:ln>
              <a:solidFill>
                <a:srgbClr val="373737"/>
              </a:solidFill>
              <a:effectLst/>
              <a:uLnTx/>
              <a:uFillTx/>
              <a:latin typeface="Roboto" panose="02000000000000000000" pitchFamily="2" charset="0"/>
              <a:ea typeface="Roboto Light"/>
              <a:cs typeface="Arial" panose="020B0604020202020204" pitchFamily="34" charset="0"/>
              <a:sym typeface="Roboto Light"/>
            </a:endParaRPr>
          </a:p>
        </p:txBody>
      </p:sp>
      <p:sp>
        <p:nvSpPr>
          <p:cNvPr id="241" name="Rectangle 87">
            <a:extLst>
              <a:ext uri="{FF2B5EF4-FFF2-40B4-BE49-F238E27FC236}">
                <a16:creationId xmlns:a16="http://schemas.microsoft.com/office/drawing/2014/main" id="{B22268FF-E1BF-482F-808E-5E20E534C511}"/>
              </a:ext>
            </a:extLst>
          </p:cNvPr>
          <p:cNvSpPr/>
          <p:nvPr/>
        </p:nvSpPr>
        <p:spPr>
          <a:xfrm>
            <a:off x="5485269" y="2612629"/>
            <a:ext cx="1259708" cy="103587"/>
          </a:xfrm>
          <a:prstGeom prst="rect">
            <a:avLst/>
          </a:prstGeom>
          <a:solidFill>
            <a:srgbClr val="00A9BB"/>
          </a:solidFill>
          <a:ln w="12700" cap="flat">
            <a:noFill/>
            <a:miter lim="400000"/>
          </a:ln>
          <a:effectLst/>
        </p:spPr>
        <p:txBody>
          <a:bodyPr wrap="square" lIns="91344" tIns="91344" rIns="91344" bIns="91344" numCol="1" anchor="ctr">
            <a:noAutofit/>
          </a:bodyPr>
          <a:lstStyle/>
          <a:p>
            <a:pPr marL="0" marR="0" lvl="0" indent="0" algn="ctr" defTabSz="456744" rtl="0" eaLnBrk="1" fontAlgn="auto" latinLnBrk="0" hangingPunct="1">
              <a:lnSpc>
                <a:spcPct val="100000"/>
              </a:lnSpc>
              <a:spcBef>
                <a:spcPts val="0"/>
              </a:spcBef>
              <a:spcAft>
                <a:spcPts val="0"/>
              </a:spcAft>
              <a:buClrTx/>
              <a:buSzTx/>
              <a:buFontTx/>
              <a:buNone/>
              <a:tabLst/>
              <a:defRPr sz="3400">
                <a:latin typeface="Roboto Light"/>
                <a:ea typeface="Roboto Light"/>
                <a:cs typeface="Roboto Light"/>
                <a:sym typeface="Roboto Light"/>
              </a:defRPr>
            </a:pPr>
            <a:endParaRPr kumimoji="0" sz="3397" b="0" i="0" u="none" strike="noStrike" kern="1200" cap="none" spc="0" normalizeH="0" baseline="0" noProof="0">
              <a:ln>
                <a:noFill/>
              </a:ln>
              <a:solidFill>
                <a:srgbClr val="373737"/>
              </a:solidFill>
              <a:effectLst/>
              <a:uLnTx/>
              <a:uFillTx/>
              <a:latin typeface="Roboto" panose="02000000000000000000" pitchFamily="2" charset="0"/>
              <a:ea typeface="Roboto Light"/>
              <a:cs typeface="Arial" panose="020B0604020202020204" pitchFamily="34" charset="0"/>
              <a:sym typeface="Roboto Light"/>
            </a:endParaRPr>
          </a:p>
        </p:txBody>
      </p:sp>
      <p:sp>
        <p:nvSpPr>
          <p:cNvPr id="242" name="Right Triangle 88">
            <a:extLst>
              <a:ext uri="{FF2B5EF4-FFF2-40B4-BE49-F238E27FC236}">
                <a16:creationId xmlns:a16="http://schemas.microsoft.com/office/drawing/2014/main" id="{D7F251ED-AFA7-4849-85A0-25F14A640CCA}"/>
              </a:ext>
            </a:extLst>
          </p:cNvPr>
          <p:cNvSpPr/>
          <p:nvPr/>
        </p:nvSpPr>
        <p:spPr>
          <a:xfrm rot="10800000" flipH="1">
            <a:off x="5485272" y="2612629"/>
            <a:ext cx="1176047" cy="106123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0" y="0"/>
                </a:lnTo>
                <a:close/>
              </a:path>
            </a:pathLst>
          </a:custGeom>
          <a:gradFill flip="none" rotWithShape="1">
            <a:gsLst>
              <a:gs pos="15000">
                <a:srgbClr val="FFFFFF">
                  <a:alpha val="27000"/>
                </a:srgbClr>
              </a:gs>
              <a:gs pos="87000">
                <a:srgbClr val="FFFFFF">
                  <a:alpha val="54000"/>
                </a:srgbClr>
              </a:gs>
            </a:gsLst>
            <a:lin ang="16200000" scaled="0"/>
          </a:gradFill>
          <a:ln w="12700" cap="flat">
            <a:noFill/>
            <a:miter lim="400000"/>
          </a:ln>
          <a:effectLst/>
        </p:spPr>
        <p:txBody>
          <a:bodyPr wrap="square" lIns="91344" tIns="91344" rIns="91344" bIns="91344" numCol="1" anchor="ctr">
            <a:noAutofit/>
          </a:bodyPr>
          <a:lstStyle/>
          <a:p>
            <a:pPr marL="0" marR="0" lvl="0" indent="0" algn="ctr" defTabSz="913212" rtl="0" eaLnBrk="1" fontAlgn="auto" latinLnBrk="0" hangingPunct="1">
              <a:lnSpc>
                <a:spcPct val="100000"/>
              </a:lnSpc>
              <a:spcBef>
                <a:spcPts val="0"/>
              </a:spcBef>
              <a:spcAft>
                <a:spcPts val="0"/>
              </a:spcAft>
              <a:buClrTx/>
              <a:buSzTx/>
              <a:buFontTx/>
              <a:buNone/>
              <a:tabLst/>
              <a:defRPr sz="3400">
                <a:latin typeface="Roboto Light"/>
                <a:ea typeface="Roboto Light"/>
                <a:cs typeface="Roboto Light"/>
                <a:sym typeface="Roboto Light"/>
              </a:defRPr>
            </a:pPr>
            <a:endParaRPr kumimoji="0" sz="3397" b="0" i="0" u="none" strike="noStrike" kern="1200" cap="none" spc="0" normalizeH="0" baseline="0" noProof="0">
              <a:ln>
                <a:noFill/>
              </a:ln>
              <a:solidFill>
                <a:srgbClr val="373737"/>
              </a:solidFill>
              <a:effectLst/>
              <a:uLnTx/>
              <a:uFillTx/>
              <a:latin typeface="Roboto" panose="02000000000000000000" pitchFamily="2" charset="0"/>
              <a:ea typeface="Roboto Light"/>
              <a:cs typeface="Arial" panose="020B0604020202020204" pitchFamily="34" charset="0"/>
              <a:sym typeface="Roboto Light"/>
            </a:endParaRPr>
          </a:p>
        </p:txBody>
      </p:sp>
      <p:sp>
        <p:nvSpPr>
          <p:cNvPr id="243" name="TextBox 85">
            <a:extLst>
              <a:ext uri="{FF2B5EF4-FFF2-40B4-BE49-F238E27FC236}">
                <a16:creationId xmlns:a16="http://schemas.microsoft.com/office/drawing/2014/main" id="{2337ADD8-D9CE-40AA-A28E-8E75F5874C98}"/>
              </a:ext>
            </a:extLst>
          </p:cNvPr>
          <p:cNvSpPr txBox="1"/>
          <p:nvPr/>
        </p:nvSpPr>
        <p:spPr>
          <a:xfrm>
            <a:off x="5516857" y="3286169"/>
            <a:ext cx="1205743" cy="36142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t">
            <a:noAutofit/>
          </a:bodyPr>
          <a:lstStyle/>
          <a:p>
            <a:pPr marL="0" marR="0" lvl="0" indent="0" algn="ctr" defTabSz="456744" rtl="0" eaLnBrk="1" fontAlgn="auto" latinLnBrk="0" hangingPunct="1">
              <a:lnSpc>
                <a:spcPct val="90000"/>
              </a:lnSpc>
              <a:spcBef>
                <a:spcPts val="0"/>
              </a:spcBef>
              <a:spcAft>
                <a:spcPts val="0"/>
              </a:spcAft>
              <a:buClrTx/>
              <a:buSzTx/>
              <a:buFontTx/>
              <a:buNone/>
              <a:tabLst/>
              <a:defRPr sz="1800">
                <a:solidFill>
                  <a:srgbClr val="373737"/>
                </a:solidFill>
                <a:latin typeface="Roboto Light"/>
                <a:ea typeface="Roboto Light"/>
                <a:cs typeface="Roboto Light"/>
                <a:sym typeface="Roboto Light"/>
              </a:defRPr>
            </a:pPr>
            <a:r>
              <a:rPr kumimoji="0" lang="en-US" sz="1050" b="0" i="0" u="none" strike="noStrike" kern="1200" cap="none" spc="0" normalizeH="0" baseline="0" noProof="0">
                <a:ln>
                  <a:noFill/>
                </a:ln>
                <a:solidFill>
                  <a:srgbClr val="373737"/>
                </a:solidFill>
                <a:effectLst/>
                <a:uLnTx/>
                <a:uFillTx/>
                <a:latin typeface="Roboto" panose="02000000000000000000" pitchFamily="2" charset="0"/>
                <a:ea typeface="Roboto Light"/>
                <a:cs typeface="Arial" panose="020B0604020202020204" pitchFamily="34" charset="0"/>
                <a:sym typeface="Roboto Light"/>
              </a:rPr>
              <a:t>DATA</a:t>
            </a:r>
          </a:p>
          <a:p>
            <a:pPr marL="0" marR="0" lvl="0" indent="0" algn="ctr" defTabSz="456744" rtl="0" eaLnBrk="1" fontAlgn="auto" latinLnBrk="0" hangingPunct="1">
              <a:lnSpc>
                <a:spcPct val="90000"/>
              </a:lnSpc>
              <a:spcBef>
                <a:spcPts val="0"/>
              </a:spcBef>
              <a:spcAft>
                <a:spcPts val="0"/>
              </a:spcAft>
              <a:buClrTx/>
              <a:buSzTx/>
              <a:buFontTx/>
              <a:buNone/>
              <a:tabLst/>
              <a:defRPr sz="1800">
                <a:solidFill>
                  <a:srgbClr val="373737"/>
                </a:solidFill>
                <a:latin typeface="Roboto Light"/>
                <a:ea typeface="Roboto Light"/>
                <a:cs typeface="Roboto Light"/>
                <a:sym typeface="Roboto Light"/>
              </a:defRPr>
            </a:pPr>
            <a:r>
              <a:rPr kumimoji="0" lang="en-US" sz="1050" b="0" i="0" u="none" strike="noStrike" kern="1200" cap="none" spc="0" normalizeH="0" baseline="0" noProof="0">
                <a:ln>
                  <a:noFill/>
                </a:ln>
                <a:solidFill>
                  <a:srgbClr val="373737"/>
                </a:solidFill>
                <a:effectLst/>
                <a:uLnTx/>
                <a:uFillTx/>
                <a:latin typeface="Roboto" panose="02000000000000000000" pitchFamily="2" charset="0"/>
                <a:ea typeface="Roboto Light"/>
                <a:cs typeface="Arial" panose="020B0604020202020204" pitchFamily="34" charset="0"/>
                <a:sym typeface="Roboto Light"/>
              </a:rPr>
              <a:t>QUALITY</a:t>
            </a:r>
          </a:p>
        </p:txBody>
      </p:sp>
      <p:sp>
        <p:nvSpPr>
          <p:cNvPr id="246" name="Round Same Side Corner Rectangle 94">
            <a:extLst>
              <a:ext uri="{FF2B5EF4-FFF2-40B4-BE49-F238E27FC236}">
                <a16:creationId xmlns:a16="http://schemas.microsoft.com/office/drawing/2014/main" id="{84DDB030-9E6F-40B2-9F1E-F48867518A6D}"/>
              </a:ext>
            </a:extLst>
          </p:cNvPr>
          <p:cNvSpPr/>
          <p:nvPr/>
        </p:nvSpPr>
        <p:spPr>
          <a:xfrm>
            <a:off x="1209144" y="2627174"/>
            <a:ext cx="1259707" cy="106123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20394"/>
                </a:lnTo>
                <a:cubicBezTo>
                  <a:pt x="21600" y="21060"/>
                  <a:pt x="21037" y="21600"/>
                  <a:pt x="20342" y="21600"/>
                </a:cubicBezTo>
                <a:lnTo>
                  <a:pt x="1258" y="21600"/>
                </a:lnTo>
                <a:cubicBezTo>
                  <a:pt x="563" y="21600"/>
                  <a:pt x="0" y="21060"/>
                  <a:pt x="0" y="20394"/>
                </a:cubicBezTo>
                <a:lnTo>
                  <a:pt x="0" y="0"/>
                </a:lnTo>
                <a:close/>
              </a:path>
            </a:pathLst>
          </a:custGeom>
          <a:gradFill flip="none" rotWithShape="1">
            <a:gsLst>
              <a:gs pos="15000">
                <a:srgbClr val="FFFFFF"/>
              </a:gs>
              <a:gs pos="87000">
                <a:srgbClr val="D9D9D9"/>
              </a:gs>
            </a:gsLst>
            <a:lin ang="5400000" scaled="0"/>
          </a:gradFill>
          <a:ln w="12700" cap="flat">
            <a:noFill/>
            <a:miter lim="400000"/>
          </a:ln>
          <a:effectLst>
            <a:outerShdw blurRad="139700" dist="25400" dir="5400000" rotWithShape="0">
              <a:srgbClr val="000000">
                <a:alpha val="40000"/>
              </a:srgbClr>
            </a:outerShdw>
          </a:effectLst>
        </p:spPr>
        <p:txBody>
          <a:bodyPr wrap="square" lIns="91344" tIns="91344" rIns="91344" bIns="91344" numCol="1" anchor="ctr">
            <a:noAutofit/>
          </a:bodyPr>
          <a:lstStyle/>
          <a:p>
            <a:pPr marL="0" marR="0" lvl="0" indent="0" algn="ctr" defTabSz="456744" rtl="0" eaLnBrk="1" fontAlgn="auto" latinLnBrk="0" hangingPunct="1">
              <a:lnSpc>
                <a:spcPct val="100000"/>
              </a:lnSpc>
              <a:spcBef>
                <a:spcPts val="0"/>
              </a:spcBef>
              <a:spcAft>
                <a:spcPts val="0"/>
              </a:spcAft>
              <a:buClrTx/>
              <a:buSzTx/>
              <a:buFontTx/>
              <a:buNone/>
              <a:tabLst/>
              <a:defRPr sz="3400">
                <a:latin typeface="Roboto Light"/>
                <a:ea typeface="Roboto Light"/>
                <a:cs typeface="Roboto Light"/>
                <a:sym typeface="Roboto Light"/>
              </a:defRPr>
            </a:pPr>
            <a:endParaRPr kumimoji="0" sz="3397" b="0" i="0" u="none" strike="noStrike" kern="1200" cap="none" spc="0" normalizeH="0" baseline="0" noProof="0">
              <a:ln>
                <a:noFill/>
              </a:ln>
              <a:solidFill>
                <a:srgbClr val="373737"/>
              </a:solidFill>
              <a:effectLst/>
              <a:uLnTx/>
              <a:uFillTx/>
              <a:latin typeface="Roboto" panose="02000000000000000000" pitchFamily="2" charset="0"/>
              <a:ea typeface="Roboto Light"/>
              <a:cs typeface="Arial" panose="020B0604020202020204" pitchFamily="34" charset="0"/>
              <a:sym typeface="Roboto Light"/>
            </a:endParaRPr>
          </a:p>
        </p:txBody>
      </p:sp>
      <p:sp>
        <p:nvSpPr>
          <p:cNvPr id="247" name="Rectangle 95">
            <a:extLst>
              <a:ext uri="{FF2B5EF4-FFF2-40B4-BE49-F238E27FC236}">
                <a16:creationId xmlns:a16="http://schemas.microsoft.com/office/drawing/2014/main" id="{9D02C905-CD59-439F-BCE9-DB443EDC9AA0}"/>
              </a:ext>
            </a:extLst>
          </p:cNvPr>
          <p:cNvSpPr/>
          <p:nvPr/>
        </p:nvSpPr>
        <p:spPr>
          <a:xfrm>
            <a:off x="1209140" y="2627173"/>
            <a:ext cx="1259708" cy="103587"/>
          </a:xfrm>
          <a:prstGeom prst="rect">
            <a:avLst/>
          </a:prstGeom>
          <a:solidFill>
            <a:srgbClr val="00A9BB"/>
          </a:solidFill>
          <a:ln w="12700" cap="flat">
            <a:noFill/>
            <a:miter lim="400000"/>
          </a:ln>
          <a:effectLst/>
        </p:spPr>
        <p:txBody>
          <a:bodyPr wrap="square" lIns="91344" tIns="91344" rIns="91344" bIns="91344" numCol="1" anchor="ctr">
            <a:noAutofit/>
          </a:bodyPr>
          <a:lstStyle/>
          <a:p>
            <a:pPr marL="0" marR="0" lvl="0" indent="0" algn="ctr" defTabSz="456744" rtl="0" eaLnBrk="1" fontAlgn="auto" latinLnBrk="0" hangingPunct="1">
              <a:lnSpc>
                <a:spcPct val="100000"/>
              </a:lnSpc>
              <a:spcBef>
                <a:spcPts val="0"/>
              </a:spcBef>
              <a:spcAft>
                <a:spcPts val="0"/>
              </a:spcAft>
              <a:buClrTx/>
              <a:buSzTx/>
              <a:buFontTx/>
              <a:buNone/>
              <a:tabLst/>
              <a:defRPr sz="3400">
                <a:latin typeface="Roboto Light"/>
                <a:ea typeface="Roboto Light"/>
                <a:cs typeface="Roboto Light"/>
                <a:sym typeface="Roboto Light"/>
              </a:defRPr>
            </a:pPr>
            <a:endParaRPr kumimoji="0" sz="3397" b="0" i="0" u="none" strike="noStrike" kern="1200" cap="none" spc="0" normalizeH="0" baseline="0" noProof="0">
              <a:ln>
                <a:noFill/>
              </a:ln>
              <a:solidFill>
                <a:srgbClr val="373737"/>
              </a:solidFill>
              <a:effectLst/>
              <a:uLnTx/>
              <a:uFillTx/>
              <a:latin typeface="Roboto" panose="02000000000000000000" pitchFamily="2" charset="0"/>
              <a:ea typeface="Roboto Light"/>
              <a:cs typeface="Arial" panose="020B0604020202020204" pitchFamily="34" charset="0"/>
              <a:sym typeface="Roboto Light"/>
            </a:endParaRPr>
          </a:p>
        </p:txBody>
      </p:sp>
      <p:sp>
        <p:nvSpPr>
          <p:cNvPr id="248" name="Right Triangle 96">
            <a:extLst>
              <a:ext uri="{FF2B5EF4-FFF2-40B4-BE49-F238E27FC236}">
                <a16:creationId xmlns:a16="http://schemas.microsoft.com/office/drawing/2014/main" id="{504CB040-AE0A-47D4-A7AA-6BF6D9598FF5}"/>
              </a:ext>
            </a:extLst>
          </p:cNvPr>
          <p:cNvSpPr/>
          <p:nvPr/>
        </p:nvSpPr>
        <p:spPr>
          <a:xfrm rot="10800000" flipH="1">
            <a:off x="1209144" y="2634463"/>
            <a:ext cx="1176047" cy="106123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0" y="0"/>
                </a:lnTo>
                <a:close/>
              </a:path>
            </a:pathLst>
          </a:custGeom>
          <a:gradFill flip="none" rotWithShape="1">
            <a:gsLst>
              <a:gs pos="15000">
                <a:srgbClr val="FFFFFF">
                  <a:alpha val="27000"/>
                </a:srgbClr>
              </a:gs>
              <a:gs pos="87000">
                <a:srgbClr val="FFFFFF">
                  <a:alpha val="54000"/>
                </a:srgbClr>
              </a:gs>
            </a:gsLst>
            <a:lin ang="16200000" scaled="0"/>
          </a:gradFill>
          <a:ln w="12700" cap="flat">
            <a:noFill/>
            <a:miter lim="400000"/>
          </a:ln>
          <a:effectLst/>
        </p:spPr>
        <p:txBody>
          <a:bodyPr wrap="square" lIns="91344" tIns="91344" rIns="91344" bIns="91344" numCol="1" anchor="ctr">
            <a:noAutofit/>
          </a:bodyPr>
          <a:lstStyle/>
          <a:p>
            <a:pPr marL="0" marR="0" lvl="0" indent="0" algn="ctr" defTabSz="913212" rtl="0" eaLnBrk="1" fontAlgn="auto" latinLnBrk="0" hangingPunct="1">
              <a:lnSpc>
                <a:spcPct val="100000"/>
              </a:lnSpc>
              <a:spcBef>
                <a:spcPts val="0"/>
              </a:spcBef>
              <a:spcAft>
                <a:spcPts val="0"/>
              </a:spcAft>
              <a:buClrTx/>
              <a:buSzTx/>
              <a:buFontTx/>
              <a:buNone/>
              <a:tabLst/>
              <a:defRPr sz="3400">
                <a:latin typeface="Roboto Light"/>
                <a:ea typeface="Roboto Light"/>
                <a:cs typeface="Roboto Light"/>
                <a:sym typeface="Roboto Light"/>
              </a:defRPr>
            </a:pPr>
            <a:endParaRPr kumimoji="0" sz="3397" b="0" i="0" u="none" strike="noStrike" kern="1200" cap="none" spc="0" normalizeH="0" baseline="0" noProof="0">
              <a:ln>
                <a:noFill/>
              </a:ln>
              <a:solidFill>
                <a:srgbClr val="373737"/>
              </a:solidFill>
              <a:effectLst/>
              <a:uLnTx/>
              <a:uFillTx/>
              <a:latin typeface="Roboto" panose="02000000000000000000" pitchFamily="2" charset="0"/>
              <a:ea typeface="Roboto Light"/>
              <a:cs typeface="Arial" panose="020B0604020202020204" pitchFamily="34" charset="0"/>
              <a:sym typeface="Roboto Light"/>
            </a:endParaRPr>
          </a:p>
        </p:txBody>
      </p:sp>
      <p:sp>
        <p:nvSpPr>
          <p:cNvPr id="249" name="TextBox 93">
            <a:extLst>
              <a:ext uri="{FF2B5EF4-FFF2-40B4-BE49-F238E27FC236}">
                <a16:creationId xmlns:a16="http://schemas.microsoft.com/office/drawing/2014/main" id="{4A72F531-5126-4831-B5C6-5D9FD7577B31}"/>
              </a:ext>
            </a:extLst>
          </p:cNvPr>
          <p:cNvSpPr txBox="1"/>
          <p:nvPr/>
        </p:nvSpPr>
        <p:spPr>
          <a:xfrm>
            <a:off x="1240729" y="3286167"/>
            <a:ext cx="1205743" cy="297349"/>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t">
            <a:noAutofit/>
          </a:bodyPr>
          <a:lstStyle/>
          <a:p>
            <a:pPr marL="0" marR="0" lvl="0" indent="0" algn="ctr" defTabSz="456744" rtl="0" eaLnBrk="1" fontAlgn="auto" latinLnBrk="0" hangingPunct="1">
              <a:lnSpc>
                <a:spcPct val="90000"/>
              </a:lnSpc>
              <a:spcBef>
                <a:spcPts val="0"/>
              </a:spcBef>
              <a:spcAft>
                <a:spcPts val="0"/>
              </a:spcAft>
              <a:buClrTx/>
              <a:buSzTx/>
              <a:buFontTx/>
              <a:buNone/>
              <a:tabLst/>
              <a:defRPr sz="1800">
                <a:solidFill>
                  <a:srgbClr val="373737"/>
                </a:solidFill>
                <a:latin typeface="Roboto Light"/>
                <a:ea typeface="Roboto Light"/>
                <a:cs typeface="Roboto Light"/>
                <a:sym typeface="Roboto Light"/>
              </a:defRPr>
            </a:pPr>
            <a:r>
              <a:rPr kumimoji="0" sz="1050" b="0" i="0" u="none" strike="noStrike" kern="1200" cap="none" spc="0" normalizeH="0" baseline="0" noProof="0">
                <a:ln>
                  <a:noFill/>
                </a:ln>
                <a:solidFill>
                  <a:srgbClr val="373737"/>
                </a:solidFill>
                <a:effectLst/>
                <a:uLnTx/>
                <a:uFillTx/>
                <a:latin typeface="Roboto" panose="02000000000000000000" pitchFamily="2" charset="0"/>
                <a:ea typeface="Roboto Light"/>
                <a:cs typeface="Arial" panose="020B0604020202020204" pitchFamily="34" charset="0"/>
                <a:sym typeface="Roboto Light"/>
              </a:rPr>
              <a:t>DATA </a:t>
            </a:r>
          </a:p>
          <a:p>
            <a:pPr marL="0" marR="0" lvl="0" indent="0" algn="ctr" defTabSz="456744" rtl="0" eaLnBrk="1" fontAlgn="auto" latinLnBrk="0" hangingPunct="1">
              <a:lnSpc>
                <a:spcPct val="90000"/>
              </a:lnSpc>
              <a:spcBef>
                <a:spcPts val="0"/>
              </a:spcBef>
              <a:spcAft>
                <a:spcPts val="0"/>
              </a:spcAft>
              <a:buClrTx/>
              <a:buSzTx/>
              <a:buFontTx/>
              <a:buNone/>
              <a:tabLst/>
              <a:defRPr sz="1800">
                <a:solidFill>
                  <a:srgbClr val="373737"/>
                </a:solidFill>
                <a:latin typeface="Roboto Light"/>
                <a:ea typeface="Roboto Light"/>
                <a:cs typeface="Roboto Light"/>
                <a:sym typeface="Roboto Light"/>
              </a:defRPr>
            </a:pPr>
            <a:r>
              <a:rPr kumimoji="0" sz="1050" b="0" i="0" u="none" strike="noStrike" kern="1200" cap="none" spc="0" normalizeH="0" baseline="0" noProof="0">
                <a:ln>
                  <a:noFill/>
                </a:ln>
                <a:solidFill>
                  <a:srgbClr val="373737"/>
                </a:solidFill>
                <a:effectLst/>
                <a:uLnTx/>
                <a:uFillTx/>
                <a:latin typeface="Roboto" panose="02000000000000000000" pitchFamily="2" charset="0"/>
                <a:ea typeface="Roboto Light"/>
                <a:cs typeface="Arial" panose="020B0604020202020204" pitchFamily="34" charset="0"/>
                <a:sym typeface="Roboto Light"/>
              </a:rPr>
              <a:t>CATALOG</a:t>
            </a:r>
          </a:p>
        </p:txBody>
      </p:sp>
      <p:pic>
        <p:nvPicPr>
          <p:cNvPr id="250" name="Picture 91" descr="Picture 91">
            <a:extLst>
              <a:ext uri="{FF2B5EF4-FFF2-40B4-BE49-F238E27FC236}">
                <a16:creationId xmlns:a16="http://schemas.microsoft.com/office/drawing/2014/main" id="{613357DD-DC9A-414D-9336-58A43AE8ED14}"/>
              </a:ext>
            </a:extLst>
          </p:cNvPr>
          <p:cNvPicPr>
            <a:picLocks noChangeAspect="1"/>
          </p:cNvPicPr>
          <p:nvPr/>
        </p:nvPicPr>
        <p:blipFill>
          <a:blip r:embed="rId14"/>
          <a:stretch>
            <a:fillRect/>
          </a:stretch>
        </p:blipFill>
        <p:spPr>
          <a:xfrm>
            <a:off x="1670271" y="2834795"/>
            <a:ext cx="353112" cy="386305"/>
          </a:xfrm>
          <a:prstGeom prst="rect">
            <a:avLst/>
          </a:prstGeom>
          <a:ln w="12700" cap="flat">
            <a:noFill/>
            <a:miter lim="400000"/>
          </a:ln>
          <a:effectLst/>
        </p:spPr>
      </p:pic>
      <p:sp>
        <p:nvSpPr>
          <p:cNvPr id="252" name="Round Same Side Corner Rectangle 102">
            <a:extLst>
              <a:ext uri="{FF2B5EF4-FFF2-40B4-BE49-F238E27FC236}">
                <a16:creationId xmlns:a16="http://schemas.microsoft.com/office/drawing/2014/main" id="{588E1F38-789D-461F-9832-F60BAF270D8C}"/>
              </a:ext>
            </a:extLst>
          </p:cNvPr>
          <p:cNvSpPr/>
          <p:nvPr/>
        </p:nvSpPr>
        <p:spPr>
          <a:xfrm>
            <a:off x="2649741" y="2612630"/>
            <a:ext cx="1259707" cy="106123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20394"/>
                </a:lnTo>
                <a:cubicBezTo>
                  <a:pt x="21600" y="21060"/>
                  <a:pt x="21037" y="21600"/>
                  <a:pt x="20342" y="21600"/>
                </a:cubicBezTo>
                <a:lnTo>
                  <a:pt x="1258" y="21600"/>
                </a:lnTo>
                <a:cubicBezTo>
                  <a:pt x="563" y="21600"/>
                  <a:pt x="0" y="21060"/>
                  <a:pt x="0" y="20394"/>
                </a:cubicBezTo>
                <a:lnTo>
                  <a:pt x="0" y="0"/>
                </a:lnTo>
                <a:close/>
              </a:path>
            </a:pathLst>
          </a:custGeom>
          <a:gradFill flip="none" rotWithShape="1">
            <a:gsLst>
              <a:gs pos="15000">
                <a:srgbClr val="FFFFFF"/>
              </a:gs>
              <a:gs pos="87000">
                <a:srgbClr val="D9D9D9"/>
              </a:gs>
            </a:gsLst>
            <a:lin ang="5400000" scaled="0"/>
          </a:gradFill>
          <a:ln w="12700" cap="flat">
            <a:noFill/>
            <a:miter lim="400000"/>
          </a:ln>
          <a:effectLst>
            <a:outerShdw blurRad="139700" dist="25400" dir="5400000" rotWithShape="0">
              <a:srgbClr val="000000">
                <a:alpha val="40000"/>
              </a:srgbClr>
            </a:outerShdw>
          </a:effectLst>
        </p:spPr>
        <p:txBody>
          <a:bodyPr wrap="square" lIns="91344" tIns="91344" rIns="91344" bIns="91344" numCol="1" anchor="ctr">
            <a:noAutofit/>
          </a:bodyPr>
          <a:lstStyle/>
          <a:p>
            <a:pPr marL="0" marR="0" lvl="0" indent="0" algn="ctr" defTabSz="456744" rtl="0" eaLnBrk="1" fontAlgn="auto" latinLnBrk="0" hangingPunct="1">
              <a:lnSpc>
                <a:spcPct val="100000"/>
              </a:lnSpc>
              <a:spcBef>
                <a:spcPts val="0"/>
              </a:spcBef>
              <a:spcAft>
                <a:spcPts val="0"/>
              </a:spcAft>
              <a:buClrTx/>
              <a:buSzTx/>
              <a:buFontTx/>
              <a:buNone/>
              <a:tabLst/>
              <a:defRPr sz="3400">
                <a:latin typeface="Roboto Light"/>
                <a:ea typeface="Roboto Light"/>
                <a:cs typeface="Roboto Light"/>
                <a:sym typeface="Roboto Light"/>
              </a:defRPr>
            </a:pPr>
            <a:endParaRPr kumimoji="0" sz="3397" b="0" i="0" u="none" strike="noStrike" kern="1200" cap="none" spc="0" normalizeH="0" baseline="0" noProof="0">
              <a:ln>
                <a:noFill/>
              </a:ln>
              <a:solidFill>
                <a:srgbClr val="373737"/>
              </a:solidFill>
              <a:effectLst/>
              <a:uLnTx/>
              <a:uFillTx/>
              <a:latin typeface="Roboto" panose="02000000000000000000" pitchFamily="2" charset="0"/>
              <a:ea typeface="Roboto Light"/>
              <a:cs typeface="Arial" panose="020B0604020202020204" pitchFamily="34" charset="0"/>
              <a:sym typeface="Roboto Light"/>
            </a:endParaRPr>
          </a:p>
        </p:txBody>
      </p:sp>
      <p:sp>
        <p:nvSpPr>
          <p:cNvPr id="253" name="Rectangle 103">
            <a:extLst>
              <a:ext uri="{FF2B5EF4-FFF2-40B4-BE49-F238E27FC236}">
                <a16:creationId xmlns:a16="http://schemas.microsoft.com/office/drawing/2014/main" id="{67108D2F-C6BA-4C08-B022-D4B761987DC5}"/>
              </a:ext>
            </a:extLst>
          </p:cNvPr>
          <p:cNvSpPr/>
          <p:nvPr/>
        </p:nvSpPr>
        <p:spPr>
          <a:xfrm>
            <a:off x="2649737" y="2612629"/>
            <a:ext cx="1259708" cy="103587"/>
          </a:xfrm>
          <a:prstGeom prst="rect">
            <a:avLst/>
          </a:prstGeom>
          <a:solidFill>
            <a:srgbClr val="00A9BB"/>
          </a:solidFill>
          <a:ln w="12700" cap="flat">
            <a:noFill/>
            <a:miter lim="400000"/>
          </a:ln>
          <a:effectLst/>
        </p:spPr>
        <p:txBody>
          <a:bodyPr wrap="square" lIns="91344" tIns="91344" rIns="91344" bIns="91344" numCol="1" anchor="ctr">
            <a:noAutofit/>
          </a:bodyPr>
          <a:lstStyle/>
          <a:p>
            <a:pPr marL="0" marR="0" lvl="0" indent="0" algn="ctr" defTabSz="456744" rtl="0" eaLnBrk="1" fontAlgn="auto" latinLnBrk="0" hangingPunct="1">
              <a:lnSpc>
                <a:spcPct val="100000"/>
              </a:lnSpc>
              <a:spcBef>
                <a:spcPts val="0"/>
              </a:spcBef>
              <a:spcAft>
                <a:spcPts val="0"/>
              </a:spcAft>
              <a:buClrTx/>
              <a:buSzTx/>
              <a:buFontTx/>
              <a:buNone/>
              <a:tabLst/>
              <a:defRPr sz="3400">
                <a:latin typeface="Roboto Light"/>
                <a:ea typeface="Roboto Light"/>
                <a:cs typeface="Roboto Light"/>
                <a:sym typeface="Roboto Light"/>
              </a:defRPr>
            </a:pPr>
            <a:endParaRPr kumimoji="0" sz="3397" b="0" i="0" u="none" strike="noStrike" kern="1200" cap="none" spc="0" normalizeH="0" baseline="0" noProof="0">
              <a:ln>
                <a:noFill/>
              </a:ln>
              <a:solidFill>
                <a:srgbClr val="373737"/>
              </a:solidFill>
              <a:effectLst/>
              <a:uLnTx/>
              <a:uFillTx/>
              <a:latin typeface="Roboto" panose="02000000000000000000" pitchFamily="2" charset="0"/>
              <a:ea typeface="Roboto Light"/>
              <a:cs typeface="Arial" panose="020B0604020202020204" pitchFamily="34" charset="0"/>
              <a:sym typeface="Roboto Light"/>
            </a:endParaRPr>
          </a:p>
        </p:txBody>
      </p:sp>
      <p:sp>
        <p:nvSpPr>
          <p:cNvPr id="254" name="Right Triangle 104">
            <a:extLst>
              <a:ext uri="{FF2B5EF4-FFF2-40B4-BE49-F238E27FC236}">
                <a16:creationId xmlns:a16="http://schemas.microsoft.com/office/drawing/2014/main" id="{65C36495-714C-4D65-94A1-87C7A8A83A62}"/>
              </a:ext>
            </a:extLst>
          </p:cNvPr>
          <p:cNvSpPr/>
          <p:nvPr/>
        </p:nvSpPr>
        <p:spPr>
          <a:xfrm rot="10800000" flipH="1">
            <a:off x="2649741" y="2619919"/>
            <a:ext cx="1176047" cy="106123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0" y="0"/>
                </a:lnTo>
                <a:close/>
              </a:path>
            </a:pathLst>
          </a:custGeom>
          <a:gradFill flip="none" rotWithShape="1">
            <a:gsLst>
              <a:gs pos="15000">
                <a:srgbClr val="FFFFFF">
                  <a:alpha val="27000"/>
                </a:srgbClr>
              </a:gs>
              <a:gs pos="87000">
                <a:srgbClr val="FFFFFF">
                  <a:alpha val="54000"/>
                </a:srgbClr>
              </a:gs>
            </a:gsLst>
            <a:lin ang="16200000" scaled="0"/>
          </a:gradFill>
          <a:ln w="12700" cap="flat">
            <a:noFill/>
            <a:miter lim="400000"/>
          </a:ln>
          <a:effectLst/>
        </p:spPr>
        <p:txBody>
          <a:bodyPr wrap="square" lIns="91344" tIns="91344" rIns="91344" bIns="91344" numCol="1" anchor="ctr">
            <a:noAutofit/>
          </a:bodyPr>
          <a:lstStyle/>
          <a:p>
            <a:pPr marL="0" marR="0" lvl="0" indent="0" algn="ctr" defTabSz="913212" rtl="0" eaLnBrk="1" fontAlgn="auto" latinLnBrk="0" hangingPunct="1">
              <a:lnSpc>
                <a:spcPct val="100000"/>
              </a:lnSpc>
              <a:spcBef>
                <a:spcPts val="0"/>
              </a:spcBef>
              <a:spcAft>
                <a:spcPts val="0"/>
              </a:spcAft>
              <a:buClrTx/>
              <a:buSzTx/>
              <a:buFontTx/>
              <a:buNone/>
              <a:tabLst/>
              <a:defRPr sz="3400">
                <a:latin typeface="Roboto Light"/>
                <a:ea typeface="Roboto Light"/>
                <a:cs typeface="Roboto Light"/>
                <a:sym typeface="Roboto Light"/>
              </a:defRPr>
            </a:pPr>
            <a:endParaRPr kumimoji="0" sz="3397" b="0" i="0" u="none" strike="noStrike" kern="1200" cap="none" spc="0" normalizeH="0" baseline="0" noProof="0">
              <a:ln>
                <a:noFill/>
              </a:ln>
              <a:solidFill>
                <a:srgbClr val="373737"/>
              </a:solidFill>
              <a:effectLst/>
              <a:uLnTx/>
              <a:uFillTx/>
              <a:latin typeface="Roboto" panose="02000000000000000000" pitchFamily="2" charset="0"/>
              <a:ea typeface="Roboto Light"/>
              <a:cs typeface="Arial" panose="020B0604020202020204" pitchFamily="34" charset="0"/>
              <a:sym typeface="Roboto Light"/>
            </a:endParaRPr>
          </a:p>
        </p:txBody>
      </p:sp>
      <p:sp>
        <p:nvSpPr>
          <p:cNvPr id="255" name="TextBox 101">
            <a:extLst>
              <a:ext uri="{FF2B5EF4-FFF2-40B4-BE49-F238E27FC236}">
                <a16:creationId xmlns:a16="http://schemas.microsoft.com/office/drawing/2014/main" id="{D62695C9-F475-4F4B-98F5-1899C664625C}"/>
              </a:ext>
            </a:extLst>
          </p:cNvPr>
          <p:cNvSpPr txBox="1"/>
          <p:nvPr/>
        </p:nvSpPr>
        <p:spPr>
          <a:xfrm>
            <a:off x="2681326" y="3286169"/>
            <a:ext cx="1205743" cy="36142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t">
            <a:noAutofit/>
          </a:bodyPr>
          <a:lstStyle/>
          <a:p>
            <a:pPr marL="0" marR="0" lvl="0" indent="0" algn="ctr" defTabSz="456744" rtl="0" eaLnBrk="1" fontAlgn="auto" latinLnBrk="0" hangingPunct="1">
              <a:lnSpc>
                <a:spcPct val="90000"/>
              </a:lnSpc>
              <a:spcBef>
                <a:spcPts val="0"/>
              </a:spcBef>
              <a:spcAft>
                <a:spcPts val="0"/>
              </a:spcAft>
              <a:buClrTx/>
              <a:buSzTx/>
              <a:buFontTx/>
              <a:buNone/>
              <a:tabLst/>
              <a:defRPr sz="1800">
                <a:solidFill>
                  <a:srgbClr val="373737"/>
                </a:solidFill>
                <a:latin typeface="Roboto Light"/>
                <a:ea typeface="Roboto Light"/>
                <a:cs typeface="Roboto Light"/>
                <a:sym typeface="Roboto Light"/>
              </a:defRPr>
            </a:pPr>
            <a:r>
              <a:rPr kumimoji="0" sz="1050" b="0" i="0" u="none" strike="noStrike" kern="1200" cap="none" spc="0" normalizeH="0" baseline="0" noProof="0">
                <a:ln>
                  <a:noFill/>
                </a:ln>
                <a:solidFill>
                  <a:srgbClr val="373737"/>
                </a:solidFill>
                <a:effectLst/>
                <a:uLnTx/>
                <a:uFillTx/>
                <a:latin typeface="Roboto" panose="02000000000000000000" pitchFamily="2" charset="0"/>
                <a:ea typeface="Roboto Light"/>
                <a:cs typeface="Arial" panose="020B0604020202020204" pitchFamily="34" charset="0"/>
                <a:sym typeface="Roboto Light"/>
              </a:rPr>
              <a:t>DATA</a:t>
            </a:r>
            <a:br>
              <a:rPr kumimoji="0" sz="1050" b="0" i="0" u="none" strike="noStrike" kern="1200" cap="none" spc="0" normalizeH="0" baseline="0" noProof="0">
                <a:ln>
                  <a:noFill/>
                </a:ln>
                <a:solidFill>
                  <a:srgbClr val="373737"/>
                </a:solidFill>
                <a:effectLst/>
                <a:uLnTx/>
                <a:uFillTx/>
                <a:latin typeface="Roboto" panose="02000000000000000000" pitchFamily="2" charset="0"/>
                <a:ea typeface="Roboto Light"/>
                <a:cs typeface="Arial" panose="020B0604020202020204" pitchFamily="34" charset="0"/>
                <a:sym typeface="Roboto Light"/>
              </a:rPr>
            </a:br>
            <a:r>
              <a:rPr kumimoji="0" sz="1050" b="0" i="0" u="none" strike="noStrike" kern="1200" cap="none" spc="0" normalizeH="0" baseline="0" noProof="0">
                <a:ln>
                  <a:noFill/>
                </a:ln>
                <a:solidFill>
                  <a:srgbClr val="373737"/>
                </a:solidFill>
                <a:effectLst/>
                <a:uLnTx/>
                <a:uFillTx/>
                <a:latin typeface="Roboto" panose="02000000000000000000" pitchFamily="2" charset="0"/>
                <a:ea typeface="Roboto Light"/>
                <a:cs typeface="Arial" panose="020B0604020202020204" pitchFamily="34" charset="0"/>
                <a:sym typeface="Roboto Light"/>
              </a:rPr>
              <a:t>INTEGRATION</a:t>
            </a:r>
          </a:p>
        </p:txBody>
      </p:sp>
      <p:sp>
        <p:nvSpPr>
          <p:cNvPr id="260" name="Round Same Side Corner Rectangle 152">
            <a:extLst>
              <a:ext uri="{FF2B5EF4-FFF2-40B4-BE49-F238E27FC236}">
                <a16:creationId xmlns:a16="http://schemas.microsoft.com/office/drawing/2014/main" id="{4BB65DCF-AA07-4866-83E0-10186678A71D}"/>
              </a:ext>
            </a:extLst>
          </p:cNvPr>
          <p:cNvSpPr/>
          <p:nvPr/>
        </p:nvSpPr>
        <p:spPr>
          <a:xfrm>
            <a:off x="6862834" y="2612630"/>
            <a:ext cx="1259708" cy="106123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20394"/>
                </a:lnTo>
                <a:cubicBezTo>
                  <a:pt x="21600" y="21060"/>
                  <a:pt x="21037" y="21600"/>
                  <a:pt x="20342" y="21600"/>
                </a:cubicBezTo>
                <a:lnTo>
                  <a:pt x="1258" y="21600"/>
                </a:lnTo>
                <a:cubicBezTo>
                  <a:pt x="563" y="21600"/>
                  <a:pt x="0" y="21060"/>
                  <a:pt x="0" y="20394"/>
                </a:cubicBezTo>
                <a:lnTo>
                  <a:pt x="0" y="0"/>
                </a:lnTo>
                <a:close/>
              </a:path>
            </a:pathLst>
          </a:custGeom>
          <a:gradFill flip="none" rotWithShape="1">
            <a:gsLst>
              <a:gs pos="15000">
                <a:srgbClr val="FFFFFF"/>
              </a:gs>
              <a:gs pos="87000">
                <a:srgbClr val="D9D9D9"/>
              </a:gs>
            </a:gsLst>
            <a:lin ang="5400000" scaled="0"/>
          </a:gradFill>
          <a:ln w="12700" cap="flat">
            <a:noFill/>
            <a:miter lim="400000"/>
          </a:ln>
          <a:effectLst>
            <a:outerShdw blurRad="139700" dist="25400" dir="5400000" rotWithShape="0">
              <a:srgbClr val="000000">
                <a:alpha val="40000"/>
              </a:srgbClr>
            </a:outerShdw>
          </a:effectLst>
        </p:spPr>
        <p:txBody>
          <a:bodyPr wrap="square" lIns="91344" tIns="91344" rIns="91344" bIns="91344" numCol="1" anchor="ctr">
            <a:noAutofit/>
          </a:bodyPr>
          <a:lstStyle/>
          <a:p>
            <a:pPr marL="0" marR="0" lvl="0" indent="0" algn="ctr" defTabSz="456744" rtl="0" eaLnBrk="1" fontAlgn="auto" latinLnBrk="0" hangingPunct="1">
              <a:lnSpc>
                <a:spcPct val="100000"/>
              </a:lnSpc>
              <a:spcBef>
                <a:spcPts val="0"/>
              </a:spcBef>
              <a:spcAft>
                <a:spcPts val="0"/>
              </a:spcAft>
              <a:buClrTx/>
              <a:buSzTx/>
              <a:buFontTx/>
              <a:buNone/>
              <a:tabLst/>
              <a:defRPr sz="3400">
                <a:latin typeface="Roboto Light"/>
                <a:ea typeface="Roboto Light"/>
                <a:cs typeface="Roboto Light"/>
                <a:sym typeface="Roboto Light"/>
              </a:defRPr>
            </a:pPr>
            <a:endParaRPr kumimoji="0" sz="3397" b="0" i="0" u="none" strike="noStrike" kern="1200" cap="none" spc="0" normalizeH="0" baseline="0" noProof="0">
              <a:ln>
                <a:noFill/>
              </a:ln>
              <a:solidFill>
                <a:srgbClr val="373737"/>
              </a:solidFill>
              <a:effectLst/>
              <a:uLnTx/>
              <a:uFillTx/>
              <a:latin typeface="Roboto" panose="02000000000000000000" pitchFamily="2" charset="0"/>
              <a:ea typeface="Roboto Light"/>
              <a:cs typeface="Arial" panose="020B0604020202020204" pitchFamily="34" charset="0"/>
              <a:sym typeface="Roboto Light"/>
            </a:endParaRPr>
          </a:p>
        </p:txBody>
      </p:sp>
      <p:sp>
        <p:nvSpPr>
          <p:cNvPr id="261" name="Rectangle 153">
            <a:extLst>
              <a:ext uri="{FF2B5EF4-FFF2-40B4-BE49-F238E27FC236}">
                <a16:creationId xmlns:a16="http://schemas.microsoft.com/office/drawing/2014/main" id="{63DAF474-F302-4386-AE04-1A07F935C575}"/>
              </a:ext>
            </a:extLst>
          </p:cNvPr>
          <p:cNvSpPr/>
          <p:nvPr/>
        </p:nvSpPr>
        <p:spPr>
          <a:xfrm>
            <a:off x="6862831" y="2612630"/>
            <a:ext cx="1259710" cy="103586"/>
          </a:xfrm>
          <a:prstGeom prst="rect">
            <a:avLst/>
          </a:prstGeom>
          <a:solidFill>
            <a:srgbClr val="00A9BB"/>
          </a:solidFill>
          <a:ln w="12700" cap="flat">
            <a:noFill/>
            <a:miter lim="400000"/>
          </a:ln>
          <a:effectLst/>
        </p:spPr>
        <p:txBody>
          <a:bodyPr wrap="square" lIns="91344" tIns="91344" rIns="91344" bIns="91344" numCol="1" anchor="ctr">
            <a:noAutofit/>
          </a:bodyPr>
          <a:lstStyle/>
          <a:p>
            <a:pPr marL="0" marR="0" lvl="0" indent="0" algn="ctr" defTabSz="456744" rtl="0" eaLnBrk="1" fontAlgn="auto" latinLnBrk="0" hangingPunct="1">
              <a:lnSpc>
                <a:spcPct val="100000"/>
              </a:lnSpc>
              <a:spcBef>
                <a:spcPts val="0"/>
              </a:spcBef>
              <a:spcAft>
                <a:spcPts val="0"/>
              </a:spcAft>
              <a:buClrTx/>
              <a:buSzTx/>
              <a:buFontTx/>
              <a:buNone/>
              <a:tabLst/>
              <a:defRPr sz="3400">
                <a:latin typeface="Roboto Light"/>
                <a:ea typeface="Roboto Light"/>
                <a:cs typeface="Roboto Light"/>
                <a:sym typeface="Roboto Light"/>
              </a:defRPr>
            </a:pPr>
            <a:endParaRPr kumimoji="0" sz="3397" b="0" i="0" u="none" strike="noStrike" kern="1200" cap="none" spc="0" normalizeH="0" baseline="0" noProof="0">
              <a:ln>
                <a:noFill/>
              </a:ln>
              <a:solidFill>
                <a:srgbClr val="373737"/>
              </a:solidFill>
              <a:effectLst/>
              <a:uLnTx/>
              <a:uFillTx/>
              <a:latin typeface="Roboto" panose="02000000000000000000" pitchFamily="2" charset="0"/>
              <a:ea typeface="Roboto Light"/>
              <a:cs typeface="Arial" panose="020B0604020202020204" pitchFamily="34" charset="0"/>
              <a:sym typeface="Roboto Light"/>
            </a:endParaRPr>
          </a:p>
        </p:txBody>
      </p:sp>
      <p:sp>
        <p:nvSpPr>
          <p:cNvPr id="262" name="Right Triangle 154">
            <a:extLst>
              <a:ext uri="{FF2B5EF4-FFF2-40B4-BE49-F238E27FC236}">
                <a16:creationId xmlns:a16="http://schemas.microsoft.com/office/drawing/2014/main" id="{1E8DF2AE-3E1B-4817-9DBE-D576252DC709}"/>
              </a:ext>
            </a:extLst>
          </p:cNvPr>
          <p:cNvSpPr/>
          <p:nvPr/>
        </p:nvSpPr>
        <p:spPr>
          <a:xfrm rot="10800000" flipH="1">
            <a:off x="6862835" y="2612630"/>
            <a:ext cx="1176049" cy="1061235"/>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0" y="0"/>
                </a:lnTo>
                <a:close/>
              </a:path>
            </a:pathLst>
          </a:custGeom>
          <a:gradFill flip="none" rotWithShape="1">
            <a:gsLst>
              <a:gs pos="15000">
                <a:srgbClr val="FFFFFF">
                  <a:alpha val="27000"/>
                </a:srgbClr>
              </a:gs>
              <a:gs pos="87000">
                <a:srgbClr val="FFFFFF">
                  <a:alpha val="54000"/>
                </a:srgbClr>
              </a:gs>
            </a:gsLst>
            <a:lin ang="16200000" scaled="0"/>
          </a:gradFill>
          <a:ln w="12700" cap="flat">
            <a:noFill/>
            <a:miter lim="400000"/>
          </a:ln>
          <a:effectLst/>
        </p:spPr>
        <p:txBody>
          <a:bodyPr wrap="square" lIns="91344" tIns="91344" rIns="91344" bIns="91344" numCol="1" anchor="ctr">
            <a:noAutofit/>
          </a:bodyPr>
          <a:lstStyle/>
          <a:p>
            <a:pPr marL="0" marR="0" lvl="0" indent="0" algn="ctr" defTabSz="913212" rtl="0" eaLnBrk="1" fontAlgn="auto" latinLnBrk="0" hangingPunct="1">
              <a:lnSpc>
                <a:spcPct val="100000"/>
              </a:lnSpc>
              <a:spcBef>
                <a:spcPts val="0"/>
              </a:spcBef>
              <a:spcAft>
                <a:spcPts val="0"/>
              </a:spcAft>
              <a:buClrTx/>
              <a:buSzTx/>
              <a:buFontTx/>
              <a:buNone/>
              <a:tabLst/>
              <a:defRPr sz="3400">
                <a:latin typeface="Roboto Light"/>
                <a:ea typeface="Roboto Light"/>
                <a:cs typeface="Roboto Light"/>
                <a:sym typeface="Roboto Light"/>
              </a:defRPr>
            </a:pPr>
            <a:endParaRPr kumimoji="0" sz="3397" b="0" i="0" u="none" strike="noStrike" kern="1200" cap="none" spc="0" normalizeH="0" baseline="0" noProof="0">
              <a:ln>
                <a:noFill/>
              </a:ln>
              <a:solidFill>
                <a:srgbClr val="373737"/>
              </a:solidFill>
              <a:effectLst/>
              <a:uLnTx/>
              <a:uFillTx/>
              <a:latin typeface="Roboto" panose="02000000000000000000" pitchFamily="2" charset="0"/>
              <a:ea typeface="Roboto Light"/>
              <a:cs typeface="Arial" panose="020B0604020202020204" pitchFamily="34" charset="0"/>
              <a:sym typeface="Roboto Light"/>
            </a:endParaRPr>
          </a:p>
        </p:txBody>
      </p:sp>
      <p:sp>
        <p:nvSpPr>
          <p:cNvPr id="263" name="TextBox 155">
            <a:extLst>
              <a:ext uri="{FF2B5EF4-FFF2-40B4-BE49-F238E27FC236}">
                <a16:creationId xmlns:a16="http://schemas.microsoft.com/office/drawing/2014/main" id="{C508421A-E919-40A7-BDA7-9B9F10493F92}"/>
              </a:ext>
            </a:extLst>
          </p:cNvPr>
          <p:cNvSpPr txBox="1"/>
          <p:nvPr/>
        </p:nvSpPr>
        <p:spPr>
          <a:xfrm>
            <a:off x="6894419" y="3286169"/>
            <a:ext cx="1205745" cy="29077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t">
            <a:spAutoFit/>
          </a:bodyPr>
          <a:lstStyle>
            <a:lvl1pPr defTabSz="914400">
              <a:lnSpc>
                <a:spcPct val="90000"/>
              </a:lnSpc>
              <a:defRPr sz="1700">
                <a:solidFill>
                  <a:srgbClr val="373737"/>
                </a:solidFill>
                <a:latin typeface="Roboto Light"/>
                <a:ea typeface="Roboto Light"/>
                <a:cs typeface="Roboto Light"/>
                <a:sym typeface="Roboto Light"/>
              </a:defRPr>
            </a:lvl1pPr>
          </a:lstStyle>
          <a:p>
            <a:pPr marL="0" marR="0" lvl="0" indent="0" algn="ctr" defTabSz="456744" rtl="0" eaLnBrk="1" fontAlgn="auto" latinLnBrk="0" hangingPunct="1">
              <a:lnSpc>
                <a:spcPct val="90000"/>
              </a:lnSpc>
              <a:spcBef>
                <a:spcPts val="0"/>
              </a:spcBef>
              <a:spcAft>
                <a:spcPts val="0"/>
              </a:spcAft>
              <a:buClrTx/>
              <a:buSzTx/>
              <a:buFontTx/>
              <a:buNone/>
              <a:tabLst/>
              <a:defRPr sz="1800">
                <a:solidFill>
                  <a:srgbClr val="373737"/>
                </a:solidFill>
                <a:latin typeface="Roboto Light"/>
                <a:ea typeface="Roboto Light"/>
                <a:cs typeface="Roboto Light"/>
                <a:sym typeface="Roboto Light"/>
              </a:defRPr>
            </a:pPr>
            <a:r>
              <a:rPr kumimoji="0" lang="en-US" sz="1050" b="0" i="0" u="none" strike="noStrike" kern="1200" cap="none" spc="0" normalizeH="0" baseline="0" noProof="0">
                <a:ln>
                  <a:noFill/>
                </a:ln>
                <a:solidFill>
                  <a:srgbClr val="373737"/>
                </a:solidFill>
                <a:effectLst/>
                <a:uLnTx/>
                <a:uFillTx/>
                <a:latin typeface="Roboto"/>
                <a:ea typeface="Roboto Light"/>
                <a:cs typeface="Arial"/>
                <a:sym typeface="Roboto Light"/>
              </a:rPr>
              <a:t>MDM &amp; 360 APPLICATIONS</a:t>
            </a:r>
          </a:p>
        </p:txBody>
      </p:sp>
      <p:sp>
        <p:nvSpPr>
          <p:cNvPr id="265" name="Round Same Side Corner Rectangle 127">
            <a:extLst>
              <a:ext uri="{FF2B5EF4-FFF2-40B4-BE49-F238E27FC236}">
                <a16:creationId xmlns:a16="http://schemas.microsoft.com/office/drawing/2014/main" id="{58184D61-E565-4F8D-8BEB-975AA07AF52E}"/>
              </a:ext>
            </a:extLst>
          </p:cNvPr>
          <p:cNvSpPr/>
          <p:nvPr/>
        </p:nvSpPr>
        <p:spPr>
          <a:xfrm>
            <a:off x="8271132" y="2612630"/>
            <a:ext cx="1259706" cy="106123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20394"/>
                </a:lnTo>
                <a:cubicBezTo>
                  <a:pt x="21600" y="21060"/>
                  <a:pt x="21037" y="21600"/>
                  <a:pt x="20342" y="21600"/>
                </a:cubicBezTo>
                <a:lnTo>
                  <a:pt x="1258" y="21600"/>
                </a:lnTo>
                <a:cubicBezTo>
                  <a:pt x="563" y="21600"/>
                  <a:pt x="0" y="21060"/>
                  <a:pt x="0" y="20394"/>
                </a:cubicBezTo>
                <a:lnTo>
                  <a:pt x="0" y="0"/>
                </a:lnTo>
                <a:close/>
              </a:path>
            </a:pathLst>
          </a:custGeom>
          <a:gradFill flip="none" rotWithShape="1">
            <a:gsLst>
              <a:gs pos="15000">
                <a:srgbClr val="FFFFFF"/>
              </a:gs>
              <a:gs pos="87000">
                <a:srgbClr val="D9D9D9"/>
              </a:gs>
            </a:gsLst>
            <a:lin ang="5400000" scaled="0"/>
          </a:gradFill>
          <a:ln w="12700" cap="flat">
            <a:noFill/>
            <a:miter lim="400000"/>
          </a:ln>
          <a:effectLst>
            <a:outerShdw blurRad="139700" dist="25400" dir="5400000" rotWithShape="0">
              <a:srgbClr val="000000">
                <a:alpha val="40000"/>
              </a:srgbClr>
            </a:outerShdw>
          </a:effectLst>
        </p:spPr>
        <p:txBody>
          <a:bodyPr wrap="square" lIns="91344" tIns="91344" rIns="91344" bIns="91344" numCol="1" anchor="ctr">
            <a:noAutofit/>
          </a:bodyPr>
          <a:lstStyle/>
          <a:p>
            <a:pPr marL="0" marR="0" lvl="0" indent="0" algn="ctr" defTabSz="456744" rtl="0" eaLnBrk="1" fontAlgn="auto" latinLnBrk="0" hangingPunct="1">
              <a:lnSpc>
                <a:spcPct val="100000"/>
              </a:lnSpc>
              <a:spcBef>
                <a:spcPts val="0"/>
              </a:spcBef>
              <a:spcAft>
                <a:spcPts val="0"/>
              </a:spcAft>
              <a:buClrTx/>
              <a:buSzTx/>
              <a:buFontTx/>
              <a:buNone/>
              <a:tabLst/>
              <a:defRPr sz="3400">
                <a:latin typeface="Roboto Light"/>
                <a:ea typeface="Roboto Light"/>
                <a:cs typeface="Roboto Light"/>
                <a:sym typeface="Roboto Light"/>
              </a:defRPr>
            </a:pPr>
            <a:endParaRPr kumimoji="0" sz="3397" b="0" i="0" u="none" strike="noStrike" kern="1200" cap="none" spc="0" normalizeH="0" baseline="0" noProof="0">
              <a:ln>
                <a:noFill/>
              </a:ln>
              <a:solidFill>
                <a:srgbClr val="373737"/>
              </a:solidFill>
              <a:effectLst/>
              <a:uLnTx/>
              <a:uFillTx/>
              <a:latin typeface="Roboto" panose="02000000000000000000" pitchFamily="2" charset="0"/>
              <a:ea typeface="Roboto Light"/>
              <a:cs typeface="Arial" panose="020B0604020202020204" pitchFamily="34" charset="0"/>
              <a:sym typeface="Roboto Light"/>
            </a:endParaRPr>
          </a:p>
        </p:txBody>
      </p:sp>
      <p:sp>
        <p:nvSpPr>
          <p:cNvPr id="266" name="Rectangle 132">
            <a:extLst>
              <a:ext uri="{FF2B5EF4-FFF2-40B4-BE49-F238E27FC236}">
                <a16:creationId xmlns:a16="http://schemas.microsoft.com/office/drawing/2014/main" id="{F2BA5E28-23E2-4CE2-A48D-3CCBB4B97D82}"/>
              </a:ext>
            </a:extLst>
          </p:cNvPr>
          <p:cNvSpPr/>
          <p:nvPr/>
        </p:nvSpPr>
        <p:spPr>
          <a:xfrm>
            <a:off x="8271131" y="2612630"/>
            <a:ext cx="1257155" cy="94526"/>
          </a:xfrm>
          <a:prstGeom prst="rect">
            <a:avLst/>
          </a:prstGeom>
          <a:solidFill>
            <a:srgbClr val="00A9BB"/>
          </a:solidFill>
          <a:ln w="12700" cap="flat">
            <a:noFill/>
            <a:miter lim="400000"/>
          </a:ln>
          <a:effectLst/>
        </p:spPr>
        <p:txBody>
          <a:bodyPr wrap="square" lIns="91344" tIns="91344" rIns="91344" bIns="91344" numCol="1" anchor="ctr">
            <a:noAutofit/>
          </a:bodyPr>
          <a:lstStyle/>
          <a:p>
            <a:pPr marL="0" marR="0" lvl="0" indent="0" algn="ctr" defTabSz="456744" rtl="0" eaLnBrk="1" fontAlgn="auto" latinLnBrk="0" hangingPunct="1">
              <a:lnSpc>
                <a:spcPct val="100000"/>
              </a:lnSpc>
              <a:spcBef>
                <a:spcPts val="0"/>
              </a:spcBef>
              <a:spcAft>
                <a:spcPts val="0"/>
              </a:spcAft>
              <a:buClrTx/>
              <a:buSzTx/>
              <a:buFontTx/>
              <a:buNone/>
              <a:tabLst/>
              <a:defRPr sz="3400">
                <a:latin typeface="Roboto Light"/>
                <a:ea typeface="Roboto Light"/>
                <a:cs typeface="Roboto Light"/>
                <a:sym typeface="Roboto Light"/>
              </a:defRPr>
            </a:pPr>
            <a:endParaRPr kumimoji="0" sz="3397" b="0" i="0" u="none" strike="noStrike" kern="1200" cap="none" spc="0" normalizeH="0" baseline="0" noProof="0">
              <a:ln>
                <a:noFill/>
              </a:ln>
              <a:solidFill>
                <a:srgbClr val="373737"/>
              </a:solidFill>
              <a:effectLst/>
              <a:uLnTx/>
              <a:uFillTx/>
              <a:latin typeface="Roboto" panose="02000000000000000000" pitchFamily="2" charset="0"/>
              <a:ea typeface="Roboto Light"/>
              <a:cs typeface="Arial" panose="020B0604020202020204" pitchFamily="34" charset="0"/>
              <a:sym typeface="Roboto Light"/>
            </a:endParaRPr>
          </a:p>
        </p:txBody>
      </p:sp>
      <p:sp>
        <p:nvSpPr>
          <p:cNvPr id="267" name="Right Triangle 137">
            <a:extLst>
              <a:ext uri="{FF2B5EF4-FFF2-40B4-BE49-F238E27FC236}">
                <a16:creationId xmlns:a16="http://schemas.microsoft.com/office/drawing/2014/main" id="{5FDCD757-F09B-41E2-B026-A39E96FFDE59}"/>
              </a:ext>
            </a:extLst>
          </p:cNvPr>
          <p:cNvSpPr/>
          <p:nvPr/>
        </p:nvSpPr>
        <p:spPr>
          <a:xfrm rot="10800000" flipH="1">
            <a:off x="8271132" y="2612628"/>
            <a:ext cx="1176048" cy="106123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0" y="0"/>
                </a:lnTo>
                <a:close/>
              </a:path>
            </a:pathLst>
          </a:custGeom>
          <a:gradFill flip="none" rotWithShape="1">
            <a:gsLst>
              <a:gs pos="15000">
                <a:srgbClr val="FFFFFF">
                  <a:alpha val="27000"/>
                </a:srgbClr>
              </a:gs>
              <a:gs pos="87000">
                <a:srgbClr val="FFFFFF">
                  <a:alpha val="54000"/>
                </a:srgbClr>
              </a:gs>
            </a:gsLst>
            <a:lin ang="16200000" scaled="0"/>
          </a:gradFill>
          <a:ln w="12700" cap="flat">
            <a:noFill/>
            <a:miter lim="400000"/>
          </a:ln>
          <a:effectLst/>
        </p:spPr>
        <p:txBody>
          <a:bodyPr wrap="square" lIns="91344" tIns="91344" rIns="91344" bIns="91344" numCol="1" anchor="ctr">
            <a:noAutofit/>
          </a:bodyPr>
          <a:lstStyle/>
          <a:p>
            <a:pPr marL="0" marR="0" lvl="0" indent="0" algn="ctr" defTabSz="913212" rtl="0" eaLnBrk="1" fontAlgn="auto" latinLnBrk="0" hangingPunct="1">
              <a:lnSpc>
                <a:spcPct val="100000"/>
              </a:lnSpc>
              <a:spcBef>
                <a:spcPts val="0"/>
              </a:spcBef>
              <a:spcAft>
                <a:spcPts val="0"/>
              </a:spcAft>
              <a:buClrTx/>
              <a:buSzTx/>
              <a:buFontTx/>
              <a:buNone/>
              <a:tabLst/>
              <a:defRPr sz="3400">
                <a:latin typeface="Roboto Light"/>
                <a:ea typeface="Roboto Light"/>
                <a:cs typeface="Roboto Light"/>
                <a:sym typeface="Roboto Light"/>
              </a:defRPr>
            </a:pPr>
            <a:endParaRPr kumimoji="0" sz="3397" b="0" i="0" u="none" strike="noStrike" kern="1200" cap="none" spc="0" normalizeH="0" baseline="0" noProof="0">
              <a:ln>
                <a:noFill/>
              </a:ln>
              <a:solidFill>
                <a:srgbClr val="373737"/>
              </a:solidFill>
              <a:effectLst/>
              <a:uLnTx/>
              <a:uFillTx/>
              <a:latin typeface="Roboto" panose="02000000000000000000" pitchFamily="2" charset="0"/>
              <a:ea typeface="Roboto Light"/>
              <a:cs typeface="Arial" panose="020B0604020202020204" pitchFamily="34" charset="0"/>
              <a:sym typeface="Roboto Light"/>
            </a:endParaRPr>
          </a:p>
        </p:txBody>
      </p:sp>
      <p:sp>
        <p:nvSpPr>
          <p:cNvPr id="268" name="TextBox 143">
            <a:extLst>
              <a:ext uri="{FF2B5EF4-FFF2-40B4-BE49-F238E27FC236}">
                <a16:creationId xmlns:a16="http://schemas.microsoft.com/office/drawing/2014/main" id="{07990EDF-29E7-43AE-B822-CC00CB4FE386}"/>
              </a:ext>
            </a:extLst>
          </p:cNvPr>
          <p:cNvSpPr txBox="1"/>
          <p:nvPr/>
        </p:nvSpPr>
        <p:spPr>
          <a:xfrm>
            <a:off x="8302715" y="3286169"/>
            <a:ext cx="1205744" cy="36142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t">
            <a:noAutofit/>
          </a:bodyPr>
          <a:lstStyle>
            <a:lvl1pPr defTabSz="914400">
              <a:lnSpc>
                <a:spcPct val="90000"/>
              </a:lnSpc>
              <a:defRPr sz="1800">
                <a:solidFill>
                  <a:srgbClr val="373737"/>
                </a:solidFill>
                <a:latin typeface="Roboto Light"/>
                <a:ea typeface="Roboto Light"/>
                <a:cs typeface="Roboto Light"/>
                <a:sym typeface="Roboto Light"/>
              </a:defRPr>
            </a:lvl1pPr>
          </a:lstStyle>
          <a:p>
            <a:pPr marL="0" marR="0" lvl="0" indent="0" algn="ctr" defTabSz="456744" rtl="0" eaLnBrk="1" fontAlgn="auto" latinLnBrk="0" hangingPunct="1">
              <a:lnSpc>
                <a:spcPct val="90000"/>
              </a:lnSpc>
              <a:spcBef>
                <a:spcPts val="0"/>
              </a:spcBef>
              <a:spcAft>
                <a:spcPts val="0"/>
              </a:spcAft>
              <a:buClrTx/>
              <a:buSzTx/>
              <a:buFontTx/>
              <a:buNone/>
              <a:tabLst/>
              <a:defRPr sz="1800">
                <a:solidFill>
                  <a:srgbClr val="373737"/>
                </a:solidFill>
                <a:latin typeface="Roboto Light"/>
                <a:ea typeface="Roboto Light"/>
                <a:cs typeface="Roboto Light"/>
                <a:sym typeface="Roboto Light"/>
              </a:defRPr>
            </a:pPr>
            <a:r>
              <a:rPr kumimoji="0" sz="1050" b="0" i="0" u="none" strike="noStrike" kern="1200" cap="none" spc="0" normalizeH="0" baseline="0" noProof="0">
                <a:ln>
                  <a:noFill/>
                </a:ln>
                <a:solidFill>
                  <a:srgbClr val="373737"/>
                </a:solidFill>
                <a:effectLst/>
                <a:uLnTx/>
                <a:uFillTx/>
                <a:latin typeface="Roboto" panose="02000000000000000000" pitchFamily="2" charset="0"/>
                <a:ea typeface="Roboto Light"/>
                <a:cs typeface="Arial" panose="020B0604020202020204" pitchFamily="34" charset="0"/>
                <a:sym typeface="Roboto Light"/>
              </a:rPr>
              <a:t>GOVERNANCE &amp; PRIVACY</a:t>
            </a:r>
          </a:p>
        </p:txBody>
      </p:sp>
      <p:pic>
        <p:nvPicPr>
          <p:cNvPr id="269" name="Picture 159" descr="Picture 159">
            <a:extLst>
              <a:ext uri="{FF2B5EF4-FFF2-40B4-BE49-F238E27FC236}">
                <a16:creationId xmlns:a16="http://schemas.microsoft.com/office/drawing/2014/main" id="{BB99D4D2-4D61-42FA-B070-C6C2EB11B626}"/>
              </a:ext>
            </a:extLst>
          </p:cNvPr>
          <p:cNvPicPr>
            <a:picLocks noChangeAspect="1"/>
          </p:cNvPicPr>
          <p:nvPr/>
        </p:nvPicPr>
        <p:blipFill>
          <a:blip r:embed="rId15"/>
          <a:stretch>
            <a:fillRect/>
          </a:stretch>
        </p:blipFill>
        <p:spPr>
          <a:xfrm>
            <a:off x="8689329" y="2822818"/>
            <a:ext cx="437256" cy="403757"/>
          </a:xfrm>
          <a:prstGeom prst="rect">
            <a:avLst/>
          </a:prstGeom>
          <a:ln w="12700" cap="flat">
            <a:noFill/>
            <a:miter lim="400000"/>
          </a:ln>
          <a:effectLst/>
        </p:spPr>
      </p:pic>
      <p:sp>
        <p:nvSpPr>
          <p:cNvPr id="270" name="Rectangle">
            <a:extLst>
              <a:ext uri="{FF2B5EF4-FFF2-40B4-BE49-F238E27FC236}">
                <a16:creationId xmlns:a16="http://schemas.microsoft.com/office/drawing/2014/main" id="{464B10D9-2460-4D9B-BDBC-9F39C9BE34CB}"/>
              </a:ext>
            </a:extLst>
          </p:cNvPr>
          <p:cNvSpPr/>
          <p:nvPr/>
        </p:nvSpPr>
        <p:spPr>
          <a:xfrm>
            <a:off x="1180396" y="3774834"/>
            <a:ext cx="9825769" cy="391347"/>
          </a:xfrm>
          <a:prstGeom prst="rect">
            <a:avLst/>
          </a:prstGeom>
          <a:solidFill>
            <a:srgbClr val="CFCFCF">
              <a:alpha val="0"/>
            </a:srgbClr>
          </a:solidFill>
          <a:ln w="12700">
            <a:miter lim="400000"/>
          </a:ln>
        </p:spPr>
        <p:txBody>
          <a:bodyPr lIns="91344" tIns="91344" rIns="91344" bIns="91344" anchor="ctr"/>
          <a:lstStyle/>
          <a:p>
            <a:pPr marL="0" marR="0" lvl="0" indent="0" algn="l" defTabSz="913486" rtl="0" eaLnBrk="1" fontAlgn="auto" latinLnBrk="0" hangingPunct="1">
              <a:lnSpc>
                <a:spcPct val="100000"/>
              </a:lnSpc>
              <a:spcBef>
                <a:spcPts val="0"/>
              </a:spcBef>
              <a:spcAft>
                <a:spcPts val="0"/>
              </a:spcAft>
              <a:buClrTx/>
              <a:buSzTx/>
              <a:buFontTx/>
              <a:buNone/>
              <a:tabLst/>
              <a:defRPr sz="3600">
                <a:latin typeface="Roboto"/>
                <a:ea typeface="Roboto"/>
                <a:cs typeface="Roboto"/>
                <a:sym typeface="Roboto"/>
              </a:defRPr>
            </a:pPr>
            <a:endParaRPr kumimoji="0" sz="2797" b="0" i="0" u="none" strike="noStrike" kern="1200" cap="none" spc="0" normalizeH="0" baseline="0" noProof="0">
              <a:ln>
                <a:noFill/>
              </a:ln>
              <a:solidFill>
                <a:srgbClr val="373737"/>
              </a:solidFill>
              <a:effectLst/>
              <a:uLnTx/>
              <a:uFillTx/>
              <a:latin typeface="Roboto" panose="02000000000000000000" pitchFamily="2" charset="0"/>
              <a:ea typeface="Roboto" panose="02000000000000000000" pitchFamily="2" charset="0"/>
              <a:cs typeface="Arial" panose="020B0604020202020204" pitchFamily="34" charset="0"/>
              <a:sym typeface="Roboto"/>
            </a:endParaRPr>
          </a:p>
        </p:txBody>
      </p:sp>
      <p:sp>
        <p:nvSpPr>
          <p:cNvPr id="271" name="10K+ Metadata-Aware Connectors">
            <a:extLst>
              <a:ext uri="{FF2B5EF4-FFF2-40B4-BE49-F238E27FC236}">
                <a16:creationId xmlns:a16="http://schemas.microsoft.com/office/drawing/2014/main" id="{141044D3-EE39-46B0-81A0-7390151EE89B}"/>
              </a:ext>
            </a:extLst>
          </p:cNvPr>
          <p:cNvSpPr txBox="1"/>
          <p:nvPr/>
        </p:nvSpPr>
        <p:spPr>
          <a:xfrm>
            <a:off x="4691345" y="3843630"/>
            <a:ext cx="2802975" cy="25375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660" tIns="45660" rIns="45660" bIns="45660" anchor="ctr">
            <a:spAutoFit/>
          </a:bodyPr>
          <a:lstStyle>
            <a:lvl1pPr defTabSz="914400">
              <a:defRPr>
                <a:solidFill>
                  <a:srgbClr val="373737"/>
                </a:solidFill>
                <a:latin typeface="Roboto Light"/>
                <a:ea typeface="Roboto Light"/>
                <a:cs typeface="Roboto Light"/>
                <a:sym typeface="Roboto Light"/>
              </a:defRPr>
            </a:lvl1pPr>
          </a:lstStyle>
          <a:p>
            <a:pPr marL="0" marR="0" lvl="0" indent="0" algn="l" defTabSz="456744" rtl="0" eaLnBrk="1" fontAlgn="auto" latinLnBrk="0" hangingPunct="1">
              <a:lnSpc>
                <a:spcPct val="100000"/>
              </a:lnSpc>
              <a:spcBef>
                <a:spcPts val="0"/>
              </a:spcBef>
              <a:spcAft>
                <a:spcPts val="0"/>
              </a:spcAft>
              <a:buClrTx/>
              <a:buSzTx/>
              <a:buFontTx/>
              <a:buNone/>
              <a:tabLst/>
              <a:defRPr/>
            </a:pPr>
            <a:r>
              <a:rPr kumimoji="0" sz="1050" b="0" i="0" u="none" strike="noStrike" kern="1200" cap="none" spc="0" normalizeH="0" baseline="0" noProof="0">
                <a:ln>
                  <a:noFill/>
                </a:ln>
                <a:solidFill>
                  <a:srgbClr val="373737"/>
                </a:solidFill>
                <a:effectLst/>
                <a:uLnTx/>
                <a:uFillTx/>
                <a:latin typeface="Roboto" panose="02000000000000000000" pitchFamily="2" charset="0"/>
                <a:ea typeface="Roboto Light"/>
                <a:cs typeface="Arial" panose="020B0604020202020204" pitchFamily="34" charset="0"/>
                <a:sym typeface="Roboto Light"/>
              </a:rPr>
              <a:t>10K+ Metadata-Aware Connectors</a:t>
            </a:r>
          </a:p>
        </p:txBody>
      </p:sp>
      <p:sp>
        <p:nvSpPr>
          <p:cNvPr id="272" name="Rounded Rectangle">
            <a:extLst>
              <a:ext uri="{FF2B5EF4-FFF2-40B4-BE49-F238E27FC236}">
                <a16:creationId xmlns:a16="http://schemas.microsoft.com/office/drawing/2014/main" id="{90C7493C-725C-405B-8818-E4B9931BDADF}"/>
              </a:ext>
            </a:extLst>
          </p:cNvPr>
          <p:cNvSpPr/>
          <p:nvPr/>
        </p:nvSpPr>
        <p:spPr>
          <a:xfrm>
            <a:off x="1209142" y="3816593"/>
            <a:ext cx="9723348" cy="476959"/>
          </a:xfrm>
          <a:prstGeom prst="roundRect">
            <a:avLst>
              <a:gd name="adj" fmla="val 0"/>
            </a:avLst>
          </a:prstGeom>
          <a:solidFill>
            <a:schemeClr val="tx1"/>
          </a:solidFill>
          <a:ln w="12700" cap="flat">
            <a:noFill/>
            <a:miter lim="400000"/>
          </a:ln>
          <a:effectLst/>
        </p:spPr>
        <p:txBody>
          <a:bodyPr wrap="square" lIns="91344" tIns="91344" rIns="91344" bIns="91344" numCol="1" anchor="ctr">
            <a:noAutofit/>
          </a:bodyPr>
          <a:lstStyle/>
          <a:p>
            <a:pPr marL="0" marR="0" lvl="0" indent="0" algn="l" defTabSz="913486" rtl="0" eaLnBrk="1" fontAlgn="auto" latinLnBrk="0" hangingPunct="1">
              <a:lnSpc>
                <a:spcPct val="100000"/>
              </a:lnSpc>
              <a:spcBef>
                <a:spcPts val="0"/>
              </a:spcBef>
              <a:spcAft>
                <a:spcPts val="0"/>
              </a:spcAft>
              <a:buClrTx/>
              <a:buSzTx/>
              <a:buFontTx/>
              <a:buNone/>
              <a:tabLst/>
              <a:defRPr sz="3600">
                <a:latin typeface="Roboto"/>
                <a:ea typeface="Roboto"/>
                <a:cs typeface="Roboto"/>
                <a:sym typeface="Roboto"/>
              </a:defRPr>
            </a:pPr>
            <a:endParaRPr kumimoji="0" sz="2797" b="0" i="0" u="none" strike="noStrike" kern="1200" cap="none" spc="0" normalizeH="0" baseline="0" noProof="0">
              <a:ln>
                <a:noFill/>
              </a:ln>
              <a:solidFill>
                <a:srgbClr val="373737"/>
              </a:solidFill>
              <a:effectLst/>
              <a:uLnTx/>
              <a:uFillTx/>
              <a:latin typeface="Roboto" panose="02000000000000000000" pitchFamily="2" charset="0"/>
              <a:ea typeface="Roboto" panose="02000000000000000000" pitchFamily="2" charset="0"/>
              <a:cs typeface="Arial" panose="020B0604020202020204" pitchFamily="34" charset="0"/>
              <a:sym typeface="Roboto"/>
            </a:endParaRPr>
          </a:p>
        </p:txBody>
      </p:sp>
      <p:sp>
        <p:nvSpPr>
          <p:cNvPr id="273" name="Rectangle 1">
            <a:extLst>
              <a:ext uri="{FF2B5EF4-FFF2-40B4-BE49-F238E27FC236}">
                <a16:creationId xmlns:a16="http://schemas.microsoft.com/office/drawing/2014/main" id="{9B624B5E-0E19-4E0C-AB5E-83D67220C0A9}"/>
              </a:ext>
            </a:extLst>
          </p:cNvPr>
          <p:cNvSpPr txBox="1"/>
          <p:nvPr/>
        </p:nvSpPr>
        <p:spPr>
          <a:xfrm>
            <a:off x="4195393" y="4095892"/>
            <a:ext cx="3815742" cy="240950"/>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748" tIns="50748" rIns="50748" bIns="50748" numCol="1" anchor="t">
            <a:spAutoFit/>
          </a:bodyPr>
          <a:lstStyle>
            <a:lvl1pPr defTabSz="1827703">
              <a:lnSpc>
                <a:spcPct val="90000"/>
              </a:lnSpc>
              <a:spcBef>
                <a:spcPts val="2000"/>
              </a:spcBef>
              <a:defRPr sz="1800" spc="144">
                <a:latin typeface="Roboto"/>
                <a:ea typeface="Roboto"/>
                <a:cs typeface="Roboto"/>
                <a:sym typeface="Roboto"/>
              </a:defRPr>
            </a:lvl1pPr>
          </a:lstStyle>
          <a:p>
            <a:pPr marL="0" marR="0" lvl="0" indent="0" algn="ctr" defTabSz="912938" rtl="0" eaLnBrk="1" fontAlgn="auto" latinLnBrk="0" hangingPunct="1">
              <a:lnSpc>
                <a:spcPct val="90000"/>
              </a:lnSpc>
              <a:spcBef>
                <a:spcPts val="1999"/>
              </a:spcBef>
              <a:spcAft>
                <a:spcPts val="0"/>
              </a:spcAft>
              <a:buClrTx/>
              <a:buSzTx/>
              <a:buFontTx/>
              <a:buNone/>
              <a:tabLst/>
              <a:defRPr/>
            </a:pPr>
            <a:r>
              <a:rPr kumimoji="0" sz="1000" b="0" i="0" u="none" strike="noStrike" kern="1200" cap="none" spc="144" normalizeH="0" baseline="0" noProof="0">
                <a:ln>
                  <a:noFill/>
                </a:ln>
                <a:solidFill>
                  <a:srgbClr val="FFFFFF"/>
                </a:solidFill>
                <a:effectLst/>
                <a:uLnTx/>
                <a:uFillTx/>
                <a:latin typeface="Roboto Light"/>
                <a:ea typeface="Roboto" panose="02000000000000000000" pitchFamily="2" charset="0"/>
                <a:cs typeface="Arial" panose="020B0604020202020204" pitchFamily="34" charset="0"/>
                <a:sym typeface="Roboto"/>
              </a:rPr>
              <a:t>AI-Powered Metadata Intelligence &amp; Automation</a:t>
            </a:r>
          </a:p>
        </p:txBody>
      </p:sp>
      <p:pic>
        <p:nvPicPr>
          <p:cNvPr id="274" name="Image" descr="Image">
            <a:extLst>
              <a:ext uri="{FF2B5EF4-FFF2-40B4-BE49-F238E27FC236}">
                <a16:creationId xmlns:a16="http://schemas.microsoft.com/office/drawing/2014/main" id="{EC2393AE-7A77-4C85-AE16-33D066E282DA}"/>
              </a:ext>
            </a:extLst>
          </p:cNvPr>
          <p:cNvPicPr>
            <a:picLocks noChangeAspect="1"/>
          </p:cNvPicPr>
          <p:nvPr/>
        </p:nvPicPr>
        <p:blipFill>
          <a:blip r:embed="rId16" cstate="hqprint">
            <a:extLst>
              <a:ext uri="{28A0092B-C50C-407E-A947-70E740481C1C}">
                <a14:useLocalDpi xmlns:a14="http://schemas.microsoft.com/office/drawing/2010/main"/>
              </a:ext>
            </a:extLst>
          </a:blip>
          <a:stretch>
            <a:fillRect/>
          </a:stretch>
        </p:blipFill>
        <p:spPr>
          <a:xfrm>
            <a:off x="5453238" y="3863111"/>
            <a:ext cx="1328998" cy="242800"/>
          </a:xfrm>
          <a:prstGeom prst="rect">
            <a:avLst/>
          </a:prstGeom>
          <a:ln w="12700" cap="flat">
            <a:noFill/>
            <a:miter lim="400000"/>
          </a:ln>
          <a:effectLst/>
        </p:spPr>
      </p:pic>
      <p:sp>
        <p:nvSpPr>
          <p:cNvPr id="275" name="Rounded Rectangle">
            <a:extLst>
              <a:ext uri="{FF2B5EF4-FFF2-40B4-BE49-F238E27FC236}">
                <a16:creationId xmlns:a16="http://schemas.microsoft.com/office/drawing/2014/main" id="{23A10F3B-7137-4C92-BC8A-02238527BDB4}"/>
              </a:ext>
            </a:extLst>
          </p:cNvPr>
          <p:cNvSpPr/>
          <p:nvPr/>
        </p:nvSpPr>
        <p:spPr>
          <a:xfrm>
            <a:off x="1209142" y="4399780"/>
            <a:ext cx="9723348" cy="476959"/>
          </a:xfrm>
          <a:prstGeom prst="roundRect">
            <a:avLst>
              <a:gd name="adj" fmla="val 0"/>
            </a:avLst>
          </a:prstGeom>
          <a:solidFill>
            <a:schemeClr val="bg1">
              <a:lumMod val="50000"/>
            </a:schemeClr>
          </a:solidFill>
          <a:ln w="12700" cap="flat">
            <a:noFill/>
            <a:miter lim="400000"/>
          </a:ln>
          <a:effectLst/>
        </p:spPr>
        <p:txBody>
          <a:bodyPr wrap="square" lIns="91344" tIns="91344" rIns="91344" bIns="91344" numCol="1" anchor="ctr">
            <a:noAutofit/>
          </a:bodyPr>
          <a:lstStyle/>
          <a:p>
            <a:pPr marL="0" marR="0" lvl="0" indent="0" algn="l" defTabSz="913486" rtl="0" eaLnBrk="1" fontAlgn="auto" latinLnBrk="0" hangingPunct="1">
              <a:lnSpc>
                <a:spcPct val="100000"/>
              </a:lnSpc>
              <a:spcBef>
                <a:spcPts val="0"/>
              </a:spcBef>
              <a:spcAft>
                <a:spcPts val="0"/>
              </a:spcAft>
              <a:buClrTx/>
              <a:buSzTx/>
              <a:buFontTx/>
              <a:buNone/>
              <a:tabLst/>
              <a:defRPr sz="3600">
                <a:latin typeface="Roboto"/>
                <a:ea typeface="Roboto"/>
                <a:cs typeface="Roboto"/>
                <a:sym typeface="Roboto"/>
              </a:defRPr>
            </a:pPr>
            <a:endParaRPr kumimoji="0" sz="2797" b="0" i="0" u="none" strike="noStrike" kern="1200" cap="none" spc="0" normalizeH="0" baseline="0" noProof="0">
              <a:ln>
                <a:noFill/>
              </a:ln>
              <a:solidFill>
                <a:srgbClr val="373737"/>
              </a:solidFill>
              <a:effectLst/>
              <a:uLnTx/>
              <a:uFillTx/>
              <a:latin typeface="Roboto" panose="02000000000000000000" pitchFamily="2" charset="0"/>
              <a:ea typeface="Roboto" panose="02000000000000000000" pitchFamily="2" charset="0"/>
              <a:cs typeface="Arial" panose="020B0604020202020204" pitchFamily="34" charset="0"/>
              <a:sym typeface="Roboto"/>
            </a:endParaRPr>
          </a:p>
        </p:txBody>
      </p:sp>
      <p:sp>
        <p:nvSpPr>
          <p:cNvPr id="276" name="Rectangle 1">
            <a:extLst>
              <a:ext uri="{FF2B5EF4-FFF2-40B4-BE49-F238E27FC236}">
                <a16:creationId xmlns:a16="http://schemas.microsoft.com/office/drawing/2014/main" id="{4C5E6BC7-253C-4E52-8544-6D10A90A86E2}"/>
              </a:ext>
            </a:extLst>
          </p:cNvPr>
          <p:cNvSpPr txBox="1"/>
          <p:nvPr/>
        </p:nvSpPr>
        <p:spPr>
          <a:xfrm>
            <a:off x="4966357" y="4374988"/>
            <a:ext cx="2284244" cy="517749"/>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748" tIns="50748" rIns="50748" bIns="50748" numCol="1" anchor="ctr">
            <a:spAutoFit/>
          </a:bodyPr>
          <a:lstStyle>
            <a:lvl1pPr defTabSz="1827703">
              <a:lnSpc>
                <a:spcPct val="90000"/>
              </a:lnSpc>
              <a:spcBef>
                <a:spcPts val="2000"/>
              </a:spcBef>
              <a:defRPr sz="1800" spc="144">
                <a:latin typeface="Roboto"/>
                <a:ea typeface="Roboto"/>
                <a:cs typeface="Roboto"/>
                <a:sym typeface="Roboto"/>
              </a:defRPr>
            </a:lvl1pPr>
          </a:lstStyle>
          <a:p>
            <a:pPr marL="0" marR="0" lvl="0" indent="0" algn="ctr" defTabSz="912938" rtl="0" eaLnBrk="1" fontAlgn="auto" latinLnBrk="0" hangingPunct="1">
              <a:lnSpc>
                <a:spcPct val="90000"/>
              </a:lnSpc>
              <a:spcBef>
                <a:spcPts val="1999"/>
              </a:spcBef>
              <a:spcAft>
                <a:spcPts val="0"/>
              </a:spcAft>
              <a:buClrTx/>
              <a:buSzTx/>
              <a:buFontTx/>
              <a:buNone/>
              <a:tabLst/>
              <a:defRPr/>
            </a:pPr>
            <a:r>
              <a:rPr kumimoji="0" lang="en-US" sz="1998" b="1" i="0" u="none" strike="noStrike" kern="1200" cap="none" spc="144" normalizeH="0" baseline="0" noProof="0">
                <a:ln>
                  <a:noFill/>
                </a:ln>
                <a:solidFill>
                  <a:srgbClr val="FFFFFF"/>
                </a:solidFill>
                <a:effectLst/>
                <a:uLnTx/>
                <a:uFillTx/>
                <a:latin typeface="Roboto" panose="02000000000000000000" pitchFamily="2" charset="0"/>
                <a:ea typeface="Roboto" panose="02000000000000000000" pitchFamily="2" charset="0"/>
                <a:cs typeface="Arial" panose="020B0604020202020204" pitchFamily="34" charset="0"/>
                <a:sym typeface="Roboto"/>
              </a:rPr>
              <a:t>Connectivity</a:t>
            </a:r>
            <a:br>
              <a:rPr kumimoji="0" lang="en-US" sz="1998" b="1" i="0" u="none" strike="noStrike" kern="1200" cap="none" spc="144" normalizeH="0" baseline="0" noProof="0">
                <a:ln>
                  <a:noFill/>
                </a:ln>
                <a:solidFill>
                  <a:srgbClr val="FFFFFF"/>
                </a:solidFill>
                <a:effectLst/>
                <a:uLnTx/>
                <a:uFillTx/>
                <a:latin typeface="Roboto" panose="02000000000000000000" pitchFamily="2" charset="0"/>
                <a:ea typeface="Roboto" panose="02000000000000000000" pitchFamily="2" charset="0"/>
                <a:cs typeface="Arial" panose="020B0604020202020204" pitchFamily="34" charset="0"/>
                <a:sym typeface="Roboto"/>
              </a:rPr>
            </a:br>
            <a:r>
              <a:rPr kumimoji="0" lang="en-US" sz="1000" b="0" i="0" u="none" strike="noStrike" kern="1200" cap="none" spc="144" normalizeH="0" baseline="0" noProof="0">
                <a:ln>
                  <a:noFill/>
                </a:ln>
                <a:solidFill>
                  <a:srgbClr val="FFFFFF"/>
                </a:solidFill>
                <a:effectLst/>
                <a:uLnTx/>
                <a:uFillTx/>
                <a:latin typeface="Roboto Light"/>
                <a:ea typeface="Roboto" panose="02000000000000000000" pitchFamily="2" charset="0"/>
                <a:cs typeface="Arial" panose="020B0604020202020204" pitchFamily="34" charset="0"/>
                <a:sym typeface="Roboto"/>
              </a:rPr>
              <a:t>Metadata System of Record</a:t>
            </a:r>
            <a:endParaRPr kumimoji="0" sz="1000" b="0" i="0" u="none" strike="noStrike" kern="1200" cap="none" spc="144" normalizeH="0" baseline="0" noProof="0">
              <a:ln>
                <a:noFill/>
              </a:ln>
              <a:solidFill>
                <a:srgbClr val="FFFFFF"/>
              </a:solidFill>
              <a:effectLst/>
              <a:uLnTx/>
              <a:uFillTx/>
              <a:latin typeface="Roboto Light"/>
              <a:ea typeface="Roboto" panose="02000000000000000000" pitchFamily="2" charset="0"/>
              <a:cs typeface="Arial" panose="020B0604020202020204" pitchFamily="34" charset="0"/>
              <a:sym typeface="Roboto"/>
            </a:endParaRPr>
          </a:p>
        </p:txBody>
      </p:sp>
      <p:sp>
        <p:nvSpPr>
          <p:cNvPr id="278" name="Round Same Side Corner Rectangle 127">
            <a:extLst>
              <a:ext uri="{FF2B5EF4-FFF2-40B4-BE49-F238E27FC236}">
                <a16:creationId xmlns:a16="http://schemas.microsoft.com/office/drawing/2014/main" id="{3FF1E98C-775E-4DD3-9ACD-9A076BEDC0F9}"/>
              </a:ext>
            </a:extLst>
          </p:cNvPr>
          <p:cNvSpPr/>
          <p:nvPr/>
        </p:nvSpPr>
        <p:spPr>
          <a:xfrm>
            <a:off x="9675337" y="2623663"/>
            <a:ext cx="1254602" cy="106123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20394"/>
                </a:lnTo>
                <a:cubicBezTo>
                  <a:pt x="21600" y="21060"/>
                  <a:pt x="21037" y="21600"/>
                  <a:pt x="20342" y="21600"/>
                </a:cubicBezTo>
                <a:lnTo>
                  <a:pt x="1258" y="21600"/>
                </a:lnTo>
                <a:cubicBezTo>
                  <a:pt x="563" y="21600"/>
                  <a:pt x="0" y="21060"/>
                  <a:pt x="0" y="20394"/>
                </a:cubicBezTo>
                <a:lnTo>
                  <a:pt x="0" y="0"/>
                </a:lnTo>
                <a:close/>
              </a:path>
            </a:pathLst>
          </a:custGeom>
          <a:gradFill flip="none" rotWithShape="1">
            <a:gsLst>
              <a:gs pos="15000">
                <a:srgbClr val="FFFFFF"/>
              </a:gs>
              <a:gs pos="87000">
                <a:srgbClr val="D9D9D9"/>
              </a:gs>
            </a:gsLst>
            <a:lin ang="5400000" scaled="0"/>
          </a:gradFill>
          <a:ln w="12700" cap="flat">
            <a:noFill/>
            <a:miter lim="400000"/>
          </a:ln>
          <a:effectLst>
            <a:outerShdw blurRad="139700" dist="25400" dir="5400000" rotWithShape="0">
              <a:srgbClr val="000000">
                <a:alpha val="40000"/>
              </a:srgbClr>
            </a:outerShdw>
          </a:effectLst>
        </p:spPr>
        <p:txBody>
          <a:bodyPr wrap="square" lIns="91344" tIns="91344" rIns="91344" bIns="91344" numCol="1" anchor="ctr">
            <a:noAutofit/>
          </a:bodyPr>
          <a:lstStyle/>
          <a:p>
            <a:pPr marL="0" marR="0" lvl="0" indent="0" algn="ctr" defTabSz="456744" rtl="0" eaLnBrk="1" fontAlgn="auto" latinLnBrk="0" hangingPunct="1">
              <a:lnSpc>
                <a:spcPct val="100000"/>
              </a:lnSpc>
              <a:spcBef>
                <a:spcPts val="0"/>
              </a:spcBef>
              <a:spcAft>
                <a:spcPts val="0"/>
              </a:spcAft>
              <a:buClrTx/>
              <a:buSzTx/>
              <a:buFontTx/>
              <a:buNone/>
              <a:tabLst/>
              <a:defRPr sz="3400">
                <a:latin typeface="Roboto Light"/>
                <a:ea typeface="Roboto Light"/>
                <a:cs typeface="Roboto Light"/>
                <a:sym typeface="Roboto Light"/>
              </a:defRPr>
            </a:pPr>
            <a:endParaRPr kumimoji="0" sz="3397" b="0" i="0" u="none" strike="noStrike" kern="1200" cap="none" spc="0" normalizeH="0" baseline="0" noProof="0">
              <a:ln>
                <a:noFill/>
              </a:ln>
              <a:solidFill>
                <a:srgbClr val="373737"/>
              </a:solidFill>
              <a:effectLst/>
              <a:uLnTx/>
              <a:uFillTx/>
              <a:latin typeface="Roboto" panose="02000000000000000000" pitchFamily="2" charset="0"/>
              <a:ea typeface="Roboto Light"/>
              <a:cs typeface="Arial" panose="020B0604020202020204" pitchFamily="34" charset="0"/>
              <a:sym typeface="Roboto Light"/>
            </a:endParaRPr>
          </a:p>
        </p:txBody>
      </p:sp>
      <p:sp>
        <p:nvSpPr>
          <p:cNvPr id="279" name="Rectangle 132">
            <a:extLst>
              <a:ext uri="{FF2B5EF4-FFF2-40B4-BE49-F238E27FC236}">
                <a16:creationId xmlns:a16="http://schemas.microsoft.com/office/drawing/2014/main" id="{887F1497-E051-4AF2-B31F-43FBB80A1B8B}"/>
              </a:ext>
            </a:extLst>
          </p:cNvPr>
          <p:cNvSpPr/>
          <p:nvPr/>
        </p:nvSpPr>
        <p:spPr>
          <a:xfrm>
            <a:off x="9675334" y="2612630"/>
            <a:ext cx="1257155" cy="94526"/>
          </a:xfrm>
          <a:prstGeom prst="rect">
            <a:avLst/>
          </a:prstGeom>
          <a:solidFill>
            <a:srgbClr val="00A9BB"/>
          </a:solidFill>
          <a:ln w="12700" cap="flat">
            <a:noFill/>
            <a:miter lim="400000"/>
          </a:ln>
          <a:effectLst/>
        </p:spPr>
        <p:txBody>
          <a:bodyPr wrap="square" lIns="91344" tIns="91344" rIns="91344" bIns="91344" numCol="1" anchor="ctr">
            <a:noAutofit/>
          </a:bodyPr>
          <a:lstStyle/>
          <a:p>
            <a:pPr marL="0" marR="0" lvl="0" indent="0" algn="ctr" defTabSz="456744" rtl="0" eaLnBrk="1" fontAlgn="auto" latinLnBrk="0" hangingPunct="1">
              <a:lnSpc>
                <a:spcPct val="100000"/>
              </a:lnSpc>
              <a:spcBef>
                <a:spcPts val="0"/>
              </a:spcBef>
              <a:spcAft>
                <a:spcPts val="0"/>
              </a:spcAft>
              <a:buClrTx/>
              <a:buSzTx/>
              <a:buFontTx/>
              <a:buNone/>
              <a:tabLst/>
              <a:defRPr sz="3400">
                <a:latin typeface="Roboto Light"/>
                <a:ea typeface="Roboto Light"/>
                <a:cs typeface="Roboto Light"/>
                <a:sym typeface="Roboto Light"/>
              </a:defRPr>
            </a:pPr>
            <a:endParaRPr kumimoji="0" sz="3397" b="0" i="0" u="none" strike="noStrike" kern="1200" cap="none" spc="0" normalizeH="0" baseline="0" noProof="0">
              <a:ln>
                <a:noFill/>
              </a:ln>
              <a:solidFill>
                <a:srgbClr val="373737"/>
              </a:solidFill>
              <a:effectLst/>
              <a:uLnTx/>
              <a:uFillTx/>
              <a:latin typeface="Roboto" panose="02000000000000000000" pitchFamily="2" charset="0"/>
              <a:ea typeface="Roboto Light"/>
              <a:cs typeface="Arial" panose="020B0604020202020204" pitchFamily="34" charset="0"/>
              <a:sym typeface="Roboto Light"/>
            </a:endParaRPr>
          </a:p>
        </p:txBody>
      </p:sp>
      <p:sp>
        <p:nvSpPr>
          <p:cNvPr id="280" name="Right Triangle 137">
            <a:extLst>
              <a:ext uri="{FF2B5EF4-FFF2-40B4-BE49-F238E27FC236}">
                <a16:creationId xmlns:a16="http://schemas.microsoft.com/office/drawing/2014/main" id="{B18E087F-2822-484B-997E-40C941744134}"/>
              </a:ext>
            </a:extLst>
          </p:cNvPr>
          <p:cNvSpPr/>
          <p:nvPr/>
        </p:nvSpPr>
        <p:spPr>
          <a:xfrm rot="10800000" flipH="1">
            <a:off x="9675335" y="2612629"/>
            <a:ext cx="1176048" cy="106123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0" y="0"/>
                </a:lnTo>
                <a:close/>
              </a:path>
            </a:pathLst>
          </a:custGeom>
          <a:gradFill flip="none" rotWithShape="1">
            <a:gsLst>
              <a:gs pos="15000">
                <a:srgbClr val="FFFFFF">
                  <a:alpha val="27000"/>
                </a:srgbClr>
              </a:gs>
              <a:gs pos="87000">
                <a:srgbClr val="FFFFFF">
                  <a:alpha val="54000"/>
                </a:srgbClr>
              </a:gs>
            </a:gsLst>
            <a:lin ang="16200000" scaled="0"/>
          </a:gradFill>
          <a:ln w="12700" cap="flat">
            <a:noFill/>
            <a:miter lim="400000"/>
          </a:ln>
          <a:effectLst/>
        </p:spPr>
        <p:txBody>
          <a:bodyPr wrap="square" lIns="91344" tIns="91344" rIns="91344" bIns="91344" numCol="1" anchor="ctr">
            <a:noAutofit/>
          </a:bodyPr>
          <a:lstStyle/>
          <a:p>
            <a:pPr marL="0" marR="0" lvl="0" indent="0" algn="ctr" defTabSz="913212" rtl="0" eaLnBrk="1" fontAlgn="auto" latinLnBrk="0" hangingPunct="1">
              <a:lnSpc>
                <a:spcPct val="100000"/>
              </a:lnSpc>
              <a:spcBef>
                <a:spcPts val="0"/>
              </a:spcBef>
              <a:spcAft>
                <a:spcPts val="0"/>
              </a:spcAft>
              <a:buClrTx/>
              <a:buSzTx/>
              <a:buFontTx/>
              <a:buNone/>
              <a:tabLst/>
              <a:defRPr sz="3400">
                <a:latin typeface="Roboto Light"/>
                <a:ea typeface="Roboto Light"/>
                <a:cs typeface="Roboto Light"/>
                <a:sym typeface="Roboto Light"/>
              </a:defRPr>
            </a:pPr>
            <a:endParaRPr kumimoji="0" sz="3397" b="0" i="0" u="none" strike="noStrike" kern="1200" cap="none" spc="0" normalizeH="0" baseline="0" noProof="0">
              <a:ln>
                <a:noFill/>
              </a:ln>
              <a:solidFill>
                <a:srgbClr val="373737"/>
              </a:solidFill>
              <a:effectLst/>
              <a:uLnTx/>
              <a:uFillTx/>
              <a:latin typeface="Roboto" panose="02000000000000000000" pitchFamily="2" charset="0"/>
              <a:ea typeface="Roboto Light"/>
              <a:cs typeface="Arial" panose="020B0604020202020204" pitchFamily="34" charset="0"/>
              <a:sym typeface="Roboto Light"/>
            </a:endParaRPr>
          </a:p>
        </p:txBody>
      </p:sp>
      <p:sp>
        <p:nvSpPr>
          <p:cNvPr id="281" name="TextBox 143">
            <a:extLst>
              <a:ext uri="{FF2B5EF4-FFF2-40B4-BE49-F238E27FC236}">
                <a16:creationId xmlns:a16="http://schemas.microsoft.com/office/drawing/2014/main" id="{C973AC02-14C0-477E-A05F-AFE04682B6F0}"/>
              </a:ext>
            </a:extLst>
          </p:cNvPr>
          <p:cNvSpPr txBox="1"/>
          <p:nvPr/>
        </p:nvSpPr>
        <p:spPr>
          <a:xfrm>
            <a:off x="9706918" y="3286169"/>
            <a:ext cx="1205744" cy="36142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t">
            <a:noAutofit/>
          </a:bodyPr>
          <a:lstStyle>
            <a:lvl1pPr defTabSz="914400">
              <a:lnSpc>
                <a:spcPct val="90000"/>
              </a:lnSpc>
              <a:defRPr sz="1800">
                <a:solidFill>
                  <a:srgbClr val="373737"/>
                </a:solidFill>
                <a:latin typeface="Roboto Light"/>
                <a:ea typeface="Roboto Light"/>
                <a:cs typeface="Roboto Light"/>
                <a:sym typeface="Roboto Light"/>
              </a:defRPr>
            </a:lvl1pPr>
          </a:lstStyle>
          <a:p>
            <a:pPr marL="0" marR="0" lvl="0" indent="0" algn="ctr" defTabSz="456744" rtl="0" eaLnBrk="1" fontAlgn="auto" latinLnBrk="0" hangingPunct="1">
              <a:lnSpc>
                <a:spcPct val="90000"/>
              </a:lnSpc>
              <a:spcBef>
                <a:spcPts val="0"/>
              </a:spcBef>
              <a:spcAft>
                <a:spcPts val="0"/>
              </a:spcAft>
              <a:buClrTx/>
              <a:buSzTx/>
              <a:buFontTx/>
              <a:buNone/>
              <a:tabLst/>
              <a:defRPr sz="1800">
                <a:solidFill>
                  <a:srgbClr val="373737"/>
                </a:solidFill>
                <a:latin typeface="Roboto Light"/>
                <a:ea typeface="Roboto Light"/>
                <a:cs typeface="Roboto Light"/>
                <a:sym typeface="Roboto Light"/>
              </a:defRPr>
            </a:pPr>
            <a:r>
              <a:rPr kumimoji="0" lang="en-US" sz="1050" b="0" i="0" u="none" strike="noStrike" kern="1200" cap="none" spc="0" normalizeH="0" baseline="0" noProof="0">
                <a:ln>
                  <a:noFill/>
                </a:ln>
                <a:solidFill>
                  <a:srgbClr val="373737"/>
                </a:solidFill>
                <a:effectLst/>
                <a:uLnTx/>
                <a:uFillTx/>
                <a:latin typeface="Roboto" panose="02000000000000000000" pitchFamily="2" charset="0"/>
                <a:ea typeface="Roboto Light"/>
                <a:cs typeface="Arial" panose="020B0604020202020204" pitchFamily="34" charset="0"/>
                <a:sym typeface="Roboto Light"/>
              </a:rPr>
              <a:t>DATA</a:t>
            </a:r>
          </a:p>
          <a:p>
            <a:pPr marL="0" marR="0" lvl="0" indent="0" algn="ctr" defTabSz="456744" rtl="0" eaLnBrk="1" fontAlgn="auto" latinLnBrk="0" hangingPunct="1">
              <a:lnSpc>
                <a:spcPct val="90000"/>
              </a:lnSpc>
              <a:spcBef>
                <a:spcPts val="0"/>
              </a:spcBef>
              <a:spcAft>
                <a:spcPts val="0"/>
              </a:spcAft>
              <a:buClrTx/>
              <a:buSzTx/>
              <a:buFontTx/>
              <a:buNone/>
              <a:tabLst/>
              <a:defRPr sz="1800">
                <a:solidFill>
                  <a:srgbClr val="373737"/>
                </a:solidFill>
                <a:latin typeface="Roboto Light"/>
                <a:ea typeface="Roboto Light"/>
                <a:cs typeface="Roboto Light"/>
                <a:sym typeface="Roboto Light"/>
              </a:defRPr>
            </a:pPr>
            <a:r>
              <a:rPr kumimoji="0" lang="en-US" sz="1050" b="0" i="0" u="none" strike="noStrike" kern="1200" cap="none" spc="0" normalizeH="0" baseline="0" noProof="0">
                <a:ln>
                  <a:noFill/>
                </a:ln>
                <a:solidFill>
                  <a:srgbClr val="373737"/>
                </a:solidFill>
                <a:effectLst/>
                <a:uLnTx/>
                <a:uFillTx/>
                <a:latin typeface="Roboto" panose="02000000000000000000" pitchFamily="2" charset="0"/>
                <a:ea typeface="Roboto Light"/>
                <a:cs typeface="Arial" panose="020B0604020202020204" pitchFamily="34" charset="0"/>
                <a:sym typeface="Roboto Light"/>
              </a:rPr>
              <a:t>MARKETPLACE</a:t>
            </a:r>
            <a:endParaRPr kumimoji="0" sz="1050" b="0" i="0" u="none" strike="noStrike" kern="1200" cap="none" spc="0" normalizeH="0" baseline="0" noProof="0">
              <a:ln>
                <a:noFill/>
              </a:ln>
              <a:solidFill>
                <a:srgbClr val="373737"/>
              </a:solidFill>
              <a:effectLst/>
              <a:uLnTx/>
              <a:uFillTx/>
              <a:latin typeface="Roboto" panose="02000000000000000000" pitchFamily="2" charset="0"/>
              <a:ea typeface="Roboto Light"/>
              <a:cs typeface="Arial" panose="020B0604020202020204" pitchFamily="34" charset="0"/>
              <a:sym typeface="Roboto Light"/>
            </a:endParaRPr>
          </a:p>
        </p:txBody>
      </p:sp>
      <p:pic>
        <p:nvPicPr>
          <p:cNvPr id="283" name="Picture 282">
            <a:extLst>
              <a:ext uri="{FF2B5EF4-FFF2-40B4-BE49-F238E27FC236}">
                <a16:creationId xmlns:a16="http://schemas.microsoft.com/office/drawing/2014/main" id="{D76F0E0D-BAA7-4713-B38A-BBF3F869A04C}"/>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10077891" y="2796384"/>
            <a:ext cx="421914" cy="399448"/>
          </a:xfrm>
          <a:prstGeom prst="rect">
            <a:avLst/>
          </a:prstGeom>
        </p:spPr>
      </p:pic>
      <p:grpSp>
        <p:nvGrpSpPr>
          <p:cNvPr id="284" name="Group 283">
            <a:extLst>
              <a:ext uri="{FF2B5EF4-FFF2-40B4-BE49-F238E27FC236}">
                <a16:creationId xmlns:a16="http://schemas.microsoft.com/office/drawing/2014/main" id="{F57E2184-2A57-4DA1-8836-E7D5ECE09BEF}"/>
              </a:ext>
            </a:extLst>
          </p:cNvPr>
          <p:cNvGrpSpPr/>
          <p:nvPr/>
        </p:nvGrpSpPr>
        <p:grpSpPr>
          <a:xfrm>
            <a:off x="491874" y="1204948"/>
            <a:ext cx="11174120" cy="826665"/>
            <a:chOff x="443447" y="1312026"/>
            <a:chExt cx="11052025" cy="962439"/>
          </a:xfrm>
        </p:grpSpPr>
        <p:sp>
          <p:nvSpPr>
            <p:cNvPr id="285" name="Parallelogram 167">
              <a:extLst>
                <a:ext uri="{FF2B5EF4-FFF2-40B4-BE49-F238E27FC236}">
                  <a16:creationId xmlns:a16="http://schemas.microsoft.com/office/drawing/2014/main" id="{9075D7B2-4A0C-4DBB-862A-E5DFB0767608}"/>
                </a:ext>
              </a:extLst>
            </p:cNvPr>
            <p:cNvSpPr/>
            <p:nvPr/>
          </p:nvSpPr>
          <p:spPr>
            <a:xfrm rot="5400000" flipH="1">
              <a:off x="10862511" y="1644348"/>
              <a:ext cx="848641" cy="41159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5854" y="0"/>
                  </a:lnTo>
                  <a:lnTo>
                    <a:pt x="21600" y="0"/>
                  </a:lnTo>
                  <a:lnTo>
                    <a:pt x="15746" y="21600"/>
                  </a:lnTo>
                  <a:close/>
                </a:path>
              </a:pathLst>
            </a:custGeom>
            <a:solidFill>
              <a:srgbClr val="535353"/>
            </a:solidFill>
            <a:ln w="12700">
              <a:miter lim="400000"/>
            </a:ln>
          </p:spPr>
          <p:txBody>
            <a:bodyPr lIns="182688" tIns="182688" rIns="182688" bIns="182688" anchor="ctr"/>
            <a:lstStyle/>
            <a:p>
              <a:pPr marL="0" marR="0" lvl="0" indent="0" algn="l" defTabSz="1826425" rtl="0" eaLnBrk="1" fontAlgn="auto" latinLnBrk="0" hangingPunct="1">
                <a:lnSpc>
                  <a:spcPct val="100000"/>
                </a:lnSpc>
                <a:spcBef>
                  <a:spcPts val="0"/>
                </a:spcBef>
                <a:spcAft>
                  <a:spcPts val="0"/>
                </a:spcAft>
                <a:buClrTx/>
                <a:buSzTx/>
                <a:buFontTx/>
                <a:buNone/>
                <a:tabLst/>
                <a:defRPr>
                  <a:latin typeface="Roboto Light"/>
                  <a:ea typeface="Roboto Light"/>
                  <a:cs typeface="Roboto Light"/>
                  <a:sym typeface="Roboto Light"/>
                </a:defRPr>
              </a:pPr>
              <a:endParaRPr kumimoji="0" sz="900" b="0" i="0" u="none" strike="noStrike" kern="1200" cap="none" spc="0" normalizeH="0" baseline="0" noProof="0">
                <a:ln>
                  <a:noFill/>
                </a:ln>
                <a:solidFill>
                  <a:srgbClr val="373737"/>
                </a:solidFill>
                <a:effectLst/>
                <a:uLnTx/>
                <a:uFillTx/>
                <a:latin typeface="Roboto" panose="02000000000000000000" pitchFamily="2" charset="0"/>
                <a:ea typeface="Roboto Light"/>
                <a:cs typeface="Arial" panose="020B0604020202020204" pitchFamily="34" charset="0"/>
                <a:sym typeface="Roboto Light"/>
              </a:endParaRPr>
            </a:p>
          </p:txBody>
        </p:sp>
        <p:sp>
          <p:nvSpPr>
            <p:cNvPr id="286" name="Parallelogram 167">
              <a:extLst>
                <a:ext uri="{FF2B5EF4-FFF2-40B4-BE49-F238E27FC236}">
                  <a16:creationId xmlns:a16="http://schemas.microsoft.com/office/drawing/2014/main" id="{BBC3EB91-3724-40D9-BFAD-6D6E68662619}"/>
                </a:ext>
              </a:extLst>
            </p:cNvPr>
            <p:cNvSpPr/>
            <p:nvPr/>
          </p:nvSpPr>
          <p:spPr>
            <a:xfrm rot="16200000">
              <a:off x="305600" y="1656929"/>
              <a:ext cx="733391" cy="397316"/>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5854" y="0"/>
                  </a:lnTo>
                  <a:lnTo>
                    <a:pt x="21600" y="0"/>
                  </a:lnTo>
                  <a:lnTo>
                    <a:pt x="15746" y="21600"/>
                  </a:lnTo>
                  <a:close/>
                </a:path>
              </a:pathLst>
            </a:custGeom>
            <a:solidFill>
              <a:srgbClr val="535353"/>
            </a:solidFill>
            <a:ln w="12700">
              <a:miter lim="400000"/>
            </a:ln>
          </p:spPr>
          <p:txBody>
            <a:bodyPr lIns="182688" tIns="182688" rIns="182688" bIns="182688" anchor="ctr"/>
            <a:lstStyle/>
            <a:p>
              <a:pPr marL="0" marR="0" lvl="0" indent="0" algn="l" defTabSz="1826425" rtl="0" eaLnBrk="1" fontAlgn="auto" latinLnBrk="0" hangingPunct="1">
                <a:lnSpc>
                  <a:spcPct val="100000"/>
                </a:lnSpc>
                <a:spcBef>
                  <a:spcPts val="0"/>
                </a:spcBef>
                <a:spcAft>
                  <a:spcPts val="0"/>
                </a:spcAft>
                <a:buClrTx/>
                <a:buSzTx/>
                <a:buFontTx/>
                <a:buNone/>
                <a:tabLst/>
                <a:defRPr>
                  <a:latin typeface="Roboto Light"/>
                  <a:ea typeface="Roboto Light"/>
                  <a:cs typeface="Roboto Light"/>
                  <a:sym typeface="Roboto Light"/>
                </a:defRPr>
              </a:pPr>
              <a:endParaRPr kumimoji="0" sz="900" b="0" i="0" u="none" strike="noStrike" kern="1200" cap="none" spc="0" normalizeH="0" baseline="0" noProof="0">
                <a:ln>
                  <a:noFill/>
                </a:ln>
                <a:solidFill>
                  <a:srgbClr val="373737"/>
                </a:solidFill>
                <a:effectLst/>
                <a:uLnTx/>
                <a:uFillTx/>
                <a:latin typeface="Roboto" panose="02000000000000000000" pitchFamily="2" charset="0"/>
                <a:ea typeface="Roboto Light"/>
                <a:cs typeface="Arial" panose="020B0604020202020204" pitchFamily="34" charset="0"/>
                <a:sym typeface="Roboto Light"/>
              </a:endParaRPr>
            </a:p>
          </p:txBody>
        </p:sp>
        <p:sp>
          <p:nvSpPr>
            <p:cNvPr id="287" name="Round Same Side Corner Rectangle 356">
              <a:extLst>
                <a:ext uri="{FF2B5EF4-FFF2-40B4-BE49-F238E27FC236}">
                  <a16:creationId xmlns:a16="http://schemas.microsoft.com/office/drawing/2014/main" id="{C3CD23A9-CA94-423C-B84F-3F139064444B}"/>
                </a:ext>
              </a:extLst>
            </p:cNvPr>
            <p:cNvSpPr/>
            <p:nvPr/>
          </p:nvSpPr>
          <p:spPr>
            <a:xfrm>
              <a:off x="465000" y="1312026"/>
              <a:ext cx="11030472" cy="705676"/>
            </a:xfrm>
            <a:custGeom>
              <a:avLst/>
              <a:gdLst/>
              <a:ahLst/>
              <a:cxnLst>
                <a:cxn ang="0">
                  <a:pos x="wd2" y="hd2"/>
                </a:cxn>
                <a:cxn ang="5400000">
                  <a:pos x="wd2" y="hd2"/>
                </a:cxn>
                <a:cxn ang="10800000">
                  <a:pos x="wd2" y="hd2"/>
                </a:cxn>
                <a:cxn ang="16200000">
                  <a:pos x="wd2" y="hd2"/>
                </a:cxn>
              </a:cxnLst>
              <a:rect l="0" t="0" r="r" b="b"/>
              <a:pathLst>
                <a:path w="21600" h="21600" extrusionOk="0">
                  <a:moveTo>
                    <a:pt x="212" y="0"/>
                  </a:moveTo>
                  <a:lnTo>
                    <a:pt x="21388" y="0"/>
                  </a:lnTo>
                  <a:cubicBezTo>
                    <a:pt x="21505" y="0"/>
                    <a:pt x="21600" y="1612"/>
                    <a:pt x="21600" y="3600"/>
                  </a:cubicBezTo>
                  <a:lnTo>
                    <a:pt x="21600" y="21600"/>
                  </a:lnTo>
                  <a:lnTo>
                    <a:pt x="0" y="21600"/>
                  </a:lnTo>
                  <a:lnTo>
                    <a:pt x="0" y="3600"/>
                  </a:lnTo>
                  <a:cubicBezTo>
                    <a:pt x="0" y="1612"/>
                    <a:pt x="95" y="0"/>
                    <a:pt x="212" y="0"/>
                  </a:cubicBezTo>
                  <a:close/>
                </a:path>
              </a:pathLst>
            </a:custGeom>
            <a:solidFill>
              <a:srgbClr val="00A9BA"/>
            </a:solidFill>
            <a:ln w="38100" cap="flat">
              <a:noFill/>
              <a:prstDash val="solid"/>
              <a:miter lim="800000"/>
            </a:ln>
            <a:effectLst/>
          </p:spPr>
          <p:txBody>
            <a:bodyPr wrap="square" lIns="182688" tIns="182688" rIns="182688" bIns="182688" numCol="1" anchor="ctr">
              <a:noAutofit/>
            </a:bodyPr>
            <a:lstStyle/>
            <a:p>
              <a:pPr marL="0" marR="0" lvl="0" indent="0" algn="l" defTabSz="1826971" rtl="0" eaLnBrk="1" fontAlgn="auto" latinLnBrk="0" hangingPunct="1">
                <a:lnSpc>
                  <a:spcPct val="100000"/>
                </a:lnSpc>
                <a:spcBef>
                  <a:spcPts val="0"/>
                </a:spcBef>
                <a:spcAft>
                  <a:spcPts val="0"/>
                </a:spcAft>
                <a:buClrTx/>
                <a:buSzTx/>
                <a:buFontTx/>
                <a:buNone/>
                <a:tabLst/>
                <a:defRPr sz="3600">
                  <a:latin typeface="Calibri"/>
                  <a:ea typeface="Calibri"/>
                  <a:cs typeface="Calibri"/>
                  <a:sym typeface="Calibri"/>
                </a:defRPr>
              </a:pPr>
              <a:endParaRPr kumimoji="0" sz="3597" b="0" i="0" u="none" strike="noStrike" kern="1200" cap="none" spc="0" normalizeH="0" baseline="0" noProof="0">
                <a:ln>
                  <a:noFill/>
                </a:ln>
                <a:solidFill>
                  <a:srgbClr val="373737"/>
                </a:solidFill>
                <a:effectLst/>
                <a:uLnTx/>
                <a:uFillTx/>
                <a:latin typeface="Roboto" panose="02000000000000000000" pitchFamily="2" charset="0"/>
                <a:ea typeface="Roboto" panose="02000000000000000000" pitchFamily="2" charset="0"/>
                <a:cs typeface="Arial" panose="020B0604020202020204" pitchFamily="34" charset="0"/>
                <a:sym typeface="Calibri"/>
              </a:endParaRPr>
            </a:p>
          </p:txBody>
        </p:sp>
        <p:pic>
          <p:nvPicPr>
            <p:cNvPr id="288" name="Image" descr="Image">
              <a:extLst>
                <a:ext uri="{FF2B5EF4-FFF2-40B4-BE49-F238E27FC236}">
                  <a16:creationId xmlns:a16="http://schemas.microsoft.com/office/drawing/2014/main" id="{CB58EDB8-E958-45BA-9862-002B6307C8F4}"/>
                </a:ext>
              </a:extLst>
            </p:cNvPr>
            <p:cNvPicPr>
              <a:picLocks noChangeAspect="1"/>
            </p:cNvPicPr>
            <p:nvPr/>
          </p:nvPicPr>
          <p:blipFill rotWithShape="1">
            <a:blip r:embed="rId18" cstate="hqprint">
              <a:extLst>
                <a:ext uri="{28A0092B-C50C-407E-A947-70E740481C1C}">
                  <a14:useLocalDpi xmlns:a14="http://schemas.microsoft.com/office/drawing/2010/main"/>
                </a:ext>
              </a:extLst>
            </a:blip>
            <a:srcRect/>
            <a:stretch/>
          </p:blipFill>
          <p:spPr>
            <a:xfrm>
              <a:off x="443447" y="1313156"/>
              <a:ext cx="11030472" cy="695635"/>
            </a:xfrm>
            <a:prstGeom prst="rect">
              <a:avLst/>
            </a:prstGeom>
            <a:ln w="12700" cap="flat">
              <a:noFill/>
              <a:miter lim="400000"/>
            </a:ln>
            <a:effectLst/>
          </p:spPr>
        </p:pic>
        <p:sp>
          <p:nvSpPr>
            <p:cNvPr id="289" name="TextBox 134">
              <a:extLst>
                <a:ext uri="{FF2B5EF4-FFF2-40B4-BE49-F238E27FC236}">
                  <a16:creationId xmlns:a16="http://schemas.microsoft.com/office/drawing/2014/main" id="{6B9CF48F-7302-439E-9BDF-86B3640D7F2E}"/>
                </a:ext>
              </a:extLst>
            </p:cNvPr>
            <p:cNvSpPr txBox="1"/>
            <p:nvPr/>
          </p:nvSpPr>
          <p:spPr>
            <a:xfrm>
              <a:off x="2796753" y="1479760"/>
              <a:ext cx="6416989" cy="572410"/>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t">
              <a:noAutofit/>
            </a:bodyPr>
            <a:lstStyle>
              <a:lvl1pPr defTabSz="1828800">
                <a:lnSpc>
                  <a:spcPct val="90000"/>
                </a:lnSpc>
                <a:spcBef>
                  <a:spcPts val="2000"/>
                </a:spcBef>
                <a:defRPr sz="6500" b="1">
                  <a:latin typeface="Helvetica"/>
                  <a:ea typeface="Helvetica"/>
                  <a:cs typeface="Helvetica"/>
                  <a:sym typeface="Helvetica"/>
                </a:defRPr>
              </a:lvl1pPr>
            </a:lstStyle>
            <a:p>
              <a:pPr marL="0" marR="0" lvl="0" indent="0" algn="ctr" defTabSz="1826971" rtl="0" eaLnBrk="1" fontAlgn="auto" latinLnBrk="0" hangingPunct="1">
                <a:lnSpc>
                  <a:spcPct val="90000"/>
                </a:lnSpc>
                <a:spcBef>
                  <a:spcPts val="1999"/>
                </a:spcBef>
                <a:spcAft>
                  <a:spcPts val="0"/>
                </a:spcAft>
                <a:buClrTx/>
                <a:buSzTx/>
                <a:buFontTx/>
                <a:buNone/>
                <a:tabLst/>
                <a:defRPr/>
              </a:pPr>
              <a:r>
                <a:rPr kumimoji="0" sz="1998" b="1" i="0" u="none" strike="noStrike" kern="120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Arial" panose="020B0604020202020204" pitchFamily="34" charset="0"/>
                  <a:sym typeface="Helvetica"/>
                </a:rPr>
                <a:t>Intelligent Data Management Cloud</a:t>
              </a:r>
            </a:p>
          </p:txBody>
        </p:sp>
      </p:grpSp>
      <p:sp>
        <p:nvSpPr>
          <p:cNvPr id="342" name="Rounded Rectangle 115">
            <a:extLst>
              <a:ext uri="{FF2B5EF4-FFF2-40B4-BE49-F238E27FC236}">
                <a16:creationId xmlns:a16="http://schemas.microsoft.com/office/drawing/2014/main" id="{FC0468FC-BA35-419A-81CD-C4F10C3D31A7}"/>
              </a:ext>
            </a:extLst>
          </p:cNvPr>
          <p:cNvSpPr/>
          <p:nvPr/>
        </p:nvSpPr>
        <p:spPr>
          <a:xfrm>
            <a:off x="2649737" y="1996977"/>
            <a:ext cx="1261543" cy="585509"/>
          </a:xfrm>
          <a:prstGeom prst="round2SameRect">
            <a:avLst/>
          </a:prstGeom>
          <a:solidFill>
            <a:srgbClr val="FF7D00"/>
          </a:solidFill>
          <a:ln w="12700" cap="flat">
            <a:noFill/>
            <a:miter lim="400000"/>
          </a:ln>
          <a:effectLst/>
        </p:spPr>
        <p:txBody>
          <a:bodyPr wrap="square" lIns="27425" tIns="91344" rIns="27425" bIns="91344" numCol="1" anchor="ctr">
            <a:noAutofit/>
          </a:bodyPr>
          <a:lstStyle/>
          <a:p>
            <a:pPr marL="0" marR="0" lvl="0" indent="0" algn="ctr" defTabSz="91339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Roboto" panose="02000000000000000000" pitchFamily="2" charset="0"/>
                <a:ea typeface="+mn-ea"/>
                <a:cs typeface="+mn-cs"/>
              </a:rPr>
              <a:t>ACCCESS &amp; INTEGRATE</a:t>
            </a:r>
          </a:p>
        </p:txBody>
      </p:sp>
      <p:sp>
        <p:nvSpPr>
          <p:cNvPr id="345" name="Rounded Rectangle 115">
            <a:extLst>
              <a:ext uri="{FF2B5EF4-FFF2-40B4-BE49-F238E27FC236}">
                <a16:creationId xmlns:a16="http://schemas.microsoft.com/office/drawing/2014/main" id="{AAE4542B-0699-4D64-873F-010ACA30E304}"/>
              </a:ext>
            </a:extLst>
          </p:cNvPr>
          <p:cNvSpPr/>
          <p:nvPr/>
        </p:nvSpPr>
        <p:spPr>
          <a:xfrm>
            <a:off x="9672783" y="1996977"/>
            <a:ext cx="1257155" cy="585509"/>
          </a:xfrm>
          <a:prstGeom prst="round2SameRect">
            <a:avLst/>
          </a:prstGeom>
          <a:solidFill>
            <a:srgbClr val="FF7D00"/>
          </a:solidFill>
          <a:ln w="12700" cap="flat">
            <a:noFill/>
            <a:miter lim="400000"/>
          </a:ln>
          <a:effectLst/>
        </p:spPr>
        <p:txBody>
          <a:bodyPr wrap="square" lIns="91344" tIns="91344" rIns="91344" bIns="91344" numCol="1" anchor="ctr">
            <a:noAutofit/>
          </a:bodyPr>
          <a:lstStyle/>
          <a:p>
            <a:pPr marL="0" marR="0" lvl="0" indent="0" algn="ctr" defTabSz="91339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Roboto" panose="02000000000000000000" pitchFamily="2" charset="0"/>
                <a:ea typeface="+mn-ea"/>
                <a:cs typeface="+mn-cs"/>
              </a:rPr>
              <a:t>SHARE &amp; DEMOCRATIZE</a:t>
            </a:r>
          </a:p>
        </p:txBody>
      </p:sp>
      <p:sp>
        <p:nvSpPr>
          <p:cNvPr id="348" name="Rounded Rectangle 115">
            <a:extLst>
              <a:ext uri="{FF2B5EF4-FFF2-40B4-BE49-F238E27FC236}">
                <a16:creationId xmlns:a16="http://schemas.microsoft.com/office/drawing/2014/main" id="{CF110F64-CB43-47D0-8905-D3CCCE615B6C}"/>
              </a:ext>
            </a:extLst>
          </p:cNvPr>
          <p:cNvSpPr/>
          <p:nvPr/>
        </p:nvSpPr>
        <p:spPr>
          <a:xfrm>
            <a:off x="4107708" y="1996977"/>
            <a:ext cx="1261543" cy="585509"/>
          </a:xfrm>
          <a:prstGeom prst="round2SameRect">
            <a:avLst/>
          </a:prstGeom>
          <a:solidFill>
            <a:srgbClr val="FF7D00"/>
          </a:solidFill>
          <a:ln w="12700" cap="flat">
            <a:noFill/>
            <a:miter lim="400000"/>
          </a:ln>
          <a:effectLst/>
        </p:spPr>
        <p:txBody>
          <a:bodyPr wrap="square" lIns="27425" tIns="91344" rIns="27425" bIns="91344" numCol="1" anchor="ctr">
            <a:noAutofit/>
          </a:bodyPr>
          <a:lstStyle/>
          <a:p>
            <a:pPr marL="0" marR="0" lvl="0" indent="0" algn="ctr" defTabSz="91339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Roboto" panose="02000000000000000000" pitchFamily="2" charset="0"/>
                <a:ea typeface="+mn-ea"/>
                <a:cs typeface="+mn-cs"/>
              </a:rPr>
              <a:t>CONNECT &amp; AUTOMATE</a:t>
            </a:r>
          </a:p>
        </p:txBody>
      </p:sp>
      <p:sp>
        <p:nvSpPr>
          <p:cNvPr id="354" name="Rounded Rectangle 115">
            <a:extLst>
              <a:ext uri="{FF2B5EF4-FFF2-40B4-BE49-F238E27FC236}">
                <a16:creationId xmlns:a16="http://schemas.microsoft.com/office/drawing/2014/main" id="{6806D248-793E-4F47-A927-59D1EDD09661}"/>
              </a:ext>
            </a:extLst>
          </p:cNvPr>
          <p:cNvSpPr/>
          <p:nvPr/>
        </p:nvSpPr>
        <p:spPr>
          <a:xfrm>
            <a:off x="1209143" y="1996977"/>
            <a:ext cx="1259707" cy="585509"/>
          </a:xfrm>
          <a:prstGeom prst="round2SameRect">
            <a:avLst/>
          </a:prstGeom>
          <a:solidFill>
            <a:srgbClr val="FF7D00"/>
          </a:solidFill>
          <a:ln w="12700" cap="flat">
            <a:noFill/>
            <a:miter lim="400000"/>
          </a:ln>
          <a:effectLst/>
        </p:spPr>
        <p:txBody>
          <a:bodyPr wrap="square" lIns="27425" tIns="91344" rIns="27425" bIns="91344" numCol="1" anchor="ctr">
            <a:noAutofit/>
          </a:bodyPr>
          <a:lstStyle/>
          <a:p>
            <a:pPr marL="0" marR="0" lvl="0" indent="0" algn="ctr" defTabSz="91339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Roboto" panose="02000000000000000000" pitchFamily="2" charset="0"/>
                <a:ea typeface="+mn-ea"/>
                <a:cs typeface="+mn-cs"/>
              </a:rPr>
              <a:t>DISCOVER &amp; UNDERSTAND</a:t>
            </a:r>
          </a:p>
        </p:txBody>
      </p:sp>
      <p:sp>
        <p:nvSpPr>
          <p:cNvPr id="357" name="Rounded Rectangle 115">
            <a:extLst>
              <a:ext uri="{FF2B5EF4-FFF2-40B4-BE49-F238E27FC236}">
                <a16:creationId xmlns:a16="http://schemas.microsoft.com/office/drawing/2014/main" id="{57CC276B-CCC4-40D4-90EA-7FD83B45FA41}"/>
              </a:ext>
            </a:extLst>
          </p:cNvPr>
          <p:cNvSpPr/>
          <p:nvPr/>
        </p:nvSpPr>
        <p:spPr>
          <a:xfrm>
            <a:off x="8270009" y="1996977"/>
            <a:ext cx="1257155" cy="585509"/>
          </a:xfrm>
          <a:prstGeom prst="round2SameRect">
            <a:avLst/>
          </a:prstGeom>
          <a:solidFill>
            <a:srgbClr val="FF7D00"/>
          </a:solidFill>
          <a:ln w="12700" cap="flat">
            <a:noFill/>
            <a:miter lim="400000"/>
          </a:ln>
          <a:effectLst/>
        </p:spPr>
        <p:txBody>
          <a:bodyPr wrap="square" lIns="91344" tIns="91344" rIns="91344" bIns="91344" numCol="1" anchor="ctr">
            <a:noAutofit/>
          </a:bodyPr>
          <a:lstStyle/>
          <a:p>
            <a:pPr marL="0" marR="0" lvl="0" indent="0" algn="ctr" defTabSz="91339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Roboto" panose="02000000000000000000" pitchFamily="2" charset="0"/>
                <a:ea typeface="+mn-ea"/>
                <a:cs typeface="+mn-cs"/>
              </a:rPr>
              <a:t>GOVERN &amp; PROTECT</a:t>
            </a:r>
          </a:p>
        </p:txBody>
      </p:sp>
      <p:grpSp>
        <p:nvGrpSpPr>
          <p:cNvPr id="12" name="Group 11">
            <a:extLst>
              <a:ext uri="{FF2B5EF4-FFF2-40B4-BE49-F238E27FC236}">
                <a16:creationId xmlns:a16="http://schemas.microsoft.com/office/drawing/2014/main" id="{94EBF03B-B13C-41CD-A70C-7BE9F052443A}"/>
              </a:ext>
            </a:extLst>
          </p:cNvPr>
          <p:cNvGrpSpPr/>
          <p:nvPr/>
        </p:nvGrpSpPr>
        <p:grpSpPr>
          <a:xfrm>
            <a:off x="1601369" y="5656116"/>
            <a:ext cx="1741400" cy="577853"/>
            <a:chOff x="1780200" y="5656696"/>
            <a:chExt cx="1482723" cy="492016"/>
          </a:xfrm>
        </p:grpSpPr>
        <p:pic>
          <p:nvPicPr>
            <p:cNvPr id="332" name="Picture 4" descr="Workday Adaptive Planning | Corporate Renaissance Group | CRGroup Ottawa">
              <a:extLst>
                <a:ext uri="{FF2B5EF4-FFF2-40B4-BE49-F238E27FC236}">
                  <a16:creationId xmlns:a16="http://schemas.microsoft.com/office/drawing/2014/main" id="{78B8E8F5-58A0-4500-8108-B2AD3A154CF8}"/>
                </a:ext>
              </a:extLst>
            </p:cNvPr>
            <p:cNvPicPr>
              <a:picLocks noChangeAspect="1" noChangeArrowheads="1"/>
            </p:cNvPicPr>
            <p:nvPr/>
          </p:nvPicPr>
          <p:blipFill>
            <a:blip r:embed="rId19" cstate="print">
              <a:extLst>
                <a:ext uri="{28A0092B-C50C-407E-A947-70E740481C1C}">
                  <a14:useLocalDpi xmlns:a14="http://schemas.microsoft.com/office/drawing/2010/main"/>
                </a:ext>
              </a:extLst>
            </a:blip>
            <a:srcRect/>
            <a:stretch>
              <a:fillRect/>
            </a:stretch>
          </p:blipFill>
          <p:spPr bwMode="auto">
            <a:xfrm>
              <a:off x="1780200" y="5656696"/>
              <a:ext cx="370275" cy="149171"/>
            </a:xfrm>
            <a:prstGeom prst="rect">
              <a:avLst/>
            </a:prstGeom>
            <a:noFill/>
            <a:extLst>
              <a:ext uri="{909E8E84-426E-40DD-AFC4-6F175D3DCCD1}">
                <a14:hiddenFill xmlns:a14="http://schemas.microsoft.com/office/drawing/2010/main">
                  <a:solidFill>
                    <a:srgbClr val="FFFFFF"/>
                  </a:solidFill>
                </a14:hiddenFill>
              </a:ext>
            </a:extLst>
          </p:spPr>
        </p:pic>
        <p:pic>
          <p:nvPicPr>
            <p:cNvPr id="333" name="Picture 22" descr="Center of Excellence and Innovation - Customer Success - ServiceNow">
              <a:extLst>
                <a:ext uri="{FF2B5EF4-FFF2-40B4-BE49-F238E27FC236}">
                  <a16:creationId xmlns:a16="http://schemas.microsoft.com/office/drawing/2014/main" id="{B2256EBF-5D45-4FC9-924E-DC5E528BCB89}"/>
                </a:ext>
              </a:extLst>
            </p:cNvPr>
            <p:cNvPicPr>
              <a:picLocks noChangeAspect="1" noChangeArrowheads="1"/>
            </p:cNvPicPr>
            <p:nvPr/>
          </p:nvPicPr>
          <p:blipFill>
            <a:blip r:embed="rId20" cstate="print">
              <a:extLst>
                <a:ext uri="{28A0092B-C50C-407E-A947-70E740481C1C}">
                  <a14:useLocalDpi xmlns:a14="http://schemas.microsoft.com/office/drawing/2010/main"/>
                </a:ext>
              </a:extLst>
            </a:blip>
            <a:srcRect/>
            <a:stretch>
              <a:fillRect/>
            </a:stretch>
          </p:blipFill>
          <p:spPr bwMode="auto">
            <a:xfrm>
              <a:off x="2257089" y="5717157"/>
              <a:ext cx="479567" cy="70374"/>
            </a:xfrm>
            <a:prstGeom prst="rect">
              <a:avLst/>
            </a:prstGeom>
            <a:noFill/>
            <a:extLst>
              <a:ext uri="{909E8E84-426E-40DD-AFC4-6F175D3DCCD1}">
                <a14:hiddenFill xmlns:a14="http://schemas.microsoft.com/office/drawing/2010/main">
                  <a:solidFill>
                    <a:srgbClr val="FFFFFF"/>
                  </a:solidFill>
                </a14:hiddenFill>
              </a:ext>
            </a:extLst>
          </p:spPr>
        </p:pic>
        <p:pic>
          <p:nvPicPr>
            <p:cNvPr id="334" name="Picture 333" descr="A picture containing drawing&#10;&#10;Description automatically generated">
              <a:extLst>
                <a:ext uri="{FF2B5EF4-FFF2-40B4-BE49-F238E27FC236}">
                  <a16:creationId xmlns:a16="http://schemas.microsoft.com/office/drawing/2014/main" id="{CA614888-3467-4F08-9000-B71D3BF343DD}"/>
                </a:ext>
              </a:extLst>
            </p:cNvPr>
            <p:cNvPicPr>
              <a:picLocks noChangeAspect="1"/>
            </p:cNvPicPr>
            <p:nvPr/>
          </p:nvPicPr>
          <p:blipFill>
            <a:blip r:embed="rId21" cstate="hqprint">
              <a:extLst>
                <a:ext uri="{BEBA8EAE-BF5A-486C-A8C5-ECC9F3942E4B}">
                  <a14:imgProps xmlns:a14="http://schemas.microsoft.com/office/drawing/2010/main">
                    <a14:imgLayer r:embed="rId22">
                      <a14:imgEffect>
                        <a14:brightnessContrast bright="100000"/>
                      </a14:imgEffect>
                    </a14:imgLayer>
                  </a14:imgProps>
                </a:ext>
                <a:ext uri="{28A0092B-C50C-407E-A947-70E740481C1C}">
                  <a14:useLocalDpi xmlns:a14="http://schemas.microsoft.com/office/drawing/2010/main"/>
                </a:ext>
              </a:extLst>
            </a:blip>
            <a:stretch>
              <a:fillRect/>
            </a:stretch>
          </p:blipFill>
          <p:spPr>
            <a:xfrm>
              <a:off x="2810587" y="5680672"/>
              <a:ext cx="452336" cy="171592"/>
            </a:xfrm>
            <a:prstGeom prst="rect">
              <a:avLst/>
            </a:prstGeom>
          </p:spPr>
        </p:pic>
        <p:pic>
          <p:nvPicPr>
            <p:cNvPr id="335" name="Picture 334">
              <a:extLst>
                <a:ext uri="{FF2B5EF4-FFF2-40B4-BE49-F238E27FC236}">
                  <a16:creationId xmlns:a16="http://schemas.microsoft.com/office/drawing/2014/main" id="{5A09C8EA-157F-4898-AE47-8BC48A3F9255}"/>
                </a:ext>
              </a:extLst>
            </p:cNvPr>
            <p:cNvPicPr>
              <a:picLocks noChangeAspect="1"/>
            </p:cNvPicPr>
            <p:nvPr/>
          </p:nvPicPr>
          <p:blipFill>
            <a:blip r:embed="rId23"/>
            <a:stretch>
              <a:fillRect/>
            </a:stretch>
          </p:blipFill>
          <p:spPr>
            <a:xfrm>
              <a:off x="2601666" y="5804800"/>
              <a:ext cx="343912" cy="343912"/>
            </a:xfrm>
            <a:prstGeom prst="rect">
              <a:avLst/>
            </a:prstGeom>
          </p:spPr>
        </p:pic>
        <p:pic>
          <p:nvPicPr>
            <p:cNvPr id="336" name="Picture 335">
              <a:extLst>
                <a:ext uri="{FF2B5EF4-FFF2-40B4-BE49-F238E27FC236}">
                  <a16:creationId xmlns:a16="http://schemas.microsoft.com/office/drawing/2014/main" id="{AD45572E-87E6-402B-BC2D-F7CCB9EEEE48}"/>
                </a:ext>
              </a:extLst>
            </p:cNvPr>
            <p:cNvPicPr>
              <a:picLocks noChangeAspect="1"/>
            </p:cNvPicPr>
            <p:nvPr/>
          </p:nvPicPr>
          <p:blipFill>
            <a:blip r:embed="rId24" cstate="hqprint">
              <a:extLst>
                <a:ext uri="{BEBA8EAE-BF5A-486C-A8C5-ECC9F3942E4B}">
                  <a14:imgProps xmlns:a14="http://schemas.microsoft.com/office/drawing/2010/main">
                    <a14:imgLayer r:embed="rId25">
                      <a14:imgEffect>
                        <a14:brightnessContrast bright="100000"/>
                      </a14:imgEffect>
                    </a14:imgLayer>
                  </a14:imgProps>
                </a:ext>
                <a:ext uri="{28A0092B-C50C-407E-A947-70E740481C1C}">
                  <a14:useLocalDpi xmlns:a14="http://schemas.microsoft.com/office/drawing/2010/main"/>
                </a:ext>
              </a:extLst>
            </a:blip>
            <a:stretch>
              <a:fillRect/>
            </a:stretch>
          </p:blipFill>
          <p:spPr>
            <a:xfrm>
              <a:off x="2015485" y="5863656"/>
              <a:ext cx="376594" cy="197711"/>
            </a:xfrm>
            <a:prstGeom prst="rect">
              <a:avLst/>
            </a:prstGeom>
          </p:spPr>
        </p:pic>
      </p:grpSp>
      <p:grpSp>
        <p:nvGrpSpPr>
          <p:cNvPr id="323" name="Group 322">
            <a:extLst>
              <a:ext uri="{FF2B5EF4-FFF2-40B4-BE49-F238E27FC236}">
                <a16:creationId xmlns:a16="http://schemas.microsoft.com/office/drawing/2014/main" id="{4C891134-79D8-4324-91C4-A48971268BB0}"/>
              </a:ext>
            </a:extLst>
          </p:cNvPr>
          <p:cNvGrpSpPr/>
          <p:nvPr/>
        </p:nvGrpSpPr>
        <p:grpSpPr>
          <a:xfrm>
            <a:off x="8042367" y="5658818"/>
            <a:ext cx="608772" cy="508206"/>
            <a:chOff x="8438936" y="6158844"/>
            <a:chExt cx="745164" cy="622067"/>
          </a:xfrm>
        </p:grpSpPr>
        <p:pic>
          <p:nvPicPr>
            <p:cNvPr id="330" name="Picture 329">
              <a:extLst>
                <a:ext uri="{FF2B5EF4-FFF2-40B4-BE49-F238E27FC236}">
                  <a16:creationId xmlns:a16="http://schemas.microsoft.com/office/drawing/2014/main" id="{6D6E8A32-3E5B-4BA8-8A18-6523470CC1AB}"/>
                </a:ext>
              </a:extLst>
            </p:cNvPr>
            <p:cNvPicPr>
              <a:picLocks noChangeAspect="1"/>
            </p:cNvPicPr>
            <p:nvPr/>
          </p:nvPicPr>
          <p:blipFill>
            <a:blip r:embed="rId26" cstate="hqprint">
              <a:extLst>
                <a:ext uri="{BEBA8EAE-BF5A-486C-A8C5-ECC9F3942E4B}">
                  <a14:imgProps xmlns:a14="http://schemas.microsoft.com/office/drawing/2010/main">
                    <a14:imgLayer r:embed="rId27">
                      <a14:imgEffect>
                        <a14:brightnessContrast bright="100000"/>
                      </a14:imgEffect>
                    </a14:imgLayer>
                  </a14:imgProps>
                </a:ext>
                <a:ext uri="{28A0092B-C50C-407E-A947-70E740481C1C}">
                  <a14:useLocalDpi xmlns:a14="http://schemas.microsoft.com/office/drawing/2010/main"/>
                </a:ext>
              </a:extLst>
            </a:blip>
            <a:stretch>
              <a:fillRect/>
            </a:stretch>
          </p:blipFill>
          <p:spPr>
            <a:xfrm>
              <a:off x="8730515" y="6158844"/>
              <a:ext cx="161968" cy="294798"/>
            </a:xfrm>
            <a:prstGeom prst="rect">
              <a:avLst/>
            </a:prstGeom>
          </p:spPr>
        </p:pic>
        <p:sp>
          <p:nvSpPr>
            <p:cNvPr id="331" name="TextBox 330">
              <a:extLst>
                <a:ext uri="{FF2B5EF4-FFF2-40B4-BE49-F238E27FC236}">
                  <a16:creationId xmlns:a16="http://schemas.microsoft.com/office/drawing/2014/main" id="{27668325-098E-4229-BBB6-2B7B0F946DDD}"/>
                </a:ext>
              </a:extLst>
            </p:cNvPr>
            <p:cNvSpPr txBox="1"/>
            <p:nvPr/>
          </p:nvSpPr>
          <p:spPr>
            <a:xfrm>
              <a:off x="8438936" y="6492010"/>
              <a:ext cx="745164" cy="288901"/>
            </a:xfrm>
            <a:prstGeom prst="rect">
              <a:avLst/>
            </a:prstGeom>
            <a:noFill/>
          </p:spPr>
          <p:txBody>
            <a:bodyPr wrap="square" lIns="0" tIns="0" rIns="0" bIns="0" rtlCol="0">
              <a:noAutofit/>
            </a:bodyPr>
            <a:lstStyle/>
            <a:p>
              <a:pPr marL="0" marR="0" lvl="0" indent="0" algn="ctr" defTabSz="912435" rtl="0" eaLnBrk="1" fontAlgn="auto" latinLnBrk="0" hangingPunct="1">
                <a:lnSpc>
                  <a:spcPct val="90000"/>
                </a:lnSpc>
                <a:spcBef>
                  <a:spcPts val="0"/>
                </a:spcBef>
                <a:spcAft>
                  <a:spcPts val="1000"/>
                </a:spcAft>
                <a:buClrTx/>
                <a:buSzTx/>
                <a:buFontTx/>
                <a:buNone/>
                <a:tabLst/>
                <a:defRPr/>
              </a:pPr>
              <a:r>
                <a:rPr kumimoji="0" lang="en-US" sz="800" b="0" i="0" u="none" strike="noStrike" kern="120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mn-cs"/>
                </a:rPr>
                <a:t>IoT</a:t>
              </a:r>
            </a:p>
          </p:txBody>
        </p:sp>
      </p:grpSp>
      <p:grpSp>
        <p:nvGrpSpPr>
          <p:cNvPr id="324" name="Group 323">
            <a:extLst>
              <a:ext uri="{FF2B5EF4-FFF2-40B4-BE49-F238E27FC236}">
                <a16:creationId xmlns:a16="http://schemas.microsoft.com/office/drawing/2014/main" id="{834690D4-8B69-4516-A873-B29464D88C79}"/>
              </a:ext>
            </a:extLst>
          </p:cNvPr>
          <p:cNvGrpSpPr/>
          <p:nvPr/>
        </p:nvGrpSpPr>
        <p:grpSpPr>
          <a:xfrm>
            <a:off x="8477476" y="5666685"/>
            <a:ext cx="949909" cy="500340"/>
            <a:chOff x="9138300" y="6168473"/>
            <a:chExt cx="1162729" cy="612439"/>
          </a:xfrm>
        </p:grpSpPr>
        <p:pic>
          <p:nvPicPr>
            <p:cNvPr id="328" name="Picture 327">
              <a:extLst>
                <a:ext uri="{FF2B5EF4-FFF2-40B4-BE49-F238E27FC236}">
                  <a16:creationId xmlns:a16="http://schemas.microsoft.com/office/drawing/2014/main" id="{2266CF1C-5361-4BD7-BB37-35EA20543A86}"/>
                </a:ext>
              </a:extLst>
            </p:cNvPr>
            <p:cNvPicPr>
              <a:picLocks noChangeAspect="1"/>
            </p:cNvPicPr>
            <p:nvPr/>
          </p:nvPicPr>
          <p:blipFill>
            <a:blip r:embed="rId28" cstate="hqprint">
              <a:extLst>
                <a:ext uri="{BEBA8EAE-BF5A-486C-A8C5-ECC9F3942E4B}">
                  <a14:imgProps xmlns:a14="http://schemas.microsoft.com/office/drawing/2010/main">
                    <a14:imgLayer r:embed="rId29">
                      <a14:imgEffect>
                        <a14:brightnessContrast bright="100000"/>
                      </a14:imgEffect>
                    </a14:imgLayer>
                  </a14:imgProps>
                </a:ext>
                <a:ext uri="{28A0092B-C50C-407E-A947-70E740481C1C}">
                  <a14:useLocalDpi xmlns:a14="http://schemas.microsoft.com/office/drawing/2010/main"/>
                </a:ext>
              </a:extLst>
            </a:blip>
            <a:stretch>
              <a:fillRect/>
            </a:stretch>
          </p:blipFill>
          <p:spPr>
            <a:xfrm>
              <a:off x="9582123" y="6168473"/>
              <a:ext cx="275085" cy="275541"/>
            </a:xfrm>
            <a:prstGeom prst="rect">
              <a:avLst/>
            </a:prstGeom>
          </p:spPr>
        </p:pic>
        <p:sp>
          <p:nvSpPr>
            <p:cNvPr id="329" name="TextBox 328">
              <a:extLst>
                <a:ext uri="{FF2B5EF4-FFF2-40B4-BE49-F238E27FC236}">
                  <a16:creationId xmlns:a16="http://schemas.microsoft.com/office/drawing/2014/main" id="{006A063F-77BF-4AFD-9475-793BA0906AE5}"/>
                </a:ext>
              </a:extLst>
            </p:cNvPr>
            <p:cNvSpPr txBox="1"/>
            <p:nvPr/>
          </p:nvSpPr>
          <p:spPr>
            <a:xfrm>
              <a:off x="9138300" y="6492012"/>
              <a:ext cx="1162729" cy="288900"/>
            </a:xfrm>
            <a:prstGeom prst="rect">
              <a:avLst/>
            </a:prstGeom>
            <a:noFill/>
          </p:spPr>
          <p:txBody>
            <a:bodyPr wrap="square" lIns="0" tIns="0" rIns="0" bIns="0" rtlCol="0">
              <a:noAutofit/>
            </a:bodyPr>
            <a:lstStyle/>
            <a:p>
              <a:pPr marL="0" marR="0" lvl="0" indent="0" algn="ctr" defTabSz="912435" rtl="0" eaLnBrk="1" fontAlgn="auto" latinLnBrk="0" hangingPunct="1">
                <a:lnSpc>
                  <a:spcPct val="90000"/>
                </a:lnSpc>
                <a:spcBef>
                  <a:spcPts val="0"/>
                </a:spcBef>
                <a:spcAft>
                  <a:spcPts val="1000"/>
                </a:spcAft>
                <a:buClrTx/>
                <a:buSzTx/>
                <a:buFontTx/>
                <a:buNone/>
                <a:tabLst/>
                <a:defRPr/>
              </a:pPr>
              <a:r>
                <a:rPr kumimoji="0" lang="en-US" sz="800" b="0" i="0" u="none" strike="noStrike" kern="120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mn-cs"/>
                </a:rPr>
                <a:t>Machine Data</a:t>
              </a:r>
            </a:p>
          </p:txBody>
        </p:sp>
      </p:grpSp>
      <p:grpSp>
        <p:nvGrpSpPr>
          <p:cNvPr id="325" name="Group 324">
            <a:extLst>
              <a:ext uri="{FF2B5EF4-FFF2-40B4-BE49-F238E27FC236}">
                <a16:creationId xmlns:a16="http://schemas.microsoft.com/office/drawing/2014/main" id="{B8D746F5-466D-43F7-9B34-5DEDAC4C69DC}"/>
              </a:ext>
            </a:extLst>
          </p:cNvPr>
          <p:cNvGrpSpPr/>
          <p:nvPr/>
        </p:nvGrpSpPr>
        <p:grpSpPr>
          <a:xfrm>
            <a:off x="9264540" y="5667571"/>
            <a:ext cx="608772" cy="499454"/>
            <a:chOff x="10241033" y="6169558"/>
            <a:chExt cx="745164" cy="611354"/>
          </a:xfrm>
        </p:grpSpPr>
        <p:pic>
          <p:nvPicPr>
            <p:cNvPr id="326" name="Picture 325">
              <a:extLst>
                <a:ext uri="{FF2B5EF4-FFF2-40B4-BE49-F238E27FC236}">
                  <a16:creationId xmlns:a16="http://schemas.microsoft.com/office/drawing/2014/main" id="{3A5C2C16-C5FE-4623-BE7B-9BE541F1207B}"/>
                </a:ext>
              </a:extLst>
            </p:cNvPr>
            <p:cNvPicPr>
              <a:picLocks noChangeAspect="1"/>
            </p:cNvPicPr>
            <p:nvPr/>
          </p:nvPicPr>
          <p:blipFill>
            <a:blip r:embed="rId30" cstate="hqprint">
              <a:extLst>
                <a:ext uri="{BEBA8EAE-BF5A-486C-A8C5-ECC9F3942E4B}">
                  <a14:imgProps xmlns:a14="http://schemas.microsoft.com/office/drawing/2010/main">
                    <a14:imgLayer r:embed="rId31">
                      <a14:imgEffect>
                        <a14:brightnessContrast bright="100000"/>
                      </a14:imgEffect>
                    </a14:imgLayer>
                  </a14:imgProps>
                </a:ext>
                <a:ext uri="{28A0092B-C50C-407E-A947-70E740481C1C}">
                  <a14:useLocalDpi xmlns:a14="http://schemas.microsoft.com/office/drawing/2010/main"/>
                </a:ext>
              </a:extLst>
            </a:blip>
            <a:stretch>
              <a:fillRect/>
            </a:stretch>
          </p:blipFill>
          <p:spPr>
            <a:xfrm>
              <a:off x="10503991" y="6169558"/>
              <a:ext cx="219233" cy="273370"/>
            </a:xfrm>
            <a:prstGeom prst="rect">
              <a:avLst/>
            </a:prstGeom>
          </p:spPr>
        </p:pic>
        <p:sp>
          <p:nvSpPr>
            <p:cNvPr id="327" name="TextBox 326">
              <a:extLst>
                <a:ext uri="{FF2B5EF4-FFF2-40B4-BE49-F238E27FC236}">
                  <a16:creationId xmlns:a16="http://schemas.microsoft.com/office/drawing/2014/main" id="{C9597B0F-535E-4382-8B60-E74312A0D353}"/>
                </a:ext>
              </a:extLst>
            </p:cNvPr>
            <p:cNvSpPr txBox="1"/>
            <p:nvPr/>
          </p:nvSpPr>
          <p:spPr>
            <a:xfrm>
              <a:off x="10241033" y="6492012"/>
              <a:ext cx="745164" cy="288900"/>
            </a:xfrm>
            <a:prstGeom prst="rect">
              <a:avLst/>
            </a:prstGeom>
            <a:noFill/>
          </p:spPr>
          <p:txBody>
            <a:bodyPr wrap="square" lIns="0" tIns="0" rIns="0" bIns="0" rtlCol="0">
              <a:noAutofit/>
            </a:bodyPr>
            <a:lstStyle/>
            <a:p>
              <a:pPr marL="0" marR="0" lvl="0" indent="0" algn="ctr" defTabSz="912435" rtl="0" eaLnBrk="1" fontAlgn="auto" latinLnBrk="0" hangingPunct="1">
                <a:lnSpc>
                  <a:spcPct val="90000"/>
                </a:lnSpc>
                <a:spcBef>
                  <a:spcPts val="0"/>
                </a:spcBef>
                <a:spcAft>
                  <a:spcPts val="1000"/>
                </a:spcAft>
                <a:buClrTx/>
                <a:buSzTx/>
                <a:buFontTx/>
                <a:buNone/>
                <a:tabLst/>
                <a:defRPr/>
              </a:pPr>
              <a:r>
                <a:rPr kumimoji="0" lang="en-US" sz="800" b="0" i="0" u="none" strike="noStrike" kern="120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mn-cs"/>
                </a:rPr>
                <a:t>Logs</a:t>
              </a:r>
            </a:p>
          </p:txBody>
        </p:sp>
      </p:grpSp>
      <p:sp>
        <p:nvSpPr>
          <p:cNvPr id="307" name="TextBox 306">
            <a:extLst>
              <a:ext uri="{FF2B5EF4-FFF2-40B4-BE49-F238E27FC236}">
                <a16:creationId xmlns:a16="http://schemas.microsoft.com/office/drawing/2014/main" id="{007F0499-FD07-4DFC-A61E-9BDD9C18E8AD}"/>
              </a:ext>
            </a:extLst>
          </p:cNvPr>
          <p:cNvSpPr txBox="1"/>
          <p:nvPr/>
        </p:nvSpPr>
        <p:spPr>
          <a:xfrm>
            <a:off x="4417029" y="5732625"/>
            <a:ext cx="374249" cy="254005"/>
          </a:xfrm>
          <a:prstGeom prst="rect">
            <a:avLst/>
          </a:prstGeom>
          <a:noFill/>
        </p:spPr>
        <p:txBody>
          <a:bodyPr wrap="square" lIns="0" tIns="0" rIns="0" bIns="0" rtlCol="0" anchor="ctr">
            <a:noAutofit/>
          </a:bodyPr>
          <a:lstStyle/>
          <a:p>
            <a:pPr marL="0" marR="0" lvl="0" indent="0" algn="ctr" defTabSz="912435" rtl="0" eaLnBrk="1" fontAlgn="auto" latinLnBrk="0" hangingPunct="1">
              <a:lnSpc>
                <a:spcPct val="90000"/>
              </a:lnSpc>
              <a:spcBef>
                <a:spcPts val="0"/>
              </a:spcBef>
              <a:spcAft>
                <a:spcPts val="10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charset="0"/>
              </a:rPr>
              <a:t>+</a:t>
            </a:r>
          </a:p>
        </p:txBody>
      </p:sp>
      <p:sp>
        <p:nvSpPr>
          <p:cNvPr id="308" name="Group">
            <a:extLst>
              <a:ext uri="{FF2B5EF4-FFF2-40B4-BE49-F238E27FC236}">
                <a16:creationId xmlns:a16="http://schemas.microsoft.com/office/drawing/2014/main" id="{81BF7609-3910-4047-B0A1-C8D08B352529}"/>
              </a:ext>
            </a:extLst>
          </p:cNvPr>
          <p:cNvSpPr txBox="1"/>
          <p:nvPr/>
        </p:nvSpPr>
        <p:spPr>
          <a:xfrm>
            <a:off x="4882636" y="5113470"/>
            <a:ext cx="2409414" cy="507013"/>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numCol="1" anchor="ctr">
            <a:noAutofit/>
          </a:bodyPr>
          <a:lstStyle>
            <a:lvl1pPr defTabSz="1828800">
              <a:lnSpc>
                <a:spcPct val="90000"/>
              </a:lnSpc>
              <a:spcBef>
                <a:spcPts val="2000"/>
              </a:spcBef>
              <a:defRPr sz="3500" spc="175">
                <a:latin typeface="Roboto Lt"/>
                <a:ea typeface="Roboto Lt"/>
                <a:cs typeface="Roboto Lt"/>
                <a:sym typeface="Roboto Light"/>
              </a:defRPr>
            </a:lvl1pPr>
          </a:lstStyle>
          <a:p>
            <a:pPr marL="0" marR="0" lvl="0" indent="0" algn="ctr" defTabSz="913760" rtl="0" eaLnBrk="1" fontAlgn="auto" latinLnBrk="0" hangingPunct="1">
              <a:lnSpc>
                <a:spcPct val="90000"/>
              </a:lnSpc>
              <a:spcBef>
                <a:spcPts val="1999"/>
              </a:spcBef>
              <a:spcAft>
                <a:spcPts val="0"/>
              </a:spcAft>
              <a:buClrTx/>
              <a:buSzTx/>
              <a:buFontTx/>
              <a:buNone/>
              <a:tabLst/>
              <a:defRPr/>
            </a:pPr>
            <a:r>
              <a:rPr kumimoji="0" sz="1400" b="0" i="0" u="none" strike="noStrike" kern="1200" cap="none" spc="0" normalizeH="0" baseline="0" noProof="0">
                <a:ln>
                  <a:noFill/>
                </a:ln>
                <a:solidFill>
                  <a:srgbClr val="FF7D00"/>
                </a:solidFill>
                <a:effectLst/>
                <a:uLnTx/>
                <a:uFillTx/>
                <a:latin typeface="Roboto" panose="02000000000000000000" pitchFamily="2" charset="0"/>
                <a:ea typeface="Roboto Light" panose="02000000000000000000" pitchFamily="2" charset="0"/>
                <a:sym typeface="Roboto Light"/>
              </a:rPr>
              <a:t>DATA </a:t>
            </a:r>
            <a:r>
              <a:rPr kumimoji="0" lang="en-US" sz="1400" b="0" i="0" u="none" strike="noStrike" kern="1200" cap="none" spc="0" normalizeH="0" baseline="0" noProof="0">
                <a:ln>
                  <a:noFill/>
                </a:ln>
                <a:solidFill>
                  <a:srgbClr val="FF7D00"/>
                </a:solidFill>
                <a:effectLst/>
                <a:uLnTx/>
                <a:uFillTx/>
                <a:latin typeface="Roboto" panose="02000000000000000000" pitchFamily="2" charset="0"/>
                <a:ea typeface="Roboto Light" panose="02000000000000000000" pitchFamily="2" charset="0"/>
                <a:sym typeface="Roboto Light"/>
              </a:rPr>
              <a:t>SOURCES</a:t>
            </a:r>
            <a:endParaRPr kumimoji="0" sz="1400" b="0" i="0" u="none" strike="noStrike" kern="1200" cap="none" spc="0" normalizeH="0" baseline="0" noProof="0">
              <a:ln>
                <a:noFill/>
              </a:ln>
              <a:solidFill>
                <a:srgbClr val="FF7D00"/>
              </a:solidFill>
              <a:effectLst/>
              <a:uLnTx/>
              <a:uFillTx/>
              <a:latin typeface="Roboto" panose="02000000000000000000" pitchFamily="2" charset="0"/>
              <a:ea typeface="Roboto Light" panose="02000000000000000000" pitchFamily="2" charset="0"/>
              <a:sym typeface="Roboto Light"/>
            </a:endParaRPr>
          </a:p>
        </p:txBody>
      </p:sp>
      <p:sp>
        <p:nvSpPr>
          <p:cNvPr id="309" name="Google Shape;204;p26">
            <a:extLst>
              <a:ext uri="{FF2B5EF4-FFF2-40B4-BE49-F238E27FC236}">
                <a16:creationId xmlns:a16="http://schemas.microsoft.com/office/drawing/2014/main" id="{ABE60F27-C7BE-4F46-9DC2-90E9E22A459B}"/>
              </a:ext>
            </a:extLst>
          </p:cNvPr>
          <p:cNvSpPr txBox="1"/>
          <p:nvPr/>
        </p:nvSpPr>
        <p:spPr>
          <a:xfrm>
            <a:off x="3608579" y="5740171"/>
            <a:ext cx="843903" cy="242153"/>
          </a:xfrm>
          <a:prstGeom prst="rect">
            <a:avLst/>
          </a:prstGeom>
          <a:noFill/>
          <a:ln>
            <a:noFill/>
          </a:ln>
        </p:spPr>
        <p:txBody>
          <a:bodyPr spcFirstLastPara="1" wrap="square" lIns="91257" tIns="91257" rIns="91257" bIns="91257" anchor="ctr" anchorCtr="0">
            <a:noAutofit/>
          </a:bodyPr>
          <a:lstStyle/>
          <a:p>
            <a:pPr marL="0" marR="0" lvl="0" indent="0" algn="ctr" defTabSz="912664" rtl="0" eaLnBrk="1" fontAlgn="auto" latinLnBrk="0" hangingPunct="1">
              <a:lnSpc>
                <a:spcPct val="90000"/>
              </a:lnSpc>
              <a:spcBef>
                <a:spcPts val="0"/>
              </a:spcBef>
              <a:spcAft>
                <a:spcPts val="0"/>
              </a:spcAft>
              <a:buClr>
                <a:srgbClr val="000000"/>
              </a:buClr>
              <a:buSzTx/>
              <a:buFontTx/>
              <a:buNone/>
              <a:tabLst/>
              <a:defRPr/>
            </a:pPr>
            <a:r>
              <a:rPr kumimoji="0" lang="en-US" sz="800" b="0" i="0" u="none" strike="noStrike" kern="120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Arial"/>
                <a:sym typeface="Calibri"/>
              </a:rPr>
              <a:t>SaaS Apps Sources</a:t>
            </a:r>
            <a:endParaRPr kumimoji="0" sz="800" b="0" i="0" u="none" strike="noStrike" kern="120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Arial"/>
              <a:sym typeface="Calibri"/>
            </a:endParaRPr>
          </a:p>
        </p:txBody>
      </p:sp>
      <p:cxnSp>
        <p:nvCxnSpPr>
          <p:cNvPr id="321" name="Straight Connector 320">
            <a:extLst>
              <a:ext uri="{FF2B5EF4-FFF2-40B4-BE49-F238E27FC236}">
                <a16:creationId xmlns:a16="http://schemas.microsoft.com/office/drawing/2014/main" id="{0F09A8E6-F9A1-4A2E-8D07-ED4AD5932BA5}"/>
              </a:ext>
            </a:extLst>
          </p:cNvPr>
          <p:cNvCxnSpPr>
            <a:cxnSpLocks/>
          </p:cNvCxnSpPr>
          <p:nvPr/>
        </p:nvCxnSpPr>
        <p:spPr>
          <a:xfrm>
            <a:off x="1142703" y="5547569"/>
            <a:ext cx="9769959" cy="0"/>
          </a:xfrm>
          <a:prstGeom prst="line">
            <a:avLst/>
          </a:prstGeom>
          <a:noFill/>
          <a:ln w="9525" cap="flat" cmpd="sng" algn="ctr">
            <a:solidFill>
              <a:schemeClr val="accent2"/>
            </a:solidFill>
            <a:prstDash val="solid"/>
            <a:miter lim="800000"/>
          </a:ln>
          <a:effectLst/>
        </p:spPr>
      </p:cxnSp>
      <p:sp>
        <p:nvSpPr>
          <p:cNvPr id="311" name="Google Shape;204;p26">
            <a:extLst>
              <a:ext uri="{FF2B5EF4-FFF2-40B4-BE49-F238E27FC236}">
                <a16:creationId xmlns:a16="http://schemas.microsoft.com/office/drawing/2014/main" id="{8A67707C-7DAF-4AB0-9A95-EB9D797D3D7F}"/>
              </a:ext>
            </a:extLst>
          </p:cNvPr>
          <p:cNvSpPr txBox="1"/>
          <p:nvPr/>
        </p:nvSpPr>
        <p:spPr>
          <a:xfrm>
            <a:off x="7030206" y="5738082"/>
            <a:ext cx="843903" cy="242153"/>
          </a:xfrm>
          <a:prstGeom prst="rect">
            <a:avLst/>
          </a:prstGeom>
          <a:noFill/>
          <a:ln>
            <a:noFill/>
          </a:ln>
        </p:spPr>
        <p:txBody>
          <a:bodyPr spcFirstLastPara="1" wrap="square" lIns="91257" tIns="91257" rIns="91257" bIns="91257" anchor="ctr" anchorCtr="0">
            <a:noAutofit/>
          </a:bodyPr>
          <a:lstStyle/>
          <a:p>
            <a:pPr marL="0" marR="0" lvl="0" indent="0" algn="ctr" defTabSz="912664" rtl="0" eaLnBrk="1" fontAlgn="auto" latinLnBrk="0" hangingPunct="1">
              <a:lnSpc>
                <a:spcPct val="90000"/>
              </a:lnSpc>
              <a:spcBef>
                <a:spcPts val="0"/>
              </a:spcBef>
              <a:spcAft>
                <a:spcPts val="0"/>
              </a:spcAft>
              <a:buClr>
                <a:srgbClr val="000000"/>
              </a:buClr>
              <a:buSzTx/>
              <a:buFontTx/>
              <a:buNone/>
              <a:tabLst/>
              <a:defRPr/>
            </a:pPr>
            <a:r>
              <a:rPr kumimoji="0" lang="en-US" sz="800" b="0" i="0" u="none" strike="noStrike" kern="120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Arial"/>
                <a:sym typeface="Calibri"/>
              </a:rPr>
              <a:t>On-premises Sources</a:t>
            </a:r>
            <a:endParaRPr kumimoji="0" sz="800" b="0" i="0" u="none" strike="noStrike" kern="120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Arial"/>
              <a:sym typeface="Calibri"/>
            </a:endParaRPr>
          </a:p>
        </p:txBody>
      </p:sp>
      <p:sp>
        <p:nvSpPr>
          <p:cNvPr id="312" name="Google Shape;204;p26">
            <a:extLst>
              <a:ext uri="{FF2B5EF4-FFF2-40B4-BE49-F238E27FC236}">
                <a16:creationId xmlns:a16="http://schemas.microsoft.com/office/drawing/2014/main" id="{3D966B03-7BBC-42E3-B441-3CDA9DD2DADF}"/>
              </a:ext>
            </a:extLst>
          </p:cNvPr>
          <p:cNvSpPr txBox="1"/>
          <p:nvPr/>
        </p:nvSpPr>
        <p:spPr>
          <a:xfrm>
            <a:off x="9764090" y="5730455"/>
            <a:ext cx="843903" cy="242153"/>
          </a:xfrm>
          <a:prstGeom prst="rect">
            <a:avLst/>
          </a:prstGeom>
          <a:noFill/>
          <a:ln>
            <a:noFill/>
          </a:ln>
        </p:spPr>
        <p:txBody>
          <a:bodyPr spcFirstLastPara="1" wrap="square" lIns="91257" tIns="91257" rIns="91257" bIns="91257" anchor="ctr" anchorCtr="0">
            <a:noAutofit/>
          </a:bodyPr>
          <a:lstStyle/>
          <a:p>
            <a:pPr marL="0" marR="0" lvl="0" indent="0" algn="l" defTabSz="912664" rtl="0" eaLnBrk="1" fontAlgn="auto" latinLnBrk="0" hangingPunct="1">
              <a:lnSpc>
                <a:spcPct val="90000"/>
              </a:lnSpc>
              <a:spcBef>
                <a:spcPts val="0"/>
              </a:spcBef>
              <a:spcAft>
                <a:spcPts val="0"/>
              </a:spcAft>
              <a:buClr>
                <a:srgbClr val="000000"/>
              </a:buClr>
              <a:buSzTx/>
              <a:buFontTx/>
              <a:buNone/>
              <a:tabLst/>
              <a:defRPr/>
            </a:pPr>
            <a:r>
              <a:rPr kumimoji="0" lang="en-US" sz="800" b="0" i="0" u="none" strike="noStrike" kern="120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Arial"/>
                <a:sym typeface="Calibri"/>
              </a:rPr>
              <a:t>Real-time / Streaming Sources</a:t>
            </a:r>
            <a:endParaRPr kumimoji="0" sz="800" b="0" i="0" u="none" strike="noStrike" kern="120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Arial"/>
              <a:sym typeface="Calibri"/>
            </a:endParaRPr>
          </a:p>
        </p:txBody>
      </p:sp>
      <p:sp>
        <p:nvSpPr>
          <p:cNvPr id="315" name="TextBox 314">
            <a:extLst>
              <a:ext uri="{FF2B5EF4-FFF2-40B4-BE49-F238E27FC236}">
                <a16:creationId xmlns:a16="http://schemas.microsoft.com/office/drawing/2014/main" id="{8E8E6E73-CA39-457D-BC4E-17095E1A03C0}"/>
              </a:ext>
            </a:extLst>
          </p:cNvPr>
          <p:cNvSpPr txBox="1"/>
          <p:nvPr/>
        </p:nvSpPr>
        <p:spPr>
          <a:xfrm>
            <a:off x="5354876" y="5940717"/>
            <a:ext cx="911437" cy="187890"/>
          </a:xfrm>
          <a:prstGeom prst="rect">
            <a:avLst/>
          </a:prstGeom>
          <a:noFill/>
        </p:spPr>
        <p:txBody>
          <a:bodyPr wrap="square" lIns="0" tIns="0" rIns="0" bIns="0" rtlCol="0">
            <a:noAutofit/>
          </a:bodyPr>
          <a:lstStyle/>
          <a:p>
            <a:pPr marL="0" marR="0" lvl="0" indent="0" algn="ctr" defTabSz="912435" rtl="0" eaLnBrk="1" fontAlgn="auto" latinLnBrk="0" hangingPunct="1">
              <a:lnSpc>
                <a:spcPct val="90000"/>
              </a:lnSpc>
              <a:spcBef>
                <a:spcPts val="0"/>
              </a:spcBef>
              <a:spcAft>
                <a:spcPts val="1000"/>
              </a:spcAft>
              <a:buClrTx/>
              <a:buSzTx/>
              <a:buFontTx/>
              <a:buNone/>
              <a:tabLst/>
              <a:defRPr/>
            </a:pPr>
            <a:r>
              <a:rPr kumimoji="0" lang="en-US" sz="800" b="0" i="0" u="none" strike="noStrike" kern="120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charset="0"/>
              </a:rPr>
              <a:t>Applications</a:t>
            </a:r>
          </a:p>
        </p:txBody>
      </p:sp>
      <p:sp>
        <p:nvSpPr>
          <p:cNvPr id="316" name="TextBox 315">
            <a:extLst>
              <a:ext uri="{FF2B5EF4-FFF2-40B4-BE49-F238E27FC236}">
                <a16:creationId xmlns:a16="http://schemas.microsoft.com/office/drawing/2014/main" id="{B66F872B-6DAE-4444-A586-2B75E8C222E0}"/>
              </a:ext>
            </a:extLst>
          </p:cNvPr>
          <p:cNvSpPr txBox="1"/>
          <p:nvPr/>
        </p:nvSpPr>
        <p:spPr>
          <a:xfrm>
            <a:off x="4709100" y="5940721"/>
            <a:ext cx="757394" cy="187890"/>
          </a:xfrm>
          <a:prstGeom prst="rect">
            <a:avLst/>
          </a:prstGeom>
          <a:noFill/>
        </p:spPr>
        <p:txBody>
          <a:bodyPr wrap="square" lIns="0" tIns="0" rIns="0" bIns="0" rtlCol="0">
            <a:noAutofit/>
          </a:bodyPr>
          <a:lstStyle/>
          <a:p>
            <a:pPr marL="0" marR="0" lvl="0" indent="0" algn="ctr" defTabSz="912435" rtl="0" eaLnBrk="1" fontAlgn="auto" latinLnBrk="0" hangingPunct="1">
              <a:lnSpc>
                <a:spcPct val="90000"/>
              </a:lnSpc>
              <a:spcBef>
                <a:spcPts val="0"/>
              </a:spcBef>
              <a:spcAft>
                <a:spcPts val="1000"/>
              </a:spcAft>
              <a:buClrTx/>
              <a:buSzTx/>
              <a:buFontTx/>
              <a:buNone/>
              <a:tabLst/>
              <a:defRPr/>
            </a:pPr>
            <a:r>
              <a:rPr kumimoji="0" lang="en-US" sz="800" b="0" i="0" u="none" strike="noStrike" kern="120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charset="0"/>
              </a:rPr>
              <a:t>Mainframe </a:t>
            </a:r>
          </a:p>
        </p:txBody>
      </p:sp>
      <p:pic>
        <p:nvPicPr>
          <p:cNvPr id="317" name="Picture 316">
            <a:extLst>
              <a:ext uri="{FF2B5EF4-FFF2-40B4-BE49-F238E27FC236}">
                <a16:creationId xmlns:a16="http://schemas.microsoft.com/office/drawing/2014/main" id="{86E55B22-3E0F-4139-8F3F-8666F5D0D698}"/>
              </a:ext>
            </a:extLst>
          </p:cNvPr>
          <p:cNvPicPr>
            <a:picLocks noChangeAspect="1"/>
          </p:cNvPicPr>
          <p:nvPr/>
        </p:nvPicPr>
        <p:blipFill>
          <a:blip r:embed="rId32" cstate="screen">
            <a:extLst>
              <a:ext uri="{BEBA8EAE-BF5A-486C-A8C5-ECC9F3942E4B}">
                <a14:imgProps xmlns:a14="http://schemas.microsoft.com/office/drawing/2010/main">
                  <a14:imgLayer r:embed="rId33">
                    <a14:imgEffect>
                      <a14:brightnessContrast bright="100000"/>
                    </a14:imgEffect>
                  </a14:imgLayer>
                </a14:imgProps>
              </a:ext>
              <a:ext uri="{28A0092B-C50C-407E-A947-70E740481C1C}">
                <a14:useLocalDpi xmlns:a14="http://schemas.microsoft.com/office/drawing/2010/main"/>
              </a:ext>
            </a:extLst>
          </a:blip>
          <a:stretch>
            <a:fillRect/>
          </a:stretch>
        </p:blipFill>
        <p:spPr>
          <a:xfrm>
            <a:off x="4950754" y="5673954"/>
            <a:ext cx="284031" cy="197283"/>
          </a:xfrm>
          <a:prstGeom prst="rect">
            <a:avLst/>
          </a:prstGeom>
        </p:spPr>
      </p:pic>
      <p:sp>
        <p:nvSpPr>
          <p:cNvPr id="318" name="TextBox 317">
            <a:extLst>
              <a:ext uri="{FF2B5EF4-FFF2-40B4-BE49-F238E27FC236}">
                <a16:creationId xmlns:a16="http://schemas.microsoft.com/office/drawing/2014/main" id="{249F5ACB-6775-435A-9A8C-54801D8FC76E}"/>
              </a:ext>
            </a:extLst>
          </p:cNvPr>
          <p:cNvSpPr txBox="1"/>
          <p:nvPr/>
        </p:nvSpPr>
        <p:spPr>
          <a:xfrm>
            <a:off x="6123084" y="5940716"/>
            <a:ext cx="748365" cy="187890"/>
          </a:xfrm>
          <a:prstGeom prst="rect">
            <a:avLst/>
          </a:prstGeom>
          <a:noFill/>
        </p:spPr>
        <p:txBody>
          <a:bodyPr wrap="square" lIns="0" tIns="0" rIns="0" bIns="0" rtlCol="0">
            <a:noAutofit/>
          </a:bodyPr>
          <a:lstStyle/>
          <a:p>
            <a:pPr marL="0" marR="0" lvl="0" indent="0" algn="ctr" defTabSz="912435" rtl="0" eaLnBrk="1" fontAlgn="auto" latinLnBrk="0" hangingPunct="1">
              <a:lnSpc>
                <a:spcPct val="90000"/>
              </a:lnSpc>
              <a:spcBef>
                <a:spcPts val="0"/>
              </a:spcBef>
              <a:spcAft>
                <a:spcPts val="1000"/>
              </a:spcAft>
              <a:buClrTx/>
              <a:buSzTx/>
              <a:buFontTx/>
              <a:buNone/>
              <a:tabLst/>
              <a:defRPr/>
            </a:pPr>
            <a:r>
              <a:rPr kumimoji="0" lang="en-US" sz="800" b="0" i="0" u="none" strike="noStrike" kern="120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charset="0"/>
              </a:rPr>
              <a:t>Databases</a:t>
            </a:r>
          </a:p>
        </p:txBody>
      </p:sp>
      <p:pic>
        <p:nvPicPr>
          <p:cNvPr id="319" name="Picture 318">
            <a:extLst>
              <a:ext uri="{FF2B5EF4-FFF2-40B4-BE49-F238E27FC236}">
                <a16:creationId xmlns:a16="http://schemas.microsoft.com/office/drawing/2014/main" id="{2F35FE94-FEBE-4CB4-A8AF-393FA1AC555D}"/>
              </a:ext>
            </a:extLst>
          </p:cNvPr>
          <p:cNvPicPr>
            <a:picLocks noChangeAspect="1"/>
          </p:cNvPicPr>
          <p:nvPr/>
        </p:nvPicPr>
        <p:blipFill>
          <a:blip r:embed="rId34" cstate="hqprint">
            <a:extLst>
              <a:ext uri="{BEBA8EAE-BF5A-486C-A8C5-ECC9F3942E4B}">
                <a14:imgProps xmlns:a14="http://schemas.microsoft.com/office/drawing/2010/main">
                  <a14:imgLayer r:embed="rId35">
                    <a14:imgEffect>
                      <a14:brightnessContrast bright="100000"/>
                    </a14:imgEffect>
                  </a14:imgLayer>
                </a14:imgProps>
              </a:ext>
              <a:ext uri="{28A0092B-C50C-407E-A947-70E740481C1C}">
                <a14:useLocalDpi xmlns:a14="http://schemas.microsoft.com/office/drawing/2010/main"/>
              </a:ext>
            </a:extLst>
          </a:blip>
          <a:stretch>
            <a:fillRect/>
          </a:stretch>
        </p:blipFill>
        <p:spPr>
          <a:xfrm>
            <a:off x="6372326" y="5644989"/>
            <a:ext cx="224136" cy="255215"/>
          </a:xfrm>
          <a:prstGeom prst="rect">
            <a:avLst/>
          </a:prstGeom>
        </p:spPr>
      </p:pic>
      <p:pic>
        <p:nvPicPr>
          <p:cNvPr id="320" name="Picture 319">
            <a:extLst>
              <a:ext uri="{FF2B5EF4-FFF2-40B4-BE49-F238E27FC236}">
                <a16:creationId xmlns:a16="http://schemas.microsoft.com/office/drawing/2014/main" id="{C3F510E9-94FA-4F92-84C0-531868E96B67}"/>
              </a:ext>
            </a:extLst>
          </p:cNvPr>
          <p:cNvPicPr>
            <a:picLocks noChangeAspect="1"/>
          </p:cNvPicPr>
          <p:nvPr/>
        </p:nvPicPr>
        <p:blipFill>
          <a:blip r:embed="rId36" cstate="screen">
            <a:extLst>
              <a:ext uri="{28A0092B-C50C-407E-A947-70E740481C1C}">
                <a14:useLocalDpi xmlns:a14="http://schemas.microsoft.com/office/drawing/2010/main"/>
              </a:ext>
            </a:extLst>
          </a:blip>
          <a:stretch>
            <a:fillRect/>
          </a:stretch>
        </p:blipFill>
        <p:spPr>
          <a:xfrm>
            <a:off x="5716802" y="5658730"/>
            <a:ext cx="227329" cy="227734"/>
          </a:xfrm>
          <a:prstGeom prst="rect">
            <a:avLst/>
          </a:prstGeom>
        </p:spPr>
      </p:pic>
      <p:sp>
        <p:nvSpPr>
          <p:cNvPr id="359" name="TextBox 358">
            <a:extLst>
              <a:ext uri="{FF2B5EF4-FFF2-40B4-BE49-F238E27FC236}">
                <a16:creationId xmlns:a16="http://schemas.microsoft.com/office/drawing/2014/main" id="{AE304B80-C889-43BF-BB3D-4604E098895C}"/>
              </a:ext>
            </a:extLst>
          </p:cNvPr>
          <p:cNvSpPr txBox="1"/>
          <p:nvPr/>
        </p:nvSpPr>
        <p:spPr>
          <a:xfrm>
            <a:off x="7791369" y="5730787"/>
            <a:ext cx="374249" cy="254005"/>
          </a:xfrm>
          <a:prstGeom prst="rect">
            <a:avLst/>
          </a:prstGeom>
          <a:noFill/>
        </p:spPr>
        <p:txBody>
          <a:bodyPr wrap="square" lIns="0" tIns="0" rIns="0" bIns="0" rtlCol="0" anchor="ctr">
            <a:noAutofit/>
          </a:bodyPr>
          <a:lstStyle/>
          <a:p>
            <a:pPr marL="0" marR="0" lvl="0" indent="0" algn="ctr" defTabSz="912435" rtl="0" eaLnBrk="1" fontAlgn="auto" latinLnBrk="0" hangingPunct="1">
              <a:lnSpc>
                <a:spcPct val="90000"/>
              </a:lnSpc>
              <a:spcBef>
                <a:spcPts val="0"/>
              </a:spcBef>
              <a:spcAft>
                <a:spcPts val="10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charset="0"/>
              </a:rPr>
              <a:t>+</a:t>
            </a:r>
          </a:p>
        </p:txBody>
      </p:sp>
      <p:pic>
        <p:nvPicPr>
          <p:cNvPr id="238" name="Picture 75" descr="Picture 75">
            <a:extLst>
              <a:ext uri="{FF2B5EF4-FFF2-40B4-BE49-F238E27FC236}">
                <a16:creationId xmlns:a16="http://schemas.microsoft.com/office/drawing/2014/main" id="{2830966B-5D76-42F0-81FC-FA68118EE623}"/>
              </a:ext>
            </a:extLst>
          </p:cNvPr>
          <p:cNvPicPr>
            <a:picLocks noChangeAspect="1"/>
          </p:cNvPicPr>
          <p:nvPr/>
        </p:nvPicPr>
        <p:blipFill>
          <a:blip r:embed="rId37"/>
          <a:stretch>
            <a:fillRect/>
          </a:stretch>
        </p:blipFill>
        <p:spPr>
          <a:xfrm>
            <a:off x="5920243" y="2792914"/>
            <a:ext cx="405682" cy="405086"/>
          </a:xfrm>
          <a:prstGeom prst="rect">
            <a:avLst/>
          </a:prstGeom>
          <a:ln w="12700" cap="flat">
            <a:noFill/>
            <a:miter lim="400000"/>
          </a:ln>
          <a:effectLst/>
        </p:spPr>
      </p:pic>
      <p:pic>
        <p:nvPicPr>
          <p:cNvPr id="108" name="Picture 61" descr="Picture 61">
            <a:extLst>
              <a:ext uri="{FF2B5EF4-FFF2-40B4-BE49-F238E27FC236}">
                <a16:creationId xmlns:a16="http://schemas.microsoft.com/office/drawing/2014/main" id="{BD48583C-42CB-4C98-B051-5669F7961551}"/>
              </a:ext>
            </a:extLst>
          </p:cNvPr>
          <p:cNvPicPr>
            <a:picLocks noChangeAspect="1"/>
          </p:cNvPicPr>
          <p:nvPr/>
        </p:nvPicPr>
        <p:blipFill>
          <a:blip r:embed="rId38"/>
          <a:stretch>
            <a:fillRect/>
          </a:stretch>
        </p:blipFill>
        <p:spPr>
          <a:xfrm>
            <a:off x="4554858" y="2825345"/>
            <a:ext cx="336220" cy="346298"/>
          </a:xfrm>
          <a:prstGeom prst="rect">
            <a:avLst/>
          </a:prstGeom>
          <a:ln w="12700" cap="flat">
            <a:noFill/>
            <a:miter lim="400000"/>
          </a:ln>
          <a:effectLst/>
        </p:spPr>
      </p:pic>
      <p:sp>
        <p:nvSpPr>
          <p:cNvPr id="109" name="Rounded Rectangle 115">
            <a:extLst>
              <a:ext uri="{FF2B5EF4-FFF2-40B4-BE49-F238E27FC236}">
                <a16:creationId xmlns:a16="http://schemas.microsoft.com/office/drawing/2014/main" id="{5F585474-9908-4312-9B67-08C8900E13B3}"/>
              </a:ext>
            </a:extLst>
          </p:cNvPr>
          <p:cNvSpPr/>
          <p:nvPr/>
        </p:nvSpPr>
        <p:spPr>
          <a:xfrm>
            <a:off x="5485269" y="1996977"/>
            <a:ext cx="1261543" cy="585509"/>
          </a:xfrm>
          <a:prstGeom prst="round2SameRect">
            <a:avLst/>
          </a:prstGeom>
          <a:solidFill>
            <a:srgbClr val="FF7D00"/>
          </a:solidFill>
          <a:ln w="12700" cap="flat">
            <a:noFill/>
            <a:miter lim="400000"/>
          </a:ln>
          <a:effectLst/>
        </p:spPr>
        <p:txBody>
          <a:bodyPr wrap="square" lIns="27425" tIns="91344" rIns="27425" bIns="91344" numCol="1" anchor="ctr">
            <a:noAutofit/>
          </a:bodyPr>
          <a:lstStyle/>
          <a:p>
            <a:pPr marL="0" marR="0" lvl="0" indent="0" algn="ctr" defTabSz="91339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Roboto" panose="02000000000000000000" pitchFamily="2" charset="0"/>
                <a:ea typeface="+mn-ea"/>
                <a:cs typeface="+mn-cs"/>
              </a:rPr>
              <a:t>CLEANSE &amp; TRUST</a:t>
            </a:r>
          </a:p>
        </p:txBody>
      </p:sp>
      <p:sp>
        <p:nvSpPr>
          <p:cNvPr id="110" name="Rounded Rectangle 115">
            <a:extLst>
              <a:ext uri="{FF2B5EF4-FFF2-40B4-BE49-F238E27FC236}">
                <a16:creationId xmlns:a16="http://schemas.microsoft.com/office/drawing/2014/main" id="{7AAEC5D2-140D-4D30-90F5-4C3CAE068BC3}"/>
              </a:ext>
            </a:extLst>
          </p:cNvPr>
          <p:cNvSpPr/>
          <p:nvPr/>
        </p:nvSpPr>
        <p:spPr>
          <a:xfrm>
            <a:off x="6862830" y="1996977"/>
            <a:ext cx="1261543" cy="585509"/>
          </a:xfrm>
          <a:prstGeom prst="round2SameRect">
            <a:avLst/>
          </a:prstGeom>
          <a:solidFill>
            <a:srgbClr val="FF7D00"/>
          </a:solidFill>
          <a:ln w="12700" cap="flat">
            <a:noFill/>
            <a:miter lim="400000"/>
          </a:ln>
          <a:effectLst/>
        </p:spPr>
        <p:txBody>
          <a:bodyPr wrap="square" lIns="27425" tIns="91344" rIns="27425" bIns="91344" numCol="1" anchor="ctr">
            <a:noAutofit/>
          </a:bodyPr>
          <a:lstStyle/>
          <a:p>
            <a:pPr marL="0" marR="0" lvl="0" indent="0" algn="ctr" defTabSz="91339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Roboto" panose="02000000000000000000" pitchFamily="2" charset="0"/>
                <a:ea typeface="+mn-ea"/>
                <a:cs typeface="+mn-cs"/>
              </a:rPr>
              <a:t>MASTER &amp; RELATE</a:t>
            </a:r>
          </a:p>
        </p:txBody>
      </p:sp>
      <p:pic>
        <p:nvPicPr>
          <p:cNvPr id="112" name="Picture 111">
            <a:extLst>
              <a:ext uri="{FF2B5EF4-FFF2-40B4-BE49-F238E27FC236}">
                <a16:creationId xmlns:a16="http://schemas.microsoft.com/office/drawing/2014/main" id="{B0DC935A-D735-4887-A956-73F727EE5FE4}"/>
              </a:ext>
            </a:extLst>
          </p:cNvPr>
          <p:cNvPicPr>
            <a:picLocks noChangeAspect="1"/>
          </p:cNvPicPr>
          <p:nvPr/>
        </p:nvPicPr>
        <p:blipFill>
          <a:blip r:embed="rId39" cstate="screen">
            <a:duotone>
              <a:prstClr val="black"/>
              <a:schemeClr val="accent1">
                <a:tint val="45000"/>
                <a:satMod val="400000"/>
              </a:schemeClr>
            </a:duotone>
            <a:extLst>
              <a:ext uri="{BEBA8EAE-BF5A-486C-A8C5-ECC9F3942E4B}">
                <a14:imgProps xmlns:a14="http://schemas.microsoft.com/office/drawing/2010/main">
                  <a14:imgLayer r:embed="rId40">
                    <a14:imgEffect>
                      <a14:brightnessContrast bright="100000"/>
                    </a14:imgEffect>
                  </a14:imgLayer>
                </a14:imgProps>
              </a:ext>
              <a:ext uri="{28A0092B-C50C-407E-A947-70E740481C1C}">
                <a14:useLocalDpi xmlns:a14="http://schemas.microsoft.com/office/drawing/2010/main"/>
              </a:ext>
            </a:extLst>
          </a:blip>
          <a:stretch>
            <a:fillRect/>
          </a:stretch>
        </p:blipFill>
        <p:spPr>
          <a:xfrm>
            <a:off x="3086874" y="2800132"/>
            <a:ext cx="406061" cy="406061"/>
          </a:xfrm>
          <a:prstGeom prst="rect">
            <a:avLst/>
          </a:prstGeom>
        </p:spPr>
      </p:pic>
      <p:pic>
        <p:nvPicPr>
          <p:cNvPr id="113" name="Picture 112">
            <a:extLst>
              <a:ext uri="{FF2B5EF4-FFF2-40B4-BE49-F238E27FC236}">
                <a16:creationId xmlns:a16="http://schemas.microsoft.com/office/drawing/2014/main" id="{D39753A9-B1D0-459D-AB11-FBC0C931EC7A}"/>
              </a:ext>
            </a:extLst>
          </p:cNvPr>
          <p:cNvPicPr>
            <a:picLocks noChangeAspect="1"/>
          </p:cNvPicPr>
          <p:nvPr/>
        </p:nvPicPr>
        <p:blipFill>
          <a:blip r:embed="rId41" cstate="screen">
            <a:duotone>
              <a:prstClr val="black"/>
              <a:schemeClr val="accent1">
                <a:tint val="45000"/>
                <a:satMod val="400000"/>
              </a:schemeClr>
            </a:duotone>
            <a:extLst>
              <a:ext uri="{BEBA8EAE-BF5A-486C-A8C5-ECC9F3942E4B}">
                <a14:imgProps xmlns:a14="http://schemas.microsoft.com/office/drawing/2010/main">
                  <a14:imgLayer r:embed="rId42">
                    <a14:imgEffect>
                      <a14:brightnessContrast bright="100000"/>
                    </a14:imgEffect>
                  </a14:imgLayer>
                </a14:imgProps>
              </a:ext>
              <a:ext uri="{28A0092B-C50C-407E-A947-70E740481C1C}">
                <a14:useLocalDpi xmlns:a14="http://schemas.microsoft.com/office/drawing/2010/main"/>
              </a:ext>
            </a:extLst>
          </a:blip>
          <a:stretch>
            <a:fillRect/>
          </a:stretch>
        </p:blipFill>
        <p:spPr>
          <a:xfrm>
            <a:off x="7331049" y="2804608"/>
            <a:ext cx="354002" cy="406061"/>
          </a:xfrm>
          <a:prstGeom prst="rect">
            <a:avLst/>
          </a:prstGeom>
        </p:spPr>
      </p:pic>
    </p:spTree>
    <p:extLst>
      <p:ext uri="{BB962C8B-B14F-4D97-AF65-F5344CB8AC3E}">
        <p14:creationId xmlns:p14="http://schemas.microsoft.com/office/powerpoint/2010/main" val="916237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4" fill="hold" grpId="0" nodeType="afterEffect">
                                  <p:stCondLst>
                                    <p:cond delay="0"/>
                                  </p:stCondLst>
                                  <p:childTnLst>
                                    <p:set>
                                      <p:cBhvr>
                                        <p:cTn id="6" dur="1" fill="hold">
                                          <p:stCondLst>
                                            <p:cond delay="0"/>
                                          </p:stCondLst>
                                        </p:cTn>
                                        <p:tgtEl>
                                          <p:spTgt spid="354"/>
                                        </p:tgtEl>
                                        <p:attrNameLst>
                                          <p:attrName>style.visibility</p:attrName>
                                        </p:attrNameLst>
                                      </p:cBhvr>
                                      <p:to>
                                        <p:strVal val="visible"/>
                                      </p:to>
                                    </p:set>
                                    <p:anim calcmode="lin" valueType="num">
                                      <p:cBhvr additive="base">
                                        <p:cTn id="7" dur="500"/>
                                        <p:tgtEl>
                                          <p:spTgt spid="354"/>
                                        </p:tgtEl>
                                        <p:attrNameLst>
                                          <p:attrName>ppt_y</p:attrName>
                                        </p:attrNameLst>
                                      </p:cBhvr>
                                      <p:tavLst>
                                        <p:tav tm="0">
                                          <p:val>
                                            <p:strVal val="#ppt_y+#ppt_h*1.125000"/>
                                          </p:val>
                                        </p:tav>
                                        <p:tav tm="100000">
                                          <p:val>
                                            <p:strVal val="#ppt_y"/>
                                          </p:val>
                                        </p:tav>
                                      </p:tavLst>
                                    </p:anim>
                                    <p:animEffect transition="in" filter="wipe(up)">
                                      <p:cBhvr>
                                        <p:cTn id="8" dur="500"/>
                                        <p:tgtEl>
                                          <p:spTgt spid="354"/>
                                        </p:tgtEl>
                                      </p:cBhvr>
                                    </p:animEffect>
                                  </p:childTnLst>
                                </p:cTn>
                              </p:par>
                            </p:childTnLst>
                          </p:cTn>
                        </p:par>
                        <p:par>
                          <p:cTn id="9" fill="hold">
                            <p:stCondLst>
                              <p:cond delay="500"/>
                            </p:stCondLst>
                            <p:childTnLst>
                              <p:par>
                                <p:cTn id="10" presetID="12" presetClass="entr" presetSubtype="4" fill="hold" grpId="0" nodeType="afterEffect">
                                  <p:stCondLst>
                                    <p:cond delay="0"/>
                                  </p:stCondLst>
                                  <p:childTnLst>
                                    <p:set>
                                      <p:cBhvr>
                                        <p:cTn id="11" dur="1" fill="hold">
                                          <p:stCondLst>
                                            <p:cond delay="0"/>
                                          </p:stCondLst>
                                        </p:cTn>
                                        <p:tgtEl>
                                          <p:spTgt spid="342"/>
                                        </p:tgtEl>
                                        <p:attrNameLst>
                                          <p:attrName>style.visibility</p:attrName>
                                        </p:attrNameLst>
                                      </p:cBhvr>
                                      <p:to>
                                        <p:strVal val="visible"/>
                                      </p:to>
                                    </p:set>
                                    <p:anim calcmode="lin" valueType="num">
                                      <p:cBhvr additive="base">
                                        <p:cTn id="12" dur="500"/>
                                        <p:tgtEl>
                                          <p:spTgt spid="342"/>
                                        </p:tgtEl>
                                        <p:attrNameLst>
                                          <p:attrName>ppt_y</p:attrName>
                                        </p:attrNameLst>
                                      </p:cBhvr>
                                      <p:tavLst>
                                        <p:tav tm="0">
                                          <p:val>
                                            <p:strVal val="#ppt_y+#ppt_h*1.125000"/>
                                          </p:val>
                                        </p:tav>
                                        <p:tav tm="100000">
                                          <p:val>
                                            <p:strVal val="#ppt_y"/>
                                          </p:val>
                                        </p:tav>
                                      </p:tavLst>
                                    </p:anim>
                                    <p:animEffect transition="in" filter="wipe(up)">
                                      <p:cBhvr>
                                        <p:cTn id="13" dur="500"/>
                                        <p:tgtEl>
                                          <p:spTgt spid="342"/>
                                        </p:tgtEl>
                                      </p:cBhvr>
                                    </p:animEffect>
                                  </p:childTnLst>
                                </p:cTn>
                              </p:par>
                            </p:childTnLst>
                          </p:cTn>
                        </p:par>
                        <p:par>
                          <p:cTn id="14" fill="hold">
                            <p:stCondLst>
                              <p:cond delay="1000"/>
                            </p:stCondLst>
                            <p:childTnLst>
                              <p:par>
                                <p:cTn id="15" presetID="12" presetClass="entr" presetSubtype="4" fill="hold" grpId="0" nodeType="afterEffect">
                                  <p:stCondLst>
                                    <p:cond delay="0"/>
                                  </p:stCondLst>
                                  <p:childTnLst>
                                    <p:set>
                                      <p:cBhvr>
                                        <p:cTn id="16" dur="1" fill="hold">
                                          <p:stCondLst>
                                            <p:cond delay="0"/>
                                          </p:stCondLst>
                                        </p:cTn>
                                        <p:tgtEl>
                                          <p:spTgt spid="348"/>
                                        </p:tgtEl>
                                        <p:attrNameLst>
                                          <p:attrName>style.visibility</p:attrName>
                                        </p:attrNameLst>
                                      </p:cBhvr>
                                      <p:to>
                                        <p:strVal val="visible"/>
                                      </p:to>
                                    </p:set>
                                    <p:anim calcmode="lin" valueType="num">
                                      <p:cBhvr additive="base">
                                        <p:cTn id="17" dur="500"/>
                                        <p:tgtEl>
                                          <p:spTgt spid="348"/>
                                        </p:tgtEl>
                                        <p:attrNameLst>
                                          <p:attrName>ppt_y</p:attrName>
                                        </p:attrNameLst>
                                      </p:cBhvr>
                                      <p:tavLst>
                                        <p:tav tm="0">
                                          <p:val>
                                            <p:strVal val="#ppt_y+#ppt_h*1.125000"/>
                                          </p:val>
                                        </p:tav>
                                        <p:tav tm="100000">
                                          <p:val>
                                            <p:strVal val="#ppt_y"/>
                                          </p:val>
                                        </p:tav>
                                      </p:tavLst>
                                    </p:anim>
                                    <p:animEffect transition="in" filter="wipe(up)">
                                      <p:cBhvr>
                                        <p:cTn id="18" dur="500"/>
                                        <p:tgtEl>
                                          <p:spTgt spid="348"/>
                                        </p:tgtEl>
                                      </p:cBhvr>
                                    </p:animEffect>
                                  </p:childTnLst>
                                </p:cTn>
                              </p:par>
                            </p:childTnLst>
                          </p:cTn>
                        </p:par>
                        <p:par>
                          <p:cTn id="19" fill="hold">
                            <p:stCondLst>
                              <p:cond delay="1500"/>
                            </p:stCondLst>
                            <p:childTnLst>
                              <p:par>
                                <p:cTn id="20" presetID="12" presetClass="entr" presetSubtype="4" fill="hold" grpId="0" nodeType="afterEffect">
                                  <p:stCondLst>
                                    <p:cond delay="0"/>
                                  </p:stCondLst>
                                  <p:childTnLst>
                                    <p:set>
                                      <p:cBhvr>
                                        <p:cTn id="21" dur="1" fill="hold">
                                          <p:stCondLst>
                                            <p:cond delay="0"/>
                                          </p:stCondLst>
                                        </p:cTn>
                                        <p:tgtEl>
                                          <p:spTgt spid="109"/>
                                        </p:tgtEl>
                                        <p:attrNameLst>
                                          <p:attrName>style.visibility</p:attrName>
                                        </p:attrNameLst>
                                      </p:cBhvr>
                                      <p:to>
                                        <p:strVal val="visible"/>
                                      </p:to>
                                    </p:set>
                                    <p:anim calcmode="lin" valueType="num">
                                      <p:cBhvr additive="base">
                                        <p:cTn id="22" dur="500"/>
                                        <p:tgtEl>
                                          <p:spTgt spid="109"/>
                                        </p:tgtEl>
                                        <p:attrNameLst>
                                          <p:attrName>ppt_y</p:attrName>
                                        </p:attrNameLst>
                                      </p:cBhvr>
                                      <p:tavLst>
                                        <p:tav tm="0">
                                          <p:val>
                                            <p:strVal val="#ppt_y+#ppt_h*1.125000"/>
                                          </p:val>
                                        </p:tav>
                                        <p:tav tm="100000">
                                          <p:val>
                                            <p:strVal val="#ppt_y"/>
                                          </p:val>
                                        </p:tav>
                                      </p:tavLst>
                                    </p:anim>
                                    <p:animEffect transition="in" filter="wipe(up)">
                                      <p:cBhvr>
                                        <p:cTn id="23" dur="500"/>
                                        <p:tgtEl>
                                          <p:spTgt spid="109"/>
                                        </p:tgtEl>
                                      </p:cBhvr>
                                    </p:animEffect>
                                  </p:childTnLst>
                                </p:cTn>
                              </p:par>
                            </p:childTnLst>
                          </p:cTn>
                        </p:par>
                        <p:par>
                          <p:cTn id="24" fill="hold">
                            <p:stCondLst>
                              <p:cond delay="2000"/>
                            </p:stCondLst>
                            <p:childTnLst>
                              <p:par>
                                <p:cTn id="25" presetID="12" presetClass="entr" presetSubtype="4" fill="hold" grpId="0" nodeType="afterEffect">
                                  <p:stCondLst>
                                    <p:cond delay="0"/>
                                  </p:stCondLst>
                                  <p:childTnLst>
                                    <p:set>
                                      <p:cBhvr>
                                        <p:cTn id="26" dur="1" fill="hold">
                                          <p:stCondLst>
                                            <p:cond delay="0"/>
                                          </p:stCondLst>
                                        </p:cTn>
                                        <p:tgtEl>
                                          <p:spTgt spid="110"/>
                                        </p:tgtEl>
                                        <p:attrNameLst>
                                          <p:attrName>style.visibility</p:attrName>
                                        </p:attrNameLst>
                                      </p:cBhvr>
                                      <p:to>
                                        <p:strVal val="visible"/>
                                      </p:to>
                                    </p:set>
                                    <p:anim calcmode="lin" valueType="num">
                                      <p:cBhvr additive="base">
                                        <p:cTn id="27" dur="500"/>
                                        <p:tgtEl>
                                          <p:spTgt spid="110"/>
                                        </p:tgtEl>
                                        <p:attrNameLst>
                                          <p:attrName>ppt_y</p:attrName>
                                        </p:attrNameLst>
                                      </p:cBhvr>
                                      <p:tavLst>
                                        <p:tav tm="0">
                                          <p:val>
                                            <p:strVal val="#ppt_y+#ppt_h*1.125000"/>
                                          </p:val>
                                        </p:tav>
                                        <p:tav tm="100000">
                                          <p:val>
                                            <p:strVal val="#ppt_y"/>
                                          </p:val>
                                        </p:tav>
                                      </p:tavLst>
                                    </p:anim>
                                    <p:animEffect transition="in" filter="wipe(up)">
                                      <p:cBhvr>
                                        <p:cTn id="28" dur="500"/>
                                        <p:tgtEl>
                                          <p:spTgt spid="110"/>
                                        </p:tgtEl>
                                      </p:cBhvr>
                                    </p:animEffect>
                                  </p:childTnLst>
                                </p:cTn>
                              </p:par>
                            </p:childTnLst>
                          </p:cTn>
                        </p:par>
                        <p:par>
                          <p:cTn id="29" fill="hold">
                            <p:stCondLst>
                              <p:cond delay="2500"/>
                            </p:stCondLst>
                            <p:childTnLst>
                              <p:par>
                                <p:cTn id="30" presetID="12" presetClass="entr" presetSubtype="4" fill="hold" grpId="0" nodeType="afterEffect">
                                  <p:stCondLst>
                                    <p:cond delay="0"/>
                                  </p:stCondLst>
                                  <p:childTnLst>
                                    <p:set>
                                      <p:cBhvr>
                                        <p:cTn id="31" dur="1" fill="hold">
                                          <p:stCondLst>
                                            <p:cond delay="0"/>
                                          </p:stCondLst>
                                        </p:cTn>
                                        <p:tgtEl>
                                          <p:spTgt spid="357"/>
                                        </p:tgtEl>
                                        <p:attrNameLst>
                                          <p:attrName>style.visibility</p:attrName>
                                        </p:attrNameLst>
                                      </p:cBhvr>
                                      <p:to>
                                        <p:strVal val="visible"/>
                                      </p:to>
                                    </p:set>
                                    <p:anim calcmode="lin" valueType="num">
                                      <p:cBhvr additive="base">
                                        <p:cTn id="32" dur="500"/>
                                        <p:tgtEl>
                                          <p:spTgt spid="357"/>
                                        </p:tgtEl>
                                        <p:attrNameLst>
                                          <p:attrName>ppt_y</p:attrName>
                                        </p:attrNameLst>
                                      </p:cBhvr>
                                      <p:tavLst>
                                        <p:tav tm="0">
                                          <p:val>
                                            <p:strVal val="#ppt_y+#ppt_h*1.125000"/>
                                          </p:val>
                                        </p:tav>
                                        <p:tav tm="100000">
                                          <p:val>
                                            <p:strVal val="#ppt_y"/>
                                          </p:val>
                                        </p:tav>
                                      </p:tavLst>
                                    </p:anim>
                                    <p:animEffect transition="in" filter="wipe(up)">
                                      <p:cBhvr>
                                        <p:cTn id="33" dur="500"/>
                                        <p:tgtEl>
                                          <p:spTgt spid="357"/>
                                        </p:tgtEl>
                                      </p:cBhvr>
                                    </p:animEffect>
                                  </p:childTnLst>
                                </p:cTn>
                              </p:par>
                            </p:childTnLst>
                          </p:cTn>
                        </p:par>
                        <p:par>
                          <p:cTn id="34" fill="hold">
                            <p:stCondLst>
                              <p:cond delay="3000"/>
                            </p:stCondLst>
                            <p:childTnLst>
                              <p:par>
                                <p:cTn id="35" presetID="12" presetClass="entr" presetSubtype="4" fill="hold" grpId="0" nodeType="afterEffect">
                                  <p:stCondLst>
                                    <p:cond delay="0"/>
                                  </p:stCondLst>
                                  <p:childTnLst>
                                    <p:set>
                                      <p:cBhvr>
                                        <p:cTn id="36" dur="1" fill="hold">
                                          <p:stCondLst>
                                            <p:cond delay="0"/>
                                          </p:stCondLst>
                                        </p:cTn>
                                        <p:tgtEl>
                                          <p:spTgt spid="345"/>
                                        </p:tgtEl>
                                        <p:attrNameLst>
                                          <p:attrName>style.visibility</p:attrName>
                                        </p:attrNameLst>
                                      </p:cBhvr>
                                      <p:to>
                                        <p:strVal val="visible"/>
                                      </p:to>
                                    </p:set>
                                    <p:anim calcmode="lin" valueType="num">
                                      <p:cBhvr additive="base">
                                        <p:cTn id="37" dur="500"/>
                                        <p:tgtEl>
                                          <p:spTgt spid="345"/>
                                        </p:tgtEl>
                                        <p:attrNameLst>
                                          <p:attrName>ppt_y</p:attrName>
                                        </p:attrNameLst>
                                      </p:cBhvr>
                                      <p:tavLst>
                                        <p:tav tm="0">
                                          <p:val>
                                            <p:strVal val="#ppt_y+#ppt_h*1.125000"/>
                                          </p:val>
                                        </p:tav>
                                        <p:tav tm="100000">
                                          <p:val>
                                            <p:strVal val="#ppt_y"/>
                                          </p:val>
                                        </p:tav>
                                      </p:tavLst>
                                    </p:anim>
                                    <p:animEffect transition="in" filter="wipe(up)">
                                      <p:cBhvr>
                                        <p:cTn id="38" dur="500"/>
                                        <p:tgtEl>
                                          <p:spTgt spid="3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2" grpId="0" animBg="1"/>
      <p:bldP spid="345" grpId="0" animBg="1"/>
      <p:bldP spid="348" grpId="0" animBg="1"/>
      <p:bldP spid="354" grpId="0" animBg="1"/>
      <p:bldP spid="357" grpId="0" animBg="1"/>
      <p:bldP spid="109" grpId="0" animBg="1"/>
      <p:bldP spid="110"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E1078B8-B326-4EA1-8883-CB88CB942540}"/>
              </a:ext>
            </a:extLst>
          </p:cNvPr>
          <p:cNvSpPr>
            <a:spLocks noGrp="1"/>
          </p:cNvSpPr>
          <p:nvPr>
            <p:ph type="body" sz="quarter" idx="11"/>
          </p:nvPr>
        </p:nvSpPr>
        <p:spPr/>
        <p:txBody>
          <a:bodyPr/>
          <a:lstStyle/>
          <a:p>
            <a:r>
              <a:rPr lang="en-US" dirty="0"/>
              <a:t>Why CDI</a:t>
            </a:r>
          </a:p>
        </p:txBody>
      </p:sp>
      <p:sp>
        <p:nvSpPr>
          <p:cNvPr id="3" name="Text Placeholder 2">
            <a:extLst>
              <a:ext uri="{FF2B5EF4-FFF2-40B4-BE49-F238E27FC236}">
                <a16:creationId xmlns:a16="http://schemas.microsoft.com/office/drawing/2014/main" id="{0D7C57D8-3770-40AD-A660-65C7332D0223}"/>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3140723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C88A66-D6BD-4FC8-A1C8-7E16F81B3BD4}"/>
              </a:ext>
            </a:extLst>
          </p:cNvPr>
          <p:cNvSpPr>
            <a:spLocks noGrp="1"/>
          </p:cNvSpPr>
          <p:nvPr>
            <p:ph type="title"/>
          </p:nvPr>
        </p:nvSpPr>
        <p:spPr>
          <a:xfrm>
            <a:off x="407120" y="344023"/>
            <a:ext cx="11195177" cy="562427"/>
          </a:xfrm>
        </p:spPr>
        <p:txBody>
          <a:bodyPr/>
          <a:lstStyle/>
          <a:p>
            <a:r>
              <a:rPr lang="en-US" dirty="0"/>
              <a:t>CDW/DL</a:t>
            </a:r>
            <a:endParaRPr lang="en-US" dirty="0">
              <a:solidFill>
                <a:schemeClr val="tx1"/>
              </a:solidFill>
            </a:endParaRPr>
          </a:p>
        </p:txBody>
      </p:sp>
      <p:grpSp>
        <p:nvGrpSpPr>
          <p:cNvPr id="17" name="Group 16">
            <a:extLst>
              <a:ext uri="{FF2B5EF4-FFF2-40B4-BE49-F238E27FC236}">
                <a16:creationId xmlns:a16="http://schemas.microsoft.com/office/drawing/2014/main" id="{33B4327A-E6D3-F642-846C-9066F673E433}"/>
              </a:ext>
            </a:extLst>
          </p:cNvPr>
          <p:cNvGrpSpPr/>
          <p:nvPr/>
        </p:nvGrpSpPr>
        <p:grpSpPr>
          <a:xfrm>
            <a:off x="11056311" y="1786"/>
            <a:ext cx="1136339" cy="788729"/>
            <a:chOff x="11246437" y="0"/>
            <a:chExt cx="950976" cy="638827"/>
          </a:xfrm>
        </p:grpSpPr>
        <p:sp>
          <p:nvSpPr>
            <p:cNvPr id="18" name="Pentagon 17">
              <a:extLst>
                <a:ext uri="{FF2B5EF4-FFF2-40B4-BE49-F238E27FC236}">
                  <a16:creationId xmlns:a16="http://schemas.microsoft.com/office/drawing/2014/main" id="{4FEBB5DC-1DD0-C64A-BB88-B5EB9D1A4AA4}"/>
                </a:ext>
              </a:extLst>
            </p:cNvPr>
            <p:cNvSpPr/>
            <p:nvPr/>
          </p:nvSpPr>
          <p:spPr>
            <a:xfrm rot="5400000">
              <a:off x="11402511" y="-156074"/>
              <a:ext cx="638827" cy="950976"/>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37088" tIns="91392" rIns="137088" bIns="91392" rtlCol="0" anchor="ctr"/>
            <a:lstStyle/>
            <a:p>
              <a:pPr algn="ctr"/>
              <a:endParaRPr lang="en-US" sz="1798">
                <a:latin typeface="Roboto" charset="0"/>
                <a:ea typeface="Roboto" charset="0"/>
                <a:cs typeface="Roboto" charset="0"/>
              </a:endParaRPr>
            </a:p>
          </p:txBody>
        </p:sp>
        <p:sp>
          <p:nvSpPr>
            <p:cNvPr id="19" name="TextBox 18">
              <a:extLst>
                <a:ext uri="{FF2B5EF4-FFF2-40B4-BE49-F238E27FC236}">
                  <a16:creationId xmlns:a16="http://schemas.microsoft.com/office/drawing/2014/main" id="{55F239A8-4130-6444-A0D0-73328100D93D}"/>
                </a:ext>
              </a:extLst>
            </p:cNvPr>
            <p:cNvSpPr txBox="1"/>
            <p:nvPr/>
          </p:nvSpPr>
          <p:spPr>
            <a:xfrm>
              <a:off x="11277600" y="32004"/>
              <a:ext cx="914400" cy="450601"/>
            </a:xfrm>
            <a:prstGeom prst="rect">
              <a:avLst/>
            </a:prstGeom>
            <a:noFill/>
          </p:spPr>
          <p:txBody>
            <a:bodyPr wrap="square" lIns="0" tIns="0" rIns="0" bIns="0" rtlCol="0">
              <a:noAutofit/>
            </a:bodyPr>
            <a:lstStyle/>
            <a:p>
              <a:pPr algn="ctr">
                <a:lnSpc>
                  <a:spcPct val="90000"/>
                </a:lnSpc>
                <a:spcAft>
                  <a:spcPts val="1000"/>
                </a:spcAft>
              </a:pPr>
              <a:r>
                <a:rPr lang="en-US" sz="1300" dirty="0">
                  <a:solidFill>
                    <a:schemeClr val="bg1"/>
                  </a:solidFill>
                  <a:latin typeface="Roboto" charset="0"/>
                  <a:ea typeface="Roboto" charset="0"/>
                  <a:cs typeface="Roboto" charset="0"/>
                </a:rPr>
                <a:t>Cost Overruns: Optimization Engine</a:t>
              </a:r>
            </a:p>
          </p:txBody>
        </p:sp>
      </p:grpSp>
      <p:grpSp>
        <p:nvGrpSpPr>
          <p:cNvPr id="6" name="Group 5">
            <a:extLst>
              <a:ext uri="{FF2B5EF4-FFF2-40B4-BE49-F238E27FC236}">
                <a16:creationId xmlns:a16="http://schemas.microsoft.com/office/drawing/2014/main" id="{F75E22CC-2F53-4CC2-80ED-E7B2A4248E35}"/>
              </a:ext>
            </a:extLst>
          </p:cNvPr>
          <p:cNvGrpSpPr/>
          <p:nvPr/>
        </p:nvGrpSpPr>
        <p:grpSpPr>
          <a:xfrm>
            <a:off x="1" y="3304548"/>
            <a:ext cx="12036650" cy="1339637"/>
            <a:chOff x="1" y="3304516"/>
            <a:chExt cx="12039785" cy="1339986"/>
          </a:xfrm>
        </p:grpSpPr>
        <p:pic>
          <p:nvPicPr>
            <p:cNvPr id="141" name="Picture 140">
              <a:extLst>
                <a:ext uri="{FF2B5EF4-FFF2-40B4-BE49-F238E27FC236}">
                  <a16:creationId xmlns:a16="http://schemas.microsoft.com/office/drawing/2014/main" id="{97217B10-ED15-4065-942E-692D509B4FE3}"/>
                </a:ext>
              </a:extLst>
            </p:cNvPr>
            <p:cNvPicPr>
              <a:picLocks noChangeAspect="1"/>
            </p:cNvPicPr>
            <p:nvPr/>
          </p:nvPicPr>
          <p:blipFill>
            <a:blip r:embed="rId4" cstate="screen">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tretch>
              <a:fillRect/>
            </a:stretch>
          </p:blipFill>
          <p:spPr>
            <a:xfrm>
              <a:off x="8735376" y="3440088"/>
              <a:ext cx="357211" cy="590093"/>
            </a:xfrm>
            <a:prstGeom prst="rect">
              <a:avLst/>
            </a:prstGeom>
          </p:spPr>
        </p:pic>
        <p:pic>
          <p:nvPicPr>
            <p:cNvPr id="142" name="Picture 141">
              <a:extLst>
                <a:ext uri="{FF2B5EF4-FFF2-40B4-BE49-F238E27FC236}">
                  <a16:creationId xmlns:a16="http://schemas.microsoft.com/office/drawing/2014/main" id="{76040A45-F7BA-4A74-BFB0-5D74757614B8}"/>
                </a:ext>
              </a:extLst>
            </p:cNvPr>
            <p:cNvPicPr>
              <a:picLocks noChangeAspect="1"/>
            </p:cNvPicPr>
            <p:nvPr/>
          </p:nvPicPr>
          <p:blipFill>
            <a:blip r:embed="rId4" cstate="screen">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tretch>
              <a:fillRect/>
            </a:stretch>
          </p:blipFill>
          <p:spPr>
            <a:xfrm>
              <a:off x="9093609" y="3440088"/>
              <a:ext cx="357211" cy="590093"/>
            </a:xfrm>
            <a:prstGeom prst="rect">
              <a:avLst/>
            </a:prstGeom>
          </p:spPr>
        </p:pic>
        <p:pic>
          <p:nvPicPr>
            <p:cNvPr id="143" name="Picture 142">
              <a:extLst>
                <a:ext uri="{FF2B5EF4-FFF2-40B4-BE49-F238E27FC236}">
                  <a16:creationId xmlns:a16="http://schemas.microsoft.com/office/drawing/2014/main" id="{57743235-AF77-4F11-B896-8156F861F1EC}"/>
                </a:ext>
              </a:extLst>
            </p:cNvPr>
            <p:cNvPicPr>
              <a:picLocks noChangeAspect="1"/>
            </p:cNvPicPr>
            <p:nvPr/>
          </p:nvPicPr>
          <p:blipFill>
            <a:blip r:embed="rId4" cstate="screen">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tretch>
              <a:fillRect/>
            </a:stretch>
          </p:blipFill>
          <p:spPr>
            <a:xfrm>
              <a:off x="9451842" y="3440088"/>
              <a:ext cx="357211" cy="590093"/>
            </a:xfrm>
            <a:prstGeom prst="rect">
              <a:avLst/>
            </a:prstGeom>
          </p:spPr>
        </p:pic>
        <p:pic>
          <p:nvPicPr>
            <p:cNvPr id="144" name="Picture 143">
              <a:extLst>
                <a:ext uri="{FF2B5EF4-FFF2-40B4-BE49-F238E27FC236}">
                  <a16:creationId xmlns:a16="http://schemas.microsoft.com/office/drawing/2014/main" id="{92199407-8BCD-4E3E-AE30-1BEA06E59AB2}"/>
                </a:ext>
              </a:extLst>
            </p:cNvPr>
            <p:cNvPicPr>
              <a:picLocks noChangeAspect="1"/>
            </p:cNvPicPr>
            <p:nvPr/>
          </p:nvPicPr>
          <p:blipFill>
            <a:blip r:embed="rId4" cstate="screen">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tretch>
              <a:fillRect/>
            </a:stretch>
          </p:blipFill>
          <p:spPr>
            <a:xfrm>
              <a:off x="9810075" y="3440088"/>
              <a:ext cx="357211" cy="590093"/>
            </a:xfrm>
            <a:prstGeom prst="rect">
              <a:avLst/>
            </a:prstGeom>
          </p:spPr>
        </p:pic>
        <p:pic>
          <p:nvPicPr>
            <p:cNvPr id="145" name="Picture 144">
              <a:extLst>
                <a:ext uri="{FF2B5EF4-FFF2-40B4-BE49-F238E27FC236}">
                  <a16:creationId xmlns:a16="http://schemas.microsoft.com/office/drawing/2014/main" id="{EC73960C-2109-4955-9CA5-B107E446F566}"/>
                </a:ext>
              </a:extLst>
            </p:cNvPr>
            <p:cNvPicPr>
              <a:picLocks noChangeAspect="1"/>
            </p:cNvPicPr>
            <p:nvPr/>
          </p:nvPicPr>
          <p:blipFill>
            <a:blip r:embed="rId4" cstate="screen">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tretch>
              <a:fillRect/>
            </a:stretch>
          </p:blipFill>
          <p:spPr>
            <a:xfrm>
              <a:off x="10168308" y="3440088"/>
              <a:ext cx="357211" cy="590093"/>
            </a:xfrm>
            <a:prstGeom prst="rect">
              <a:avLst/>
            </a:prstGeom>
          </p:spPr>
        </p:pic>
        <p:pic>
          <p:nvPicPr>
            <p:cNvPr id="146" name="Picture 145">
              <a:extLst>
                <a:ext uri="{FF2B5EF4-FFF2-40B4-BE49-F238E27FC236}">
                  <a16:creationId xmlns:a16="http://schemas.microsoft.com/office/drawing/2014/main" id="{ABD7AC49-F523-4D0C-9EC9-2A0B1DE3D35C}"/>
                </a:ext>
              </a:extLst>
            </p:cNvPr>
            <p:cNvPicPr>
              <a:picLocks noChangeAspect="1"/>
            </p:cNvPicPr>
            <p:nvPr/>
          </p:nvPicPr>
          <p:blipFill>
            <a:blip r:embed="rId4" cstate="screen">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tretch>
              <a:fillRect/>
            </a:stretch>
          </p:blipFill>
          <p:spPr>
            <a:xfrm>
              <a:off x="10526543" y="3440088"/>
              <a:ext cx="357211" cy="590093"/>
            </a:xfrm>
            <a:prstGeom prst="rect">
              <a:avLst/>
            </a:prstGeom>
          </p:spPr>
        </p:pic>
        <p:pic>
          <p:nvPicPr>
            <p:cNvPr id="147" name="Picture 146">
              <a:extLst>
                <a:ext uri="{FF2B5EF4-FFF2-40B4-BE49-F238E27FC236}">
                  <a16:creationId xmlns:a16="http://schemas.microsoft.com/office/drawing/2014/main" id="{0A9B1DC2-7AB9-4659-A1D7-AA598EFADCAF}"/>
                </a:ext>
              </a:extLst>
            </p:cNvPr>
            <p:cNvPicPr>
              <a:picLocks noChangeAspect="1"/>
            </p:cNvPicPr>
            <p:nvPr/>
          </p:nvPicPr>
          <p:blipFill>
            <a:blip r:embed="rId4" cstate="screen">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tretch>
              <a:fillRect/>
            </a:stretch>
          </p:blipFill>
          <p:spPr>
            <a:xfrm>
              <a:off x="8377143" y="3440088"/>
              <a:ext cx="357211" cy="590093"/>
            </a:xfrm>
            <a:prstGeom prst="rect">
              <a:avLst/>
            </a:prstGeom>
          </p:spPr>
        </p:pic>
        <p:sp>
          <p:nvSpPr>
            <p:cNvPr id="83" name="Arrow: Down 82">
              <a:extLst>
                <a:ext uri="{FF2B5EF4-FFF2-40B4-BE49-F238E27FC236}">
                  <a16:creationId xmlns:a16="http://schemas.microsoft.com/office/drawing/2014/main" id="{1334C3DA-BA69-49DF-A6A7-753759518EC3}"/>
                </a:ext>
              </a:extLst>
            </p:cNvPr>
            <p:cNvSpPr/>
            <p:nvPr/>
          </p:nvSpPr>
          <p:spPr>
            <a:xfrm rot="16200000">
              <a:off x="1480882" y="1950926"/>
              <a:ext cx="1052185" cy="4013947"/>
            </a:xfrm>
            <a:prstGeom prst="downArrow">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lIns="137124" tIns="91416" rIns="137124" bIns="91416" rtlCol="0" anchor="ctr"/>
            <a:lstStyle/>
            <a:p>
              <a:pPr algn="ctr"/>
              <a:endParaRPr lang="en-US" sz="1799">
                <a:latin typeface="Roboto" charset="0"/>
                <a:ea typeface="Roboto" charset="0"/>
                <a:cs typeface="Roboto" charset="0"/>
              </a:endParaRPr>
            </a:p>
          </p:txBody>
        </p:sp>
        <p:sp>
          <p:nvSpPr>
            <p:cNvPr id="180" name="Rectangle 179">
              <a:extLst>
                <a:ext uri="{FF2B5EF4-FFF2-40B4-BE49-F238E27FC236}">
                  <a16:creationId xmlns:a16="http://schemas.microsoft.com/office/drawing/2014/main" id="{033F324B-C01A-4B51-83D1-E38FE2A6E8AB}"/>
                </a:ext>
              </a:extLst>
            </p:cNvPr>
            <p:cNvSpPr/>
            <p:nvPr/>
          </p:nvSpPr>
          <p:spPr>
            <a:xfrm>
              <a:off x="476788" y="3304516"/>
              <a:ext cx="2842525" cy="13399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24" tIns="91416" rIns="137124" bIns="91416" rtlCol="0" anchor="ctr"/>
            <a:lstStyle/>
            <a:p>
              <a:pPr algn="ctr"/>
              <a:r>
                <a:rPr lang="en-US" sz="2799">
                  <a:solidFill>
                    <a:schemeClr val="accent2"/>
                  </a:solidFill>
                  <a:latin typeface="Roboto" charset="0"/>
                  <a:ea typeface="Roboto" charset="0"/>
                  <a:cs typeface="Roboto" charset="0"/>
                </a:rPr>
                <a:t>Spark</a:t>
              </a:r>
            </a:p>
          </p:txBody>
        </p:sp>
        <p:sp>
          <p:nvSpPr>
            <p:cNvPr id="77" name="Rectangle 76">
              <a:extLst>
                <a:ext uri="{FF2B5EF4-FFF2-40B4-BE49-F238E27FC236}">
                  <a16:creationId xmlns:a16="http://schemas.microsoft.com/office/drawing/2014/main" id="{C67EFF58-F0E5-42A4-A8DC-DC8C7B37CF1D}"/>
                </a:ext>
              </a:extLst>
            </p:cNvPr>
            <p:cNvSpPr/>
            <p:nvPr/>
          </p:nvSpPr>
          <p:spPr>
            <a:xfrm>
              <a:off x="3968985" y="3557237"/>
              <a:ext cx="4029948" cy="751774"/>
            </a:xfrm>
            <a:prstGeom prst="rect">
              <a:avLst/>
            </a:prstGeom>
            <a:solidFill>
              <a:schemeClr val="bg1">
                <a:lumMod val="50000"/>
              </a:schemeClr>
            </a:solidFill>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9615" tIns="78822" rIns="89615" bIns="78822" numCol="1" spcCol="1270" anchor="ctr" anchorCtr="0">
              <a:noAutofit/>
            </a:bodyPr>
            <a:lstStyle/>
            <a:p>
              <a:pPr algn="ctr" defTabSz="755423">
                <a:lnSpc>
                  <a:spcPct val="90000"/>
                </a:lnSpc>
                <a:spcBef>
                  <a:spcPct val="0"/>
                </a:spcBef>
                <a:spcAft>
                  <a:spcPct val="35000"/>
                </a:spcAft>
              </a:pPr>
              <a:r>
                <a:rPr lang="en-US" sz="1799">
                  <a:latin typeface="+mj-lt"/>
                </a:rPr>
                <a:t>Informatica sends the work to a large number of Spark servers</a:t>
              </a:r>
            </a:p>
          </p:txBody>
        </p:sp>
        <p:sp>
          <p:nvSpPr>
            <p:cNvPr id="86" name="TextBox 85">
              <a:extLst>
                <a:ext uri="{FF2B5EF4-FFF2-40B4-BE49-F238E27FC236}">
                  <a16:creationId xmlns:a16="http://schemas.microsoft.com/office/drawing/2014/main" id="{91E563C1-3DDA-4F6D-A730-C98BD9AAF89C}"/>
                </a:ext>
              </a:extLst>
            </p:cNvPr>
            <p:cNvSpPr txBox="1"/>
            <p:nvPr/>
          </p:nvSpPr>
          <p:spPr>
            <a:xfrm>
              <a:off x="112734" y="3764096"/>
              <a:ext cx="364054" cy="375781"/>
            </a:xfrm>
            <a:prstGeom prst="rect">
              <a:avLst/>
            </a:prstGeom>
            <a:noFill/>
          </p:spPr>
          <p:txBody>
            <a:bodyPr wrap="square" lIns="0" tIns="0" rIns="0" bIns="0" rtlCol="0">
              <a:noAutofit/>
            </a:bodyPr>
            <a:lstStyle/>
            <a:p>
              <a:pPr>
                <a:lnSpc>
                  <a:spcPct val="90000"/>
                </a:lnSpc>
                <a:spcAft>
                  <a:spcPts val="1000"/>
                </a:spcAft>
              </a:pPr>
              <a:endParaRPr lang="en-US" sz="3199" b="1" dirty="0">
                <a:solidFill>
                  <a:schemeClr val="bg1"/>
                </a:solidFill>
                <a:latin typeface="Roboto" charset="0"/>
                <a:ea typeface="Roboto" charset="0"/>
                <a:cs typeface="Roboto" charset="0"/>
              </a:endParaRPr>
            </a:p>
          </p:txBody>
        </p:sp>
        <p:pic>
          <p:nvPicPr>
            <p:cNvPr id="118" name="Picture 4">
              <a:extLst>
                <a:ext uri="{FF2B5EF4-FFF2-40B4-BE49-F238E27FC236}">
                  <a16:creationId xmlns:a16="http://schemas.microsoft.com/office/drawing/2014/main" id="{F5C9F2F9-B0F3-45D0-AC7A-61FB69743C2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883754" y="3785084"/>
              <a:ext cx="1156032" cy="590093"/>
            </a:xfrm>
            <a:prstGeom prst="rect">
              <a:avLst/>
            </a:prstGeom>
            <a:noFill/>
            <a:extLst>
              <a:ext uri="{909E8E84-426E-40DD-AFC4-6F175D3DCCD1}">
                <a14:hiddenFill xmlns:a14="http://schemas.microsoft.com/office/drawing/2010/main">
                  <a:solidFill>
                    <a:srgbClr val="FFFFFF"/>
                  </a:solidFill>
                </a14:hiddenFill>
              </a:ext>
            </a:extLst>
          </p:spPr>
        </p:pic>
        <p:pic>
          <p:nvPicPr>
            <p:cNvPr id="121" name="Picture 120">
              <a:extLst>
                <a:ext uri="{FF2B5EF4-FFF2-40B4-BE49-F238E27FC236}">
                  <a16:creationId xmlns:a16="http://schemas.microsoft.com/office/drawing/2014/main" id="{D196BD0F-9DD8-40A0-82DA-B73E4DC0416A}"/>
                </a:ext>
              </a:extLst>
            </p:cNvPr>
            <p:cNvPicPr>
              <a:picLocks noChangeAspect="1"/>
            </p:cNvPicPr>
            <p:nvPr/>
          </p:nvPicPr>
          <p:blipFill>
            <a:blip r:embed="rId4" cstate="screen">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tretch>
              <a:fillRect/>
            </a:stretch>
          </p:blipFill>
          <p:spPr>
            <a:xfrm>
              <a:off x="8556771" y="3824970"/>
              <a:ext cx="357211" cy="590093"/>
            </a:xfrm>
            <a:prstGeom prst="rect">
              <a:avLst/>
            </a:prstGeom>
            <a:solidFill>
              <a:schemeClr val="bg1"/>
            </a:solidFill>
          </p:spPr>
        </p:pic>
        <p:pic>
          <p:nvPicPr>
            <p:cNvPr id="122" name="Picture 121">
              <a:extLst>
                <a:ext uri="{FF2B5EF4-FFF2-40B4-BE49-F238E27FC236}">
                  <a16:creationId xmlns:a16="http://schemas.microsoft.com/office/drawing/2014/main" id="{167A3648-5CE2-47F7-A1B4-9487942AC8EC}"/>
                </a:ext>
              </a:extLst>
            </p:cNvPr>
            <p:cNvPicPr>
              <a:picLocks noChangeAspect="1"/>
            </p:cNvPicPr>
            <p:nvPr/>
          </p:nvPicPr>
          <p:blipFill>
            <a:blip r:embed="rId4" cstate="screen">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tretch>
              <a:fillRect/>
            </a:stretch>
          </p:blipFill>
          <p:spPr>
            <a:xfrm>
              <a:off x="8915004" y="3824970"/>
              <a:ext cx="357211" cy="590093"/>
            </a:xfrm>
            <a:prstGeom prst="rect">
              <a:avLst/>
            </a:prstGeom>
            <a:solidFill>
              <a:schemeClr val="bg1"/>
            </a:solidFill>
          </p:spPr>
        </p:pic>
        <p:pic>
          <p:nvPicPr>
            <p:cNvPr id="125" name="Picture 124">
              <a:extLst>
                <a:ext uri="{FF2B5EF4-FFF2-40B4-BE49-F238E27FC236}">
                  <a16:creationId xmlns:a16="http://schemas.microsoft.com/office/drawing/2014/main" id="{D15B976F-1609-4BE8-8CDC-B75AF9D74552}"/>
                </a:ext>
              </a:extLst>
            </p:cNvPr>
            <p:cNvPicPr>
              <a:picLocks noChangeAspect="1"/>
            </p:cNvPicPr>
            <p:nvPr/>
          </p:nvPicPr>
          <p:blipFill>
            <a:blip r:embed="rId4" cstate="screen">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tretch>
              <a:fillRect/>
            </a:stretch>
          </p:blipFill>
          <p:spPr>
            <a:xfrm>
              <a:off x="9273237" y="3824970"/>
              <a:ext cx="357211" cy="590093"/>
            </a:xfrm>
            <a:prstGeom prst="rect">
              <a:avLst/>
            </a:prstGeom>
            <a:solidFill>
              <a:schemeClr val="bg1"/>
            </a:solidFill>
          </p:spPr>
        </p:pic>
        <p:pic>
          <p:nvPicPr>
            <p:cNvPr id="126" name="Picture 125">
              <a:extLst>
                <a:ext uri="{FF2B5EF4-FFF2-40B4-BE49-F238E27FC236}">
                  <a16:creationId xmlns:a16="http://schemas.microsoft.com/office/drawing/2014/main" id="{93C3EAD1-37AC-4FCE-855E-1E809AA09A04}"/>
                </a:ext>
              </a:extLst>
            </p:cNvPr>
            <p:cNvPicPr>
              <a:picLocks noChangeAspect="1"/>
            </p:cNvPicPr>
            <p:nvPr/>
          </p:nvPicPr>
          <p:blipFill>
            <a:blip r:embed="rId4" cstate="screen">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tretch>
              <a:fillRect/>
            </a:stretch>
          </p:blipFill>
          <p:spPr>
            <a:xfrm>
              <a:off x="9631470" y="3824970"/>
              <a:ext cx="357211" cy="590093"/>
            </a:xfrm>
            <a:prstGeom prst="rect">
              <a:avLst/>
            </a:prstGeom>
            <a:solidFill>
              <a:schemeClr val="bg1"/>
            </a:solidFill>
          </p:spPr>
        </p:pic>
        <p:pic>
          <p:nvPicPr>
            <p:cNvPr id="129" name="Picture 128">
              <a:extLst>
                <a:ext uri="{FF2B5EF4-FFF2-40B4-BE49-F238E27FC236}">
                  <a16:creationId xmlns:a16="http://schemas.microsoft.com/office/drawing/2014/main" id="{F098E99B-A7EF-4922-8CE8-843B0B0AE440}"/>
                </a:ext>
              </a:extLst>
            </p:cNvPr>
            <p:cNvPicPr>
              <a:picLocks noChangeAspect="1"/>
            </p:cNvPicPr>
            <p:nvPr/>
          </p:nvPicPr>
          <p:blipFill>
            <a:blip r:embed="rId4" cstate="screen">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tretch>
              <a:fillRect/>
            </a:stretch>
          </p:blipFill>
          <p:spPr>
            <a:xfrm>
              <a:off x="9989703" y="3824970"/>
              <a:ext cx="357211" cy="590093"/>
            </a:xfrm>
            <a:prstGeom prst="rect">
              <a:avLst/>
            </a:prstGeom>
            <a:solidFill>
              <a:schemeClr val="bg1"/>
            </a:solidFill>
          </p:spPr>
        </p:pic>
        <p:pic>
          <p:nvPicPr>
            <p:cNvPr id="130" name="Picture 129">
              <a:extLst>
                <a:ext uri="{FF2B5EF4-FFF2-40B4-BE49-F238E27FC236}">
                  <a16:creationId xmlns:a16="http://schemas.microsoft.com/office/drawing/2014/main" id="{E35A9D7E-6137-4EB3-A4C6-F886D1C269D8}"/>
                </a:ext>
              </a:extLst>
            </p:cNvPr>
            <p:cNvPicPr>
              <a:picLocks noChangeAspect="1"/>
            </p:cNvPicPr>
            <p:nvPr/>
          </p:nvPicPr>
          <p:blipFill>
            <a:blip r:embed="rId4" cstate="screen">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tretch>
              <a:fillRect/>
            </a:stretch>
          </p:blipFill>
          <p:spPr>
            <a:xfrm>
              <a:off x="10347938" y="3824970"/>
              <a:ext cx="357211" cy="590093"/>
            </a:xfrm>
            <a:prstGeom prst="rect">
              <a:avLst/>
            </a:prstGeom>
            <a:solidFill>
              <a:schemeClr val="bg1"/>
            </a:solidFill>
          </p:spPr>
        </p:pic>
        <p:pic>
          <p:nvPicPr>
            <p:cNvPr id="131" name="Picture 130">
              <a:extLst>
                <a:ext uri="{FF2B5EF4-FFF2-40B4-BE49-F238E27FC236}">
                  <a16:creationId xmlns:a16="http://schemas.microsoft.com/office/drawing/2014/main" id="{253643D7-EEAB-4C97-8BA6-72B195C287B3}"/>
                </a:ext>
              </a:extLst>
            </p:cNvPr>
            <p:cNvPicPr>
              <a:picLocks noChangeAspect="1"/>
            </p:cNvPicPr>
            <p:nvPr/>
          </p:nvPicPr>
          <p:blipFill>
            <a:blip r:embed="rId4" cstate="screen">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tretch>
              <a:fillRect/>
            </a:stretch>
          </p:blipFill>
          <p:spPr>
            <a:xfrm>
              <a:off x="8198538" y="3824970"/>
              <a:ext cx="357211" cy="590093"/>
            </a:xfrm>
            <a:prstGeom prst="rect">
              <a:avLst/>
            </a:prstGeom>
            <a:solidFill>
              <a:schemeClr val="bg1"/>
            </a:solidFill>
          </p:spPr>
        </p:pic>
      </p:grpSp>
      <p:grpSp>
        <p:nvGrpSpPr>
          <p:cNvPr id="7" name="Group 6">
            <a:extLst>
              <a:ext uri="{FF2B5EF4-FFF2-40B4-BE49-F238E27FC236}">
                <a16:creationId xmlns:a16="http://schemas.microsoft.com/office/drawing/2014/main" id="{10F1C803-6D88-4AAD-AA85-150B0EE2D3DF}"/>
              </a:ext>
            </a:extLst>
          </p:cNvPr>
          <p:cNvGrpSpPr/>
          <p:nvPr/>
        </p:nvGrpSpPr>
        <p:grpSpPr>
          <a:xfrm>
            <a:off x="1" y="4982301"/>
            <a:ext cx="9774349" cy="1420523"/>
            <a:chOff x="1" y="4982705"/>
            <a:chExt cx="9776895" cy="1420893"/>
          </a:xfrm>
        </p:grpSpPr>
        <p:sp>
          <p:nvSpPr>
            <p:cNvPr id="85" name="Arrow: Down 84">
              <a:extLst>
                <a:ext uri="{FF2B5EF4-FFF2-40B4-BE49-F238E27FC236}">
                  <a16:creationId xmlns:a16="http://schemas.microsoft.com/office/drawing/2014/main" id="{B0B2AB00-39C6-4F8F-8218-76CB718A5891}"/>
                </a:ext>
              </a:extLst>
            </p:cNvPr>
            <p:cNvSpPr/>
            <p:nvPr/>
          </p:nvSpPr>
          <p:spPr>
            <a:xfrm rot="16200000">
              <a:off x="1480882" y="3650702"/>
              <a:ext cx="1052185" cy="4013947"/>
            </a:xfrm>
            <a:prstGeom prst="downArrow">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lIns="137124" tIns="91416" rIns="137124" bIns="91416" rtlCol="0" anchor="ctr"/>
            <a:lstStyle/>
            <a:p>
              <a:pPr algn="ctr"/>
              <a:endParaRPr lang="en-US" sz="1799">
                <a:latin typeface="Roboto" charset="0"/>
                <a:ea typeface="Roboto" charset="0"/>
                <a:cs typeface="Roboto" charset="0"/>
              </a:endParaRPr>
            </a:p>
          </p:txBody>
        </p:sp>
        <p:sp>
          <p:nvSpPr>
            <p:cNvPr id="181" name="Rectangle 180">
              <a:extLst>
                <a:ext uri="{FF2B5EF4-FFF2-40B4-BE49-F238E27FC236}">
                  <a16:creationId xmlns:a16="http://schemas.microsoft.com/office/drawing/2014/main" id="{05501289-C933-4995-98ED-7AD9D53EA2F3}"/>
                </a:ext>
              </a:extLst>
            </p:cNvPr>
            <p:cNvSpPr/>
            <p:nvPr/>
          </p:nvSpPr>
          <p:spPr>
            <a:xfrm>
              <a:off x="482600" y="4982705"/>
              <a:ext cx="2842525" cy="12643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24" tIns="91416" rIns="137124" bIns="91416" rtlCol="0" anchor="ctr"/>
            <a:lstStyle/>
            <a:p>
              <a:pPr algn="ctr"/>
              <a:r>
                <a:rPr lang="en-US" sz="2799">
                  <a:solidFill>
                    <a:schemeClr val="accent5"/>
                  </a:solidFill>
                  <a:latin typeface="Roboto" charset="0"/>
                  <a:ea typeface="Roboto" charset="0"/>
                  <a:cs typeface="Roboto" charset="0"/>
                </a:rPr>
                <a:t>Traditional ETL</a:t>
              </a:r>
            </a:p>
          </p:txBody>
        </p:sp>
        <p:sp>
          <p:nvSpPr>
            <p:cNvPr id="78" name="Rectangle 77">
              <a:extLst>
                <a:ext uri="{FF2B5EF4-FFF2-40B4-BE49-F238E27FC236}">
                  <a16:creationId xmlns:a16="http://schemas.microsoft.com/office/drawing/2014/main" id="{42776529-F359-4466-8688-8EF0276AB02E}"/>
                </a:ext>
              </a:extLst>
            </p:cNvPr>
            <p:cNvSpPr/>
            <p:nvPr/>
          </p:nvSpPr>
          <p:spPr>
            <a:xfrm>
              <a:off x="3991300" y="5256662"/>
              <a:ext cx="4029948" cy="751774"/>
            </a:xfrm>
            <a:prstGeom prst="rect">
              <a:avLst/>
            </a:prstGeom>
            <a:solidFill>
              <a:schemeClr val="bg1">
                <a:lumMod val="50000"/>
              </a:schemeClr>
            </a:solidFill>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89615" tIns="78822" rIns="89615" bIns="78822" numCol="1" spcCol="1270" anchor="ctr" anchorCtr="0">
              <a:noAutofit/>
            </a:bodyPr>
            <a:lstStyle/>
            <a:p>
              <a:pPr algn="ctr" defTabSz="755423">
                <a:lnSpc>
                  <a:spcPct val="90000"/>
                </a:lnSpc>
                <a:spcBef>
                  <a:spcPct val="0"/>
                </a:spcBef>
                <a:spcAft>
                  <a:spcPct val="35000"/>
                </a:spcAft>
              </a:pPr>
              <a:r>
                <a:rPr lang="en-US" sz="1799">
                  <a:latin typeface="+mj-lt"/>
                </a:rPr>
                <a:t>Do the work on an Informatica server</a:t>
              </a:r>
            </a:p>
          </p:txBody>
        </p:sp>
        <p:pic>
          <p:nvPicPr>
            <p:cNvPr id="139" name="Picture 8" descr="Informatica – Bloor Research">
              <a:extLst>
                <a:ext uri="{FF2B5EF4-FFF2-40B4-BE49-F238E27FC236}">
                  <a16:creationId xmlns:a16="http://schemas.microsoft.com/office/drawing/2014/main" id="{44CA36B7-7A13-4E83-8610-B96BDC8A410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41182" y="5551024"/>
              <a:ext cx="1335698" cy="852574"/>
            </a:xfrm>
            <a:prstGeom prst="rect">
              <a:avLst/>
            </a:prstGeom>
            <a:noFill/>
            <a:extLst>
              <a:ext uri="{909E8E84-426E-40DD-AFC4-6F175D3DCCD1}">
                <a14:hiddenFill xmlns:a14="http://schemas.microsoft.com/office/drawing/2010/main">
                  <a:solidFill>
                    <a:srgbClr val="FFFFFF"/>
                  </a:solidFill>
                </a14:hiddenFill>
              </a:ext>
            </a:extLst>
          </p:spPr>
        </p:pic>
        <p:pic>
          <p:nvPicPr>
            <p:cNvPr id="140" name="Picture 139">
              <a:extLst>
                <a:ext uri="{FF2B5EF4-FFF2-40B4-BE49-F238E27FC236}">
                  <a16:creationId xmlns:a16="http://schemas.microsoft.com/office/drawing/2014/main" id="{C203CD5F-6641-46A1-84BB-8B774F18326A}"/>
                </a:ext>
              </a:extLst>
            </p:cNvPr>
            <p:cNvPicPr>
              <a:picLocks noChangeAspect="1"/>
            </p:cNvPicPr>
            <p:nvPr/>
          </p:nvPicPr>
          <p:blipFill>
            <a:blip r:embed="rId4" cstate="screen">
              <a:duotone>
                <a:schemeClr val="accent5">
                  <a:shade val="45000"/>
                  <a:satMod val="135000"/>
                </a:schemeClr>
                <a:prstClr val="white"/>
              </a:duotone>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tretch>
              <a:fillRect/>
            </a:stretch>
          </p:blipFill>
          <p:spPr>
            <a:xfrm>
              <a:off x="8468081" y="5018069"/>
              <a:ext cx="1308815" cy="1228960"/>
            </a:xfrm>
            <a:prstGeom prst="rect">
              <a:avLst/>
            </a:prstGeom>
          </p:spPr>
        </p:pic>
      </p:grpSp>
      <p:grpSp>
        <p:nvGrpSpPr>
          <p:cNvPr id="10" name="Group 9">
            <a:extLst>
              <a:ext uri="{FF2B5EF4-FFF2-40B4-BE49-F238E27FC236}">
                <a16:creationId xmlns:a16="http://schemas.microsoft.com/office/drawing/2014/main" id="{41ADD82E-BD44-41C4-A7AB-6251F129D58A}"/>
              </a:ext>
            </a:extLst>
          </p:cNvPr>
          <p:cNvGrpSpPr/>
          <p:nvPr/>
        </p:nvGrpSpPr>
        <p:grpSpPr>
          <a:xfrm>
            <a:off x="0" y="1183326"/>
            <a:ext cx="12005198" cy="1937935"/>
            <a:chOff x="0" y="1183326"/>
            <a:chExt cx="12005198" cy="1937935"/>
          </a:xfrm>
        </p:grpSpPr>
        <p:sp>
          <p:nvSpPr>
            <p:cNvPr id="82" name="Arrow: Down 81">
              <a:extLst>
                <a:ext uri="{FF2B5EF4-FFF2-40B4-BE49-F238E27FC236}">
                  <a16:creationId xmlns:a16="http://schemas.microsoft.com/office/drawing/2014/main" id="{7260B10C-092E-4D08-9BF2-026B4B4D4E7E}"/>
                </a:ext>
              </a:extLst>
            </p:cNvPr>
            <p:cNvSpPr/>
            <p:nvPr/>
          </p:nvSpPr>
          <p:spPr>
            <a:xfrm rot="16200000">
              <a:off x="1480495" y="193106"/>
              <a:ext cx="1051911" cy="4012902"/>
            </a:xfrm>
            <a:prstGeom prst="down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24" tIns="91416" rIns="137124" bIns="91416" rtlCol="0" anchor="ctr"/>
            <a:lstStyle/>
            <a:p>
              <a:pPr algn="ctr"/>
              <a:endParaRPr lang="en-US" sz="1799">
                <a:latin typeface="Roboto" charset="0"/>
                <a:ea typeface="Roboto" charset="0"/>
                <a:cs typeface="Roboto" charset="0"/>
              </a:endParaRPr>
            </a:p>
          </p:txBody>
        </p:sp>
        <p:grpSp>
          <p:nvGrpSpPr>
            <p:cNvPr id="9" name="Group 8">
              <a:extLst>
                <a:ext uri="{FF2B5EF4-FFF2-40B4-BE49-F238E27FC236}">
                  <a16:creationId xmlns:a16="http://schemas.microsoft.com/office/drawing/2014/main" id="{CCB736F4-AA12-4B63-A640-53853FC02751}"/>
                </a:ext>
              </a:extLst>
            </p:cNvPr>
            <p:cNvGrpSpPr/>
            <p:nvPr/>
          </p:nvGrpSpPr>
          <p:grpSpPr>
            <a:xfrm>
              <a:off x="112704" y="1183326"/>
              <a:ext cx="11892494" cy="1937935"/>
              <a:chOff x="112704" y="1183326"/>
              <a:chExt cx="11892494" cy="1937935"/>
            </a:xfrm>
          </p:grpSpPr>
          <p:sp>
            <p:nvSpPr>
              <p:cNvPr id="5" name="Rectangle 4">
                <a:extLst>
                  <a:ext uri="{FF2B5EF4-FFF2-40B4-BE49-F238E27FC236}">
                    <a16:creationId xmlns:a16="http://schemas.microsoft.com/office/drawing/2014/main" id="{4A97AD21-B2DD-49B5-B36D-2D6310CBB253}"/>
                  </a:ext>
                </a:extLst>
              </p:cNvPr>
              <p:cNvSpPr/>
              <p:nvPr/>
            </p:nvSpPr>
            <p:spPr>
              <a:xfrm>
                <a:off x="476665" y="1487722"/>
                <a:ext cx="2841785" cy="142202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24" tIns="91416" rIns="137124" bIns="91416" rtlCol="0" anchor="ctr"/>
              <a:lstStyle/>
              <a:p>
                <a:pPr algn="ctr"/>
                <a:r>
                  <a:rPr lang="en-US" sz="2799">
                    <a:solidFill>
                      <a:schemeClr val="accent1"/>
                    </a:solidFill>
                    <a:latin typeface="Roboto" charset="0"/>
                    <a:ea typeface="Roboto" charset="0"/>
                    <a:cs typeface="Roboto" charset="0"/>
                  </a:rPr>
                  <a:t>Pushdown</a:t>
                </a:r>
              </a:p>
            </p:txBody>
          </p:sp>
          <p:sp>
            <p:nvSpPr>
              <p:cNvPr id="76" name="Rectangle 75">
                <a:extLst>
                  <a:ext uri="{FF2B5EF4-FFF2-40B4-BE49-F238E27FC236}">
                    <a16:creationId xmlns:a16="http://schemas.microsoft.com/office/drawing/2014/main" id="{F58E50AE-D32D-44A3-9FE1-6CBFE5F8655E}"/>
                  </a:ext>
                </a:extLst>
              </p:cNvPr>
              <p:cNvSpPr/>
              <p:nvPr/>
            </p:nvSpPr>
            <p:spPr>
              <a:xfrm>
                <a:off x="3990260" y="1766810"/>
                <a:ext cx="4028899" cy="751578"/>
              </a:xfrm>
              <a:prstGeom prst="rect">
                <a:avLst/>
              </a:prstGeom>
              <a:solidFill>
                <a:schemeClr val="bg1">
                  <a:lumMod val="50000"/>
                </a:schemeClr>
              </a:solid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89615" tIns="78822" rIns="89615" bIns="78822" numCol="1" spcCol="1270" anchor="ctr" anchorCtr="0">
                <a:noAutofit/>
              </a:bodyPr>
              <a:lstStyle/>
              <a:p>
                <a:pPr algn="ctr" defTabSz="755423">
                  <a:lnSpc>
                    <a:spcPct val="90000"/>
                  </a:lnSpc>
                  <a:spcBef>
                    <a:spcPct val="0"/>
                  </a:spcBef>
                  <a:spcAft>
                    <a:spcPct val="35000"/>
                  </a:spcAft>
                </a:pPr>
                <a:r>
                  <a:rPr lang="en-US" sz="1799">
                    <a:latin typeface="+mj-lt"/>
                  </a:rPr>
                  <a:t>Informatica sends the work to a Cloud Ecosystem or Data Warehouse</a:t>
                </a:r>
              </a:p>
            </p:txBody>
          </p:sp>
          <p:sp>
            <p:nvSpPr>
              <p:cNvPr id="4" name="TextBox 3">
                <a:extLst>
                  <a:ext uri="{FF2B5EF4-FFF2-40B4-BE49-F238E27FC236}">
                    <a16:creationId xmlns:a16="http://schemas.microsoft.com/office/drawing/2014/main" id="{7F030059-3347-4C02-9CB7-CC6A93E03E33}"/>
                  </a:ext>
                </a:extLst>
              </p:cNvPr>
              <p:cNvSpPr txBox="1"/>
              <p:nvPr/>
            </p:nvSpPr>
            <p:spPr>
              <a:xfrm>
                <a:off x="112704" y="2004536"/>
                <a:ext cx="363959" cy="375683"/>
              </a:xfrm>
              <a:prstGeom prst="rect">
                <a:avLst/>
              </a:prstGeom>
              <a:noFill/>
            </p:spPr>
            <p:txBody>
              <a:bodyPr wrap="square" lIns="0" tIns="0" rIns="0" bIns="0" rtlCol="0">
                <a:noAutofit/>
              </a:bodyPr>
              <a:lstStyle/>
              <a:p>
                <a:pPr>
                  <a:lnSpc>
                    <a:spcPct val="90000"/>
                  </a:lnSpc>
                  <a:spcAft>
                    <a:spcPts val="1000"/>
                  </a:spcAft>
                </a:pPr>
                <a:endParaRPr lang="en-US" sz="3199" b="1" dirty="0">
                  <a:solidFill>
                    <a:schemeClr val="bg1"/>
                  </a:solidFill>
                  <a:latin typeface="Roboto" charset="0"/>
                  <a:ea typeface="Roboto" charset="0"/>
                  <a:cs typeface="Roboto" charset="0"/>
                </a:endParaRPr>
              </a:p>
            </p:txBody>
          </p:sp>
          <p:grpSp>
            <p:nvGrpSpPr>
              <p:cNvPr id="89" name="Group 88">
                <a:extLst>
                  <a:ext uri="{FF2B5EF4-FFF2-40B4-BE49-F238E27FC236}">
                    <a16:creationId xmlns:a16="http://schemas.microsoft.com/office/drawing/2014/main" id="{95654FB7-59FE-4F2C-8CA3-992ADFB71141}"/>
                  </a:ext>
                </a:extLst>
              </p:cNvPr>
              <p:cNvGrpSpPr/>
              <p:nvPr/>
            </p:nvGrpSpPr>
            <p:grpSpPr>
              <a:xfrm>
                <a:off x="8298814" y="1243703"/>
                <a:ext cx="806373" cy="876757"/>
                <a:chOff x="538624" y="1472966"/>
                <a:chExt cx="847383" cy="881971"/>
              </a:xfrm>
            </p:grpSpPr>
            <p:pic>
              <p:nvPicPr>
                <p:cNvPr id="90" name="Picture 89">
                  <a:extLst>
                    <a:ext uri="{FF2B5EF4-FFF2-40B4-BE49-F238E27FC236}">
                      <a16:creationId xmlns:a16="http://schemas.microsoft.com/office/drawing/2014/main" id="{CF4D3E44-95ED-41B3-8A02-BF459089278C}"/>
                    </a:ext>
                  </a:extLst>
                </p:cNvPr>
                <p:cNvPicPr>
                  <a:picLocks noChangeAspect="1"/>
                </p:cNvPicPr>
                <p:nvPr/>
              </p:nvPicPr>
              <p:blipFill>
                <a:blip r:embed="rId8">
                  <a:lum contrast="20000"/>
                </a:blip>
                <a:stretch>
                  <a:fillRect/>
                </a:stretch>
              </p:blipFill>
              <p:spPr>
                <a:xfrm>
                  <a:off x="538624" y="1472966"/>
                  <a:ext cx="847383" cy="505380"/>
                </a:xfrm>
                <a:prstGeom prst="rect">
                  <a:avLst/>
                </a:prstGeom>
              </p:spPr>
            </p:pic>
            <p:sp>
              <p:nvSpPr>
                <p:cNvPr id="91" name="TextBox 90">
                  <a:extLst>
                    <a:ext uri="{FF2B5EF4-FFF2-40B4-BE49-F238E27FC236}">
                      <a16:creationId xmlns:a16="http://schemas.microsoft.com/office/drawing/2014/main" id="{3B7BCF20-F108-44EB-B1FD-3BF3B11DB507}"/>
                    </a:ext>
                  </a:extLst>
                </p:cNvPr>
                <p:cNvSpPr txBox="1"/>
                <p:nvPr/>
              </p:nvSpPr>
              <p:spPr>
                <a:xfrm>
                  <a:off x="538624" y="1954359"/>
                  <a:ext cx="847383" cy="400578"/>
                </a:xfrm>
                <a:prstGeom prst="rect">
                  <a:avLst/>
                </a:prstGeom>
                <a:noFill/>
              </p:spPr>
              <p:txBody>
                <a:bodyPr wrap="square" lIns="0" tIns="0" rIns="0" bIns="0" rtlCol="0">
                  <a:noAutofit/>
                </a:bodyPr>
                <a:lstStyle/>
                <a:p>
                  <a:pPr>
                    <a:lnSpc>
                      <a:spcPct val="90000"/>
                    </a:lnSpc>
                    <a:spcAft>
                      <a:spcPts val="1000"/>
                    </a:spcAft>
                  </a:pPr>
                  <a:r>
                    <a:rPr lang="en-US" sz="1200">
                      <a:latin typeface="Roboto" charset="0"/>
                      <a:ea typeface="Roboto" charset="0"/>
                      <a:cs typeface="Roboto" charset="0"/>
                    </a:rPr>
                    <a:t>Cloud Data Warehouse</a:t>
                  </a:r>
                </a:p>
              </p:txBody>
            </p:sp>
          </p:grpSp>
          <p:pic>
            <p:nvPicPr>
              <p:cNvPr id="92" name="Picture 12" descr="Your Commonly Asked Questions on Amazon Redshift Answered">
                <a:extLst>
                  <a:ext uri="{FF2B5EF4-FFF2-40B4-BE49-F238E27FC236}">
                    <a16:creationId xmlns:a16="http://schemas.microsoft.com/office/drawing/2014/main" id="{F2C6A1A7-D247-40AE-8FB8-87CCBF8B1F9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480509" y="1753545"/>
                <a:ext cx="1024293" cy="512148"/>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20" descr="Google Big Query Logo - Google Bigquery Logo Clipart - Large Size Png Image  - PikPng">
                <a:extLst>
                  <a:ext uri="{FF2B5EF4-FFF2-40B4-BE49-F238E27FC236}">
                    <a16:creationId xmlns:a16="http://schemas.microsoft.com/office/drawing/2014/main" id="{3658EE0F-A1BA-4F02-B85C-80C063A9F63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915503" y="1402698"/>
                <a:ext cx="878414" cy="306415"/>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2" descr="Amazon Web Services - Wikipedia">
                <a:extLst>
                  <a:ext uri="{FF2B5EF4-FFF2-40B4-BE49-F238E27FC236}">
                    <a16:creationId xmlns:a16="http://schemas.microsoft.com/office/drawing/2014/main" id="{4CD9B697-98A7-4D9E-8A86-3991A00D270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735060" y="2553712"/>
                <a:ext cx="523566" cy="313266"/>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6" descr="Google Cloud Platform Tutorial: From Zero to Hero with GCP">
                <a:extLst>
                  <a:ext uri="{FF2B5EF4-FFF2-40B4-BE49-F238E27FC236}">
                    <a16:creationId xmlns:a16="http://schemas.microsoft.com/office/drawing/2014/main" id="{5DCB4A7B-B199-44C7-BD84-177E2C4947DB}"/>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21285" r="24141"/>
              <a:stretch/>
            </p:blipFill>
            <p:spPr bwMode="auto">
              <a:xfrm>
                <a:off x="10330588" y="2358478"/>
                <a:ext cx="680312" cy="701204"/>
              </a:xfrm>
              <a:prstGeom prst="rect">
                <a:avLst/>
              </a:prstGeom>
              <a:noFill/>
              <a:extLst>
                <a:ext uri="{909E8E84-426E-40DD-AFC4-6F175D3DCCD1}">
                  <a14:hiddenFill xmlns:a14="http://schemas.microsoft.com/office/drawing/2010/main">
                    <a:solidFill>
                      <a:srgbClr val="FFFFFF"/>
                    </a:solidFill>
                  </a14:hiddenFill>
                </a:ext>
              </a:extLst>
            </p:spPr>
          </p:pic>
          <p:sp>
            <p:nvSpPr>
              <p:cNvPr id="96" name="TextBox 95">
                <a:extLst>
                  <a:ext uri="{FF2B5EF4-FFF2-40B4-BE49-F238E27FC236}">
                    <a16:creationId xmlns:a16="http://schemas.microsoft.com/office/drawing/2014/main" id="{E37E54C4-525B-4186-B0B0-08F8D0D17110}"/>
                  </a:ext>
                </a:extLst>
              </p:cNvPr>
              <p:cNvSpPr txBox="1"/>
              <p:nvPr/>
            </p:nvSpPr>
            <p:spPr>
              <a:xfrm>
                <a:off x="8306872" y="2749193"/>
                <a:ext cx="951464" cy="310488"/>
              </a:xfrm>
              <a:prstGeom prst="rect">
                <a:avLst/>
              </a:prstGeom>
              <a:noFill/>
            </p:spPr>
            <p:txBody>
              <a:bodyPr wrap="square" lIns="0" tIns="0" rIns="0" bIns="0" rtlCol="0">
                <a:noAutofit/>
              </a:bodyPr>
              <a:lstStyle/>
              <a:p>
                <a:pPr>
                  <a:lnSpc>
                    <a:spcPct val="90000"/>
                  </a:lnSpc>
                  <a:spcAft>
                    <a:spcPts val="1000"/>
                  </a:spcAft>
                </a:pPr>
                <a:r>
                  <a:rPr lang="en-US" sz="1200">
                    <a:latin typeface="Roboto" charset="0"/>
                    <a:ea typeface="Roboto" charset="0"/>
                    <a:cs typeface="Roboto" charset="0"/>
                  </a:rPr>
                  <a:t>Cloud Ecosystem</a:t>
                </a:r>
              </a:p>
            </p:txBody>
          </p:sp>
          <p:pic>
            <p:nvPicPr>
              <p:cNvPr id="97" name="Picture 2" descr="Microsoft Azure | Avantiico">
                <a:extLst>
                  <a:ext uri="{FF2B5EF4-FFF2-40B4-BE49-F238E27FC236}">
                    <a16:creationId xmlns:a16="http://schemas.microsoft.com/office/drawing/2014/main" id="{DD4B7442-04D1-48A0-AE1D-FE168887CDF7}"/>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077882" y="2527014"/>
                <a:ext cx="855039" cy="247113"/>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4" descr="100% Customers Recommend Snowflake for 4th Consecutive Year in Dresner  Advisory Services: ADI Report">
                <a:extLst>
                  <a:ext uri="{FF2B5EF4-FFF2-40B4-BE49-F238E27FC236}">
                    <a16:creationId xmlns:a16="http://schemas.microsoft.com/office/drawing/2014/main" id="{D800913C-FBD0-44DA-8CF0-D43BBEB6FB79}"/>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t="24883" b="29048"/>
              <a:stretch/>
            </p:blipFill>
            <p:spPr bwMode="auto">
              <a:xfrm>
                <a:off x="10518753" y="1857831"/>
                <a:ext cx="1314805" cy="302859"/>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98" descr="Logo, icon, company name&#10;&#10;Description automatically generated">
                <a:extLst>
                  <a:ext uri="{FF2B5EF4-FFF2-40B4-BE49-F238E27FC236}">
                    <a16:creationId xmlns:a16="http://schemas.microsoft.com/office/drawing/2014/main" id="{9505D84D-2ABC-4641-A03D-F2641BBC95C5}"/>
                  </a:ext>
                </a:extLst>
              </p:cNvPr>
              <p:cNvPicPr>
                <a:picLocks noChangeAspect="1"/>
              </p:cNvPicPr>
              <p:nvPr/>
            </p:nvPicPr>
            <p:blipFill>
              <a:blip r:embed="rId15"/>
              <a:stretch>
                <a:fillRect/>
              </a:stretch>
            </p:blipFill>
            <p:spPr>
              <a:xfrm>
                <a:off x="9793118" y="1222067"/>
                <a:ext cx="1106852" cy="562281"/>
              </a:xfrm>
              <a:prstGeom prst="rect">
                <a:avLst/>
              </a:prstGeom>
            </p:spPr>
          </p:pic>
          <p:sp>
            <p:nvSpPr>
              <p:cNvPr id="100" name="Rectangle 99">
                <a:extLst>
                  <a:ext uri="{FF2B5EF4-FFF2-40B4-BE49-F238E27FC236}">
                    <a16:creationId xmlns:a16="http://schemas.microsoft.com/office/drawing/2014/main" id="{9836DE22-E215-414D-89C9-B5C43C821B2A}"/>
                  </a:ext>
                </a:extLst>
              </p:cNvPr>
              <p:cNvSpPr/>
              <p:nvPr/>
            </p:nvSpPr>
            <p:spPr>
              <a:xfrm>
                <a:off x="8196402" y="1183326"/>
                <a:ext cx="3805899" cy="1051577"/>
              </a:xfrm>
              <a:prstGeom prst="rect">
                <a:avLst/>
              </a:prstGeom>
              <a:noFill/>
              <a:ln w="190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137124" tIns="91416" rIns="137124" bIns="91416" rtlCol="0" anchor="ctr"/>
              <a:lstStyle/>
              <a:p>
                <a:pPr algn="ctr"/>
                <a:endParaRPr lang="en-US" sz="1799">
                  <a:latin typeface="Roboto" charset="0"/>
                  <a:ea typeface="Roboto" charset="0"/>
                  <a:cs typeface="Roboto" charset="0"/>
                </a:endParaRPr>
              </a:p>
            </p:txBody>
          </p:sp>
          <p:sp>
            <p:nvSpPr>
              <p:cNvPr id="101" name="Rectangle 100">
                <a:extLst>
                  <a:ext uri="{FF2B5EF4-FFF2-40B4-BE49-F238E27FC236}">
                    <a16:creationId xmlns:a16="http://schemas.microsoft.com/office/drawing/2014/main" id="{8C904E35-2636-4CD0-8F36-CAD8A3765E3D}"/>
                  </a:ext>
                </a:extLst>
              </p:cNvPr>
              <p:cNvSpPr/>
              <p:nvPr/>
            </p:nvSpPr>
            <p:spPr>
              <a:xfrm>
                <a:off x="8199299" y="2329763"/>
                <a:ext cx="3805899" cy="791498"/>
              </a:xfrm>
              <a:prstGeom prst="rect">
                <a:avLst/>
              </a:prstGeom>
              <a:noFill/>
              <a:ln w="190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137124" tIns="91416" rIns="137124" bIns="91416" rtlCol="0" anchor="ctr"/>
              <a:lstStyle/>
              <a:p>
                <a:pPr algn="ctr"/>
                <a:endParaRPr lang="en-US" sz="1799">
                  <a:latin typeface="Roboto" charset="0"/>
                  <a:ea typeface="Roboto" charset="0"/>
                  <a:cs typeface="Roboto" charset="0"/>
                </a:endParaRPr>
              </a:p>
            </p:txBody>
          </p:sp>
          <p:sp>
            <p:nvSpPr>
              <p:cNvPr id="102" name="TextBox 101">
                <a:extLst>
                  <a:ext uri="{FF2B5EF4-FFF2-40B4-BE49-F238E27FC236}">
                    <a16:creationId xmlns:a16="http://schemas.microsoft.com/office/drawing/2014/main" id="{C9FDC960-B537-4B4C-A05A-7BCC995A3DE1}"/>
                  </a:ext>
                </a:extLst>
              </p:cNvPr>
              <p:cNvSpPr txBox="1"/>
              <p:nvPr/>
            </p:nvSpPr>
            <p:spPr>
              <a:xfrm>
                <a:off x="9343774" y="1377406"/>
                <a:ext cx="413465" cy="480425"/>
              </a:xfrm>
              <a:prstGeom prst="rect">
                <a:avLst/>
              </a:prstGeom>
              <a:noFill/>
            </p:spPr>
            <p:txBody>
              <a:bodyPr wrap="square" lIns="0" tIns="0" rIns="0" bIns="0" rtlCol="0">
                <a:noAutofit/>
              </a:bodyPr>
              <a:lstStyle/>
              <a:p>
                <a:pPr>
                  <a:lnSpc>
                    <a:spcPct val="90000"/>
                  </a:lnSpc>
                  <a:spcAft>
                    <a:spcPts val="1000"/>
                  </a:spcAft>
                </a:pPr>
                <a:r>
                  <a:rPr lang="en-US" sz="2799">
                    <a:solidFill>
                      <a:srgbClr val="FF0000"/>
                    </a:solidFill>
                    <a:latin typeface="Roboto" charset="0"/>
                    <a:ea typeface="Roboto" charset="0"/>
                    <a:cs typeface="Roboto" charset="0"/>
                  </a:rPr>
                  <a:t>=</a:t>
                </a:r>
              </a:p>
            </p:txBody>
          </p:sp>
          <p:sp>
            <p:nvSpPr>
              <p:cNvPr id="103" name="TextBox 102">
                <a:extLst>
                  <a:ext uri="{FF2B5EF4-FFF2-40B4-BE49-F238E27FC236}">
                    <a16:creationId xmlns:a16="http://schemas.microsoft.com/office/drawing/2014/main" id="{FCF99DEC-CAD3-45E4-960D-E5ADBABA3860}"/>
                  </a:ext>
                </a:extLst>
              </p:cNvPr>
              <p:cNvSpPr txBox="1"/>
              <p:nvPr/>
            </p:nvSpPr>
            <p:spPr>
              <a:xfrm>
                <a:off x="9346437" y="2508374"/>
                <a:ext cx="413465" cy="480425"/>
              </a:xfrm>
              <a:prstGeom prst="rect">
                <a:avLst/>
              </a:prstGeom>
              <a:noFill/>
            </p:spPr>
            <p:txBody>
              <a:bodyPr wrap="square" lIns="0" tIns="0" rIns="0" bIns="0" rtlCol="0">
                <a:noAutofit/>
              </a:bodyPr>
              <a:lstStyle/>
              <a:p>
                <a:pPr>
                  <a:lnSpc>
                    <a:spcPct val="90000"/>
                  </a:lnSpc>
                  <a:spcAft>
                    <a:spcPts val="1000"/>
                  </a:spcAft>
                </a:pPr>
                <a:r>
                  <a:rPr lang="en-US" sz="2799">
                    <a:solidFill>
                      <a:srgbClr val="FF0000"/>
                    </a:solidFill>
                    <a:latin typeface="Roboto" charset="0"/>
                    <a:ea typeface="Roboto" charset="0"/>
                    <a:cs typeface="Roboto" charset="0"/>
                  </a:rPr>
                  <a:t>=</a:t>
                </a:r>
              </a:p>
            </p:txBody>
          </p:sp>
          <p:pic>
            <p:nvPicPr>
              <p:cNvPr id="116" name="Picture 2" descr="KLS Integrated Ecosystem - Kognitiv">
                <a:extLst>
                  <a:ext uri="{FF2B5EF4-FFF2-40B4-BE49-F238E27FC236}">
                    <a16:creationId xmlns:a16="http://schemas.microsoft.com/office/drawing/2014/main" id="{034A52D7-022C-4B27-A471-C905BD64EED5}"/>
                  </a:ext>
                </a:extLst>
              </p:cNvPr>
              <p:cNvPicPr>
                <a:picLocks noChangeAspect="1" noChangeArrowheads="1"/>
              </p:cNvPicPr>
              <p:nvPr/>
            </p:nvPicPr>
            <p:blipFill>
              <a:blip r:embed="rId16">
                <a:duotone>
                  <a:schemeClr val="accent1">
                    <a:shade val="45000"/>
                    <a:satMod val="135000"/>
                  </a:schemeClr>
                  <a:prstClr val="white"/>
                </a:duotone>
                <a:extLst>
                  <a:ext uri="{BEBA8EAE-BF5A-486C-A8C5-ECC9F3942E4B}">
                    <a14:imgProps xmlns:a14="http://schemas.microsoft.com/office/drawing/2010/main">
                      <a14:imgLayer r:embed="rId17">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flipH="1">
                <a:off x="8599541" y="2298330"/>
                <a:ext cx="758163" cy="680504"/>
              </a:xfrm>
              <a:prstGeom prst="rect">
                <a:avLst/>
              </a:prstGeom>
              <a:noFill/>
              <a:extLst>
                <a:ext uri="{909E8E84-426E-40DD-AFC4-6F175D3DCCD1}">
                  <a14:hiddenFill xmlns:a14="http://schemas.microsoft.com/office/drawing/2010/main">
                    <a:solidFill>
                      <a:srgbClr val="FFFFFF"/>
                    </a:solidFill>
                  </a14:hiddenFill>
                </a:ext>
              </a:extLst>
            </p:spPr>
          </p:pic>
          <p:cxnSp>
            <p:nvCxnSpPr>
              <p:cNvPr id="20" name="Connector: Elbow 19">
                <a:extLst>
                  <a:ext uri="{FF2B5EF4-FFF2-40B4-BE49-F238E27FC236}">
                    <a16:creationId xmlns:a16="http://schemas.microsoft.com/office/drawing/2014/main" id="{FB0752CB-5398-49F8-A5CA-B3367A950B11}"/>
                  </a:ext>
                </a:extLst>
              </p:cNvPr>
              <p:cNvCxnSpPr>
                <a:cxnSpLocks/>
                <a:stCxn id="76" idx="3"/>
                <a:endCxn id="100" idx="1"/>
              </p:cNvCxnSpPr>
              <p:nvPr/>
            </p:nvCxnSpPr>
            <p:spPr>
              <a:xfrm flipV="1">
                <a:off x="8019159" y="1709114"/>
                <a:ext cx="177244" cy="433485"/>
              </a:xfrm>
              <a:prstGeom prst="bentConnector3">
                <a:avLst/>
              </a:prstGeom>
              <a:ln>
                <a:tailEnd type="triangle"/>
              </a:ln>
            </p:spPr>
            <p:style>
              <a:lnRef idx="1">
                <a:schemeClr val="dk1"/>
              </a:lnRef>
              <a:fillRef idx="0">
                <a:schemeClr val="dk1"/>
              </a:fillRef>
              <a:effectRef idx="0">
                <a:schemeClr val="dk1"/>
              </a:effectRef>
              <a:fontRef idx="minor">
                <a:schemeClr val="tx1"/>
              </a:fontRef>
            </p:style>
          </p:cxnSp>
          <p:cxnSp>
            <p:nvCxnSpPr>
              <p:cNvPr id="23" name="Connector: Elbow 22">
                <a:extLst>
                  <a:ext uri="{FF2B5EF4-FFF2-40B4-BE49-F238E27FC236}">
                    <a16:creationId xmlns:a16="http://schemas.microsoft.com/office/drawing/2014/main" id="{980E5CBC-3B19-408D-9149-9794EFF0AB64}"/>
                  </a:ext>
                </a:extLst>
              </p:cNvPr>
              <p:cNvCxnSpPr>
                <a:cxnSpLocks/>
                <a:stCxn id="76" idx="3"/>
                <a:endCxn id="101" idx="1"/>
              </p:cNvCxnSpPr>
              <p:nvPr/>
            </p:nvCxnSpPr>
            <p:spPr>
              <a:xfrm>
                <a:off x="8019159" y="2142600"/>
                <a:ext cx="180140" cy="582913"/>
              </a:xfrm>
              <a:prstGeom prst="bentConnector3">
                <a:avLst/>
              </a:prstGeom>
              <a:ln>
                <a:tailEnd type="triangle"/>
              </a:ln>
            </p:spPr>
            <p:style>
              <a:lnRef idx="1">
                <a:schemeClr val="dk1"/>
              </a:lnRef>
              <a:fillRef idx="0">
                <a:schemeClr val="dk1"/>
              </a:fillRef>
              <a:effectRef idx="0">
                <a:schemeClr val="dk1"/>
              </a:effectRef>
              <a:fontRef idx="minor">
                <a:schemeClr val="tx1"/>
              </a:fontRef>
            </p:style>
          </p:cxnSp>
        </p:grpSp>
      </p:grpSp>
    </p:spTree>
    <p:custDataLst>
      <p:tags r:id="rId1"/>
    </p:custDataLst>
    <p:extLst>
      <p:ext uri="{BB962C8B-B14F-4D97-AF65-F5344CB8AC3E}">
        <p14:creationId xmlns:p14="http://schemas.microsoft.com/office/powerpoint/2010/main" val="3906078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wipe(left)">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wipe(left)">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C98258-7CC2-4EEB-9EE9-A6B6782C1DDF}"/>
              </a:ext>
            </a:extLst>
          </p:cNvPr>
          <p:cNvSpPr>
            <a:spLocks noGrp="1"/>
          </p:cNvSpPr>
          <p:nvPr>
            <p:ph type="title"/>
          </p:nvPr>
        </p:nvSpPr>
        <p:spPr>
          <a:xfrm>
            <a:off x="404022" y="228408"/>
            <a:ext cx="11188699" cy="1066798"/>
          </a:xfrm>
        </p:spPr>
        <p:txBody>
          <a:bodyPr/>
          <a:lstStyle/>
          <a:p>
            <a:r>
              <a:rPr lang="en-US"/>
              <a:t>Informatica Modernization program</a:t>
            </a:r>
          </a:p>
        </p:txBody>
      </p:sp>
      <p:sp>
        <p:nvSpPr>
          <p:cNvPr id="8" name="Arrow: Right 7">
            <a:extLst>
              <a:ext uri="{FF2B5EF4-FFF2-40B4-BE49-F238E27FC236}">
                <a16:creationId xmlns:a16="http://schemas.microsoft.com/office/drawing/2014/main" id="{5050268C-6242-4B03-9870-D32499A5932B}"/>
              </a:ext>
            </a:extLst>
          </p:cNvPr>
          <p:cNvSpPr/>
          <p:nvPr/>
        </p:nvSpPr>
        <p:spPr>
          <a:xfrm>
            <a:off x="4448699" y="1781665"/>
            <a:ext cx="615865" cy="316736"/>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Roboto" charset="0"/>
              <a:ea typeface="Roboto" charset="0"/>
              <a:cs typeface="Roboto" charset="0"/>
            </a:endParaRPr>
          </a:p>
        </p:txBody>
      </p:sp>
      <p:pic>
        <p:nvPicPr>
          <p:cNvPr id="9" name="Picture 8">
            <a:extLst>
              <a:ext uri="{FF2B5EF4-FFF2-40B4-BE49-F238E27FC236}">
                <a16:creationId xmlns:a16="http://schemas.microsoft.com/office/drawing/2014/main" id="{95E6D4E1-9B41-481F-8AEB-539A7001B4FC}"/>
              </a:ext>
            </a:extLst>
          </p:cNvPr>
          <p:cNvPicPr>
            <a:picLocks noChangeAspect="1"/>
          </p:cNvPicPr>
          <p:nvPr/>
        </p:nvPicPr>
        <p:blipFill>
          <a:blip r:embed="rId3"/>
          <a:stretch>
            <a:fillRect/>
          </a:stretch>
        </p:blipFill>
        <p:spPr>
          <a:xfrm>
            <a:off x="5998372" y="1211746"/>
            <a:ext cx="2827140" cy="1516643"/>
          </a:xfrm>
          <a:prstGeom prst="rect">
            <a:avLst/>
          </a:prstGeom>
        </p:spPr>
      </p:pic>
      <p:pic>
        <p:nvPicPr>
          <p:cNvPr id="3074" name="Picture 2">
            <a:extLst>
              <a:ext uri="{FF2B5EF4-FFF2-40B4-BE49-F238E27FC236}">
                <a16:creationId xmlns:a16="http://schemas.microsoft.com/office/drawing/2014/main" id="{6B6603A4-3A4B-4B86-AD56-C8AEA40312F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5181" y="3070903"/>
            <a:ext cx="3492101" cy="1162977"/>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F1A6C179-9F1A-4618-B6E1-C22D91306DF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45457" y="2939306"/>
            <a:ext cx="2827139" cy="1659873"/>
          </a:xfrm>
          <a:prstGeom prst="rect">
            <a:avLst/>
          </a:prstGeom>
          <a:noFill/>
          <a:extLst>
            <a:ext uri="{909E8E84-426E-40DD-AFC4-6F175D3DCCD1}">
              <a14:hiddenFill xmlns:a14="http://schemas.microsoft.com/office/drawing/2010/main">
                <a:solidFill>
                  <a:srgbClr val="FFFFFF"/>
                </a:solidFill>
              </a14:hiddenFill>
            </a:ext>
          </a:extLst>
        </p:spPr>
      </p:pic>
      <p:sp>
        <p:nvSpPr>
          <p:cNvPr id="10" name="Arrow: Right 9">
            <a:extLst>
              <a:ext uri="{FF2B5EF4-FFF2-40B4-BE49-F238E27FC236}">
                <a16:creationId xmlns:a16="http://schemas.microsoft.com/office/drawing/2014/main" id="{BBC925CA-9973-4363-81F5-3EFDEC7565E2}"/>
              </a:ext>
            </a:extLst>
          </p:cNvPr>
          <p:cNvSpPr/>
          <p:nvPr/>
        </p:nvSpPr>
        <p:spPr>
          <a:xfrm>
            <a:off x="4410519" y="3560954"/>
            <a:ext cx="615865" cy="316736"/>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Roboto" charset="0"/>
              <a:ea typeface="Roboto" charset="0"/>
              <a:cs typeface="Roboto" charset="0"/>
            </a:endParaRPr>
          </a:p>
        </p:txBody>
      </p:sp>
      <p:pic>
        <p:nvPicPr>
          <p:cNvPr id="3078" name="Picture 6">
            <a:extLst>
              <a:ext uri="{FF2B5EF4-FFF2-40B4-BE49-F238E27FC236}">
                <a16:creationId xmlns:a16="http://schemas.microsoft.com/office/drawing/2014/main" id="{7FA2C62D-52A2-447A-9D67-BAD426BD81F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15181" y="4591186"/>
            <a:ext cx="3051021" cy="1721248"/>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a:extLst>
              <a:ext uri="{FF2B5EF4-FFF2-40B4-BE49-F238E27FC236}">
                <a16:creationId xmlns:a16="http://schemas.microsoft.com/office/drawing/2014/main" id="{95A24269-5CF7-4218-A4EE-A492964822F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998372" y="4781184"/>
            <a:ext cx="2827138" cy="1594944"/>
          </a:xfrm>
          <a:prstGeom prst="rect">
            <a:avLst/>
          </a:prstGeom>
          <a:noFill/>
          <a:extLst>
            <a:ext uri="{909E8E84-426E-40DD-AFC4-6F175D3DCCD1}">
              <a14:hiddenFill xmlns:a14="http://schemas.microsoft.com/office/drawing/2010/main">
                <a:solidFill>
                  <a:srgbClr val="FFFFFF"/>
                </a:solidFill>
              </a14:hiddenFill>
            </a:ext>
          </a:extLst>
        </p:spPr>
      </p:pic>
      <p:sp>
        <p:nvSpPr>
          <p:cNvPr id="12" name="Arrow: Right 11">
            <a:extLst>
              <a:ext uri="{FF2B5EF4-FFF2-40B4-BE49-F238E27FC236}">
                <a16:creationId xmlns:a16="http://schemas.microsoft.com/office/drawing/2014/main" id="{D3767D66-6078-4762-932B-591C68B108C7}"/>
              </a:ext>
            </a:extLst>
          </p:cNvPr>
          <p:cNvSpPr/>
          <p:nvPr/>
        </p:nvSpPr>
        <p:spPr>
          <a:xfrm>
            <a:off x="4410520" y="5242592"/>
            <a:ext cx="615865" cy="316736"/>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Roboto" charset="0"/>
              <a:ea typeface="Roboto" charset="0"/>
              <a:cs typeface="Roboto" charset="0"/>
            </a:endParaRPr>
          </a:p>
        </p:txBody>
      </p:sp>
      <p:sp>
        <p:nvSpPr>
          <p:cNvPr id="3" name="TextBox 2">
            <a:extLst>
              <a:ext uri="{FF2B5EF4-FFF2-40B4-BE49-F238E27FC236}">
                <a16:creationId xmlns:a16="http://schemas.microsoft.com/office/drawing/2014/main" id="{D6DEEE31-091E-594A-ACDA-69F421EC21D8}"/>
              </a:ext>
            </a:extLst>
          </p:cNvPr>
          <p:cNvSpPr txBox="1"/>
          <p:nvPr/>
        </p:nvSpPr>
        <p:spPr>
          <a:xfrm>
            <a:off x="13113327" y="1340427"/>
            <a:ext cx="914400" cy="914400"/>
          </a:xfrm>
          <a:prstGeom prst="rect">
            <a:avLst/>
          </a:prstGeom>
          <a:noFill/>
        </p:spPr>
        <p:txBody>
          <a:bodyPr wrap="none" lIns="0" tIns="0" rIns="0" bIns="0" rtlCol="0">
            <a:noAutofit/>
          </a:bodyPr>
          <a:lstStyle/>
          <a:p>
            <a:pPr marL="0" marR="0" lvl="0" indent="0" algn="l" defTabSz="457200" rtl="0" eaLnBrk="1" fontAlgn="auto" latinLnBrk="0" hangingPunct="1">
              <a:lnSpc>
                <a:spcPct val="90000"/>
              </a:lnSpc>
              <a:spcBef>
                <a:spcPts val="0"/>
              </a:spcBef>
              <a:spcAft>
                <a:spcPts val="1000"/>
              </a:spcAft>
              <a:buClrTx/>
              <a:buSzTx/>
              <a:buFontTx/>
              <a:buNone/>
              <a:tabLst/>
              <a:defRPr/>
            </a:pPr>
            <a:endParaRPr kumimoji="0" lang="en-US" sz="1800" b="0" i="0" u="none" strike="noStrike" kern="1200" cap="none" spc="0" normalizeH="0" baseline="0" noProof="0">
              <a:ln>
                <a:noFill/>
              </a:ln>
              <a:solidFill>
                <a:srgbClr val="373737"/>
              </a:solidFill>
              <a:effectLst/>
              <a:uLnTx/>
              <a:uFillTx/>
              <a:latin typeface="Roboto" charset="0"/>
              <a:ea typeface="Roboto" charset="0"/>
              <a:cs typeface="Roboto" charset="0"/>
            </a:endParaRPr>
          </a:p>
        </p:txBody>
      </p:sp>
      <p:grpSp>
        <p:nvGrpSpPr>
          <p:cNvPr id="13" name="Group 12">
            <a:extLst>
              <a:ext uri="{FF2B5EF4-FFF2-40B4-BE49-F238E27FC236}">
                <a16:creationId xmlns:a16="http://schemas.microsoft.com/office/drawing/2014/main" id="{2E86087A-3810-48B5-80EC-07204EE9DCEE}"/>
              </a:ext>
            </a:extLst>
          </p:cNvPr>
          <p:cNvGrpSpPr/>
          <p:nvPr/>
        </p:nvGrpSpPr>
        <p:grpSpPr>
          <a:xfrm>
            <a:off x="415181" y="924779"/>
            <a:ext cx="3099711" cy="1803610"/>
            <a:chOff x="415181" y="924779"/>
            <a:chExt cx="3099711" cy="1803610"/>
          </a:xfrm>
        </p:grpSpPr>
        <p:pic>
          <p:nvPicPr>
            <p:cNvPr id="7" name="Picture 6">
              <a:extLst>
                <a:ext uri="{FF2B5EF4-FFF2-40B4-BE49-F238E27FC236}">
                  <a16:creationId xmlns:a16="http://schemas.microsoft.com/office/drawing/2014/main" id="{3BBB42A2-88BC-4BF4-8B97-D001422CA8DA}"/>
                </a:ext>
              </a:extLst>
            </p:cNvPr>
            <p:cNvPicPr>
              <a:picLocks noChangeAspect="1"/>
            </p:cNvPicPr>
            <p:nvPr/>
          </p:nvPicPr>
          <p:blipFill>
            <a:blip r:embed="rId8"/>
            <a:stretch>
              <a:fillRect/>
            </a:stretch>
          </p:blipFill>
          <p:spPr>
            <a:xfrm>
              <a:off x="415181" y="1151678"/>
              <a:ext cx="3099711" cy="1576711"/>
            </a:xfrm>
            <a:prstGeom prst="rect">
              <a:avLst/>
            </a:prstGeom>
          </p:spPr>
        </p:pic>
        <p:sp>
          <p:nvSpPr>
            <p:cNvPr id="4" name="TextBox 3">
              <a:extLst>
                <a:ext uri="{FF2B5EF4-FFF2-40B4-BE49-F238E27FC236}">
                  <a16:creationId xmlns:a16="http://schemas.microsoft.com/office/drawing/2014/main" id="{6F1E3116-11D1-564F-9F2F-0273C8C01AE0}"/>
                </a:ext>
              </a:extLst>
            </p:cNvPr>
            <p:cNvSpPr txBox="1"/>
            <p:nvPr/>
          </p:nvSpPr>
          <p:spPr>
            <a:xfrm>
              <a:off x="1302470" y="924779"/>
              <a:ext cx="914400" cy="914400"/>
            </a:xfrm>
            <a:prstGeom prst="rect">
              <a:avLst/>
            </a:prstGeom>
            <a:noFill/>
          </p:spPr>
          <p:txBody>
            <a:bodyPr wrap="none" lIns="0" tIns="0" rIns="0" bIns="0" rtlCol="0">
              <a:noAutofit/>
            </a:bodyPr>
            <a:lstStyle/>
            <a:p>
              <a:pPr marL="0" marR="0" lvl="0" indent="0" algn="l" defTabSz="457200" rtl="0" eaLnBrk="1" fontAlgn="auto" latinLnBrk="0" hangingPunct="1">
                <a:lnSpc>
                  <a:spcPct val="90000"/>
                </a:lnSpc>
                <a:spcBef>
                  <a:spcPts val="0"/>
                </a:spcBef>
                <a:spcAft>
                  <a:spcPts val="1000"/>
                </a:spcAft>
                <a:buClrTx/>
                <a:buSzTx/>
                <a:buFontTx/>
                <a:buNone/>
                <a:tabLst/>
                <a:defRPr/>
              </a:pPr>
              <a:r>
                <a:rPr kumimoji="0" lang="en-US" sz="1800" b="0" i="0" u="none" strike="noStrike" kern="1200" cap="none" spc="0" normalizeH="0" baseline="0" noProof="0" dirty="0">
                  <a:ln>
                    <a:noFill/>
                  </a:ln>
                  <a:solidFill>
                    <a:srgbClr val="FF4D00"/>
                  </a:solidFill>
                  <a:effectLst/>
                  <a:uLnTx/>
                  <a:uFillTx/>
                  <a:latin typeface="Roboto" charset="0"/>
                  <a:ea typeface="Roboto" charset="0"/>
                  <a:cs typeface="Roboto" charset="0"/>
                </a:rPr>
                <a:t>PowerCenter</a:t>
              </a:r>
            </a:p>
          </p:txBody>
        </p:sp>
      </p:grpSp>
      <p:sp>
        <p:nvSpPr>
          <p:cNvPr id="14" name="TextBox 13">
            <a:extLst>
              <a:ext uri="{FF2B5EF4-FFF2-40B4-BE49-F238E27FC236}">
                <a16:creationId xmlns:a16="http://schemas.microsoft.com/office/drawing/2014/main" id="{D15373E9-2C1A-F446-B9CB-905C531E5420}"/>
              </a:ext>
            </a:extLst>
          </p:cNvPr>
          <p:cNvSpPr txBox="1"/>
          <p:nvPr/>
        </p:nvSpPr>
        <p:spPr>
          <a:xfrm>
            <a:off x="6544626" y="867265"/>
            <a:ext cx="914400" cy="914400"/>
          </a:xfrm>
          <a:prstGeom prst="rect">
            <a:avLst/>
          </a:prstGeom>
          <a:noFill/>
        </p:spPr>
        <p:txBody>
          <a:bodyPr wrap="none" lIns="0" tIns="0" rIns="0" bIns="0" rtlCol="0">
            <a:noAutofit/>
          </a:bodyPr>
          <a:lstStyle/>
          <a:p>
            <a:pPr marL="0" marR="0" lvl="0" indent="0" algn="l" defTabSz="457200" rtl="0" eaLnBrk="1" fontAlgn="auto" latinLnBrk="0" hangingPunct="1">
              <a:lnSpc>
                <a:spcPct val="90000"/>
              </a:lnSpc>
              <a:spcBef>
                <a:spcPts val="0"/>
              </a:spcBef>
              <a:spcAft>
                <a:spcPts val="1000"/>
              </a:spcAft>
              <a:buClrTx/>
              <a:buSzTx/>
              <a:buFontTx/>
              <a:buNone/>
              <a:tabLst/>
              <a:defRPr/>
            </a:pPr>
            <a:r>
              <a:rPr kumimoji="0" lang="en-US" sz="1800" b="0" i="0" u="none" strike="noStrike" kern="1200" cap="none" spc="0" normalizeH="0" baseline="0" noProof="0">
                <a:ln>
                  <a:noFill/>
                </a:ln>
                <a:solidFill>
                  <a:srgbClr val="FF4D00"/>
                </a:solidFill>
                <a:effectLst/>
                <a:uLnTx/>
                <a:uFillTx/>
                <a:latin typeface="Roboto" charset="0"/>
                <a:ea typeface="Roboto" charset="0"/>
                <a:cs typeface="Roboto" charset="0"/>
              </a:rPr>
              <a:t>Cloud Data Integration</a:t>
            </a:r>
          </a:p>
        </p:txBody>
      </p:sp>
      <p:sp>
        <p:nvSpPr>
          <p:cNvPr id="15" name="TextBox 14">
            <a:extLst>
              <a:ext uri="{FF2B5EF4-FFF2-40B4-BE49-F238E27FC236}">
                <a16:creationId xmlns:a16="http://schemas.microsoft.com/office/drawing/2014/main" id="{21BEBB0D-97CD-9D4B-A716-D1C995DD6B7F}"/>
              </a:ext>
            </a:extLst>
          </p:cNvPr>
          <p:cNvSpPr txBox="1"/>
          <p:nvPr/>
        </p:nvSpPr>
        <p:spPr>
          <a:xfrm>
            <a:off x="1293472" y="2773731"/>
            <a:ext cx="914400" cy="914400"/>
          </a:xfrm>
          <a:prstGeom prst="rect">
            <a:avLst/>
          </a:prstGeom>
          <a:noFill/>
        </p:spPr>
        <p:txBody>
          <a:bodyPr wrap="none" lIns="0" tIns="0" rIns="0" bIns="0" rtlCol="0">
            <a:noAutofit/>
          </a:bodyPr>
          <a:lstStyle/>
          <a:p>
            <a:pPr marL="0" marR="0" lvl="0" indent="0" algn="l" defTabSz="457200" rtl="0" eaLnBrk="1" fontAlgn="auto" latinLnBrk="0" hangingPunct="1">
              <a:lnSpc>
                <a:spcPct val="90000"/>
              </a:lnSpc>
              <a:spcBef>
                <a:spcPts val="0"/>
              </a:spcBef>
              <a:spcAft>
                <a:spcPts val="1000"/>
              </a:spcAft>
              <a:buClrTx/>
              <a:buSzTx/>
              <a:buFontTx/>
              <a:buNone/>
              <a:tabLst/>
              <a:defRPr/>
            </a:pPr>
            <a:r>
              <a:rPr kumimoji="0" lang="en-US" sz="1800" b="0" i="0" u="none" strike="noStrike" kern="1200" cap="none" spc="0" normalizeH="0" baseline="0" noProof="0" dirty="0">
                <a:ln>
                  <a:noFill/>
                </a:ln>
                <a:solidFill>
                  <a:srgbClr val="FF4D00"/>
                </a:solidFill>
                <a:effectLst/>
                <a:uLnTx/>
                <a:uFillTx/>
                <a:latin typeface="Roboto" charset="0"/>
                <a:ea typeface="Roboto" charset="0"/>
                <a:cs typeface="Roboto" charset="0"/>
              </a:rPr>
              <a:t>Customer 360</a:t>
            </a:r>
          </a:p>
        </p:txBody>
      </p:sp>
      <p:sp>
        <p:nvSpPr>
          <p:cNvPr id="16" name="TextBox 15">
            <a:extLst>
              <a:ext uri="{FF2B5EF4-FFF2-40B4-BE49-F238E27FC236}">
                <a16:creationId xmlns:a16="http://schemas.microsoft.com/office/drawing/2014/main" id="{0EF1564B-FCE8-4B4D-8AA8-EA5293100DB1}"/>
              </a:ext>
            </a:extLst>
          </p:cNvPr>
          <p:cNvSpPr txBox="1"/>
          <p:nvPr/>
        </p:nvSpPr>
        <p:spPr>
          <a:xfrm>
            <a:off x="6907507" y="2757301"/>
            <a:ext cx="2571124" cy="1221315"/>
          </a:xfrm>
          <a:prstGeom prst="rect">
            <a:avLst/>
          </a:prstGeom>
          <a:noFill/>
        </p:spPr>
        <p:txBody>
          <a:bodyPr wrap="none" lIns="0" tIns="0" rIns="0" bIns="0" rtlCol="0">
            <a:noAutofit/>
          </a:bodyPr>
          <a:lstStyle/>
          <a:p>
            <a:pPr marL="0" marR="0" lvl="0" indent="0" algn="l" defTabSz="457200" rtl="0" eaLnBrk="1" fontAlgn="auto" latinLnBrk="0" hangingPunct="1">
              <a:lnSpc>
                <a:spcPct val="90000"/>
              </a:lnSpc>
              <a:spcBef>
                <a:spcPts val="0"/>
              </a:spcBef>
              <a:spcAft>
                <a:spcPts val="1000"/>
              </a:spcAft>
              <a:buClrTx/>
              <a:buSzTx/>
              <a:buFontTx/>
              <a:buNone/>
              <a:tabLst/>
              <a:defRPr/>
            </a:pPr>
            <a:r>
              <a:rPr kumimoji="0" lang="en-US" sz="1800" b="0" i="0" u="none" strike="noStrike" kern="1200" cap="none" spc="0" normalizeH="0" baseline="0" noProof="0">
                <a:ln>
                  <a:noFill/>
                </a:ln>
                <a:solidFill>
                  <a:srgbClr val="FF4D00"/>
                </a:solidFill>
                <a:effectLst/>
                <a:uLnTx/>
                <a:uFillTx/>
                <a:latin typeface="Roboto" charset="0"/>
                <a:ea typeface="Roboto" charset="0"/>
                <a:cs typeface="Roboto" charset="0"/>
              </a:rPr>
              <a:t>C360 SaaS</a:t>
            </a:r>
          </a:p>
        </p:txBody>
      </p:sp>
      <p:sp>
        <p:nvSpPr>
          <p:cNvPr id="17" name="TextBox 16">
            <a:extLst>
              <a:ext uri="{FF2B5EF4-FFF2-40B4-BE49-F238E27FC236}">
                <a16:creationId xmlns:a16="http://schemas.microsoft.com/office/drawing/2014/main" id="{13342698-C991-E348-BC33-7E4BBDEBC6DF}"/>
              </a:ext>
            </a:extLst>
          </p:cNvPr>
          <p:cNvSpPr txBox="1"/>
          <p:nvPr/>
        </p:nvSpPr>
        <p:spPr>
          <a:xfrm>
            <a:off x="845270" y="4323984"/>
            <a:ext cx="914400" cy="914400"/>
          </a:xfrm>
          <a:prstGeom prst="rect">
            <a:avLst/>
          </a:prstGeom>
          <a:noFill/>
        </p:spPr>
        <p:txBody>
          <a:bodyPr wrap="none" lIns="0" tIns="0" rIns="0" bIns="0" rtlCol="0">
            <a:noAutofit/>
          </a:bodyPr>
          <a:lstStyle/>
          <a:p>
            <a:pPr marL="0" marR="0" lvl="0" indent="0" algn="l" defTabSz="457200" rtl="0" eaLnBrk="1" fontAlgn="auto" latinLnBrk="0" hangingPunct="1">
              <a:lnSpc>
                <a:spcPct val="90000"/>
              </a:lnSpc>
              <a:spcBef>
                <a:spcPts val="0"/>
              </a:spcBef>
              <a:spcAft>
                <a:spcPts val="1000"/>
              </a:spcAft>
              <a:buClrTx/>
              <a:buSzTx/>
              <a:buFontTx/>
              <a:buNone/>
              <a:tabLst/>
              <a:defRPr/>
            </a:pPr>
            <a:r>
              <a:rPr kumimoji="0" lang="en-US" sz="1800" b="0" i="0" u="none" strike="noStrike" kern="1200" cap="none" spc="0" normalizeH="0" baseline="0" noProof="0" dirty="0">
                <a:ln>
                  <a:noFill/>
                </a:ln>
                <a:solidFill>
                  <a:srgbClr val="FF4D00"/>
                </a:solidFill>
                <a:effectLst/>
                <a:uLnTx/>
                <a:uFillTx/>
                <a:latin typeface="Roboto" charset="0"/>
                <a:ea typeface="Roboto" charset="0"/>
                <a:cs typeface="Roboto" charset="0"/>
              </a:rPr>
              <a:t> Informatica Data Quality</a:t>
            </a:r>
          </a:p>
        </p:txBody>
      </p:sp>
      <p:sp>
        <p:nvSpPr>
          <p:cNvPr id="18" name="TextBox 17">
            <a:extLst>
              <a:ext uri="{FF2B5EF4-FFF2-40B4-BE49-F238E27FC236}">
                <a16:creationId xmlns:a16="http://schemas.microsoft.com/office/drawing/2014/main" id="{00C6F01B-89A5-324B-8CA0-1EB36DCDAA36}"/>
              </a:ext>
            </a:extLst>
          </p:cNvPr>
          <p:cNvSpPr txBox="1"/>
          <p:nvPr/>
        </p:nvSpPr>
        <p:spPr>
          <a:xfrm>
            <a:off x="6644155" y="4591186"/>
            <a:ext cx="914400" cy="914400"/>
          </a:xfrm>
          <a:prstGeom prst="rect">
            <a:avLst/>
          </a:prstGeom>
          <a:noFill/>
        </p:spPr>
        <p:txBody>
          <a:bodyPr wrap="none" lIns="0" tIns="0" rIns="0" bIns="0" rtlCol="0">
            <a:noAutofit/>
          </a:bodyPr>
          <a:lstStyle/>
          <a:p>
            <a:pPr marL="0" marR="0" lvl="0" indent="0" algn="l" defTabSz="457200" rtl="0" eaLnBrk="1" fontAlgn="auto" latinLnBrk="0" hangingPunct="1">
              <a:lnSpc>
                <a:spcPct val="90000"/>
              </a:lnSpc>
              <a:spcBef>
                <a:spcPts val="0"/>
              </a:spcBef>
              <a:spcAft>
                <a:spcPts val="1000"/>
              </a:spcAft>
              <a:buClrTx/>
              <a:buSzTx/>
              <a:buFontTx/>
              <a:buNone/>
              <a:tabLst/>
              <a:defRPr/>
            </a:pPr>
            <a:r>
              <a:rPr kumimoji="0" lang="en-US" sz="1800" b="0" i="0" u="none" strike="noStrike" kern="1200" cap="none" spc="0" normalizeH="0" baseline="0" noProof="0">
                <a:ln>
                  <a:noFill/>
                </a:ln>
                <a:solidFill>
                  <a:srgbClr val="FF4D00"/>
                </a:solidFill>
                <a:effectLst/>
                <a:uLnTx/>
                <a:uFillTx/>
                <a:latin typeface="Roboto" charset="0"/>
                <a:ea typeface="Roboto" charset="0"/>
                <a:cs typeface="Roboto" charset="0"/>
              </a:rPr>
              <a:t>Cloud Data Quality</a:t>
            </a:r>
          </a:p>
        </p:txBody>
      </p:sp>
      <p:cxnSp>
        <p:nvCxnSpPr>
          <p:cNvPr id="6" name="Straight Connector 5">
            <a:extLst>
              <a:ext uri="{FF2B5EF4-FFF2-40B4-BE49-F238E27FC236}">
                <a16:creationId xmlns:a16="http://schemas.microsoft.com/office/drawing/2014/main" id="{1FA7C3A3-1022-AD4B-8284-20576652B5EC}"/>
              </a:ext>
            </a:extLst>
          </p:cNvPr>
          <p:cNvCxnSpPr/>
          <p:nvPr/>
        </p:nvCxnSpPr>
        <p:spPr>
          <a:xfrm>
            <a:off x="9478631" y="813473"/>
            <a:ext cx="0" cy="5498961"/>
          </a:xfrm>
          <a:prstGeom prst="line">
            <a:avLst/>
          </a:prstGeom>
          <a:ln w="38100"/>
        </p:spPr>
        <p:style>
          <a:lnRef idx="1">
            <a:schemeClr val="dk1"/>
          </a:lnRef>
          <a:fillRef idx="0">
            <a:schemeClr val="dk1"/>
          </a:fillRef>
          <a:effectRef idx="0">
            <a:schemeClr val="dk1"/>
          </a:effectRef>
          <a:fontRef idx="minor">
            <a:schemeClr val="tx1"/>
          </a:fontRef>
        </p:style>
      </p:cxnSp>
      <p:sp>
        <p:nvSpPr>
          <p:cNvPr id="11" name="TextBox 10">
            <a:extLst>
              <a:ext uri="{FF2B5EF4-FFF2-40B4-BE49-F238E27FC236}">
                <a16:creationId xmlns:a16="http://schemas.microsoft.com/office/drawing/2014/main" id="{4C53C334-BAC0-C94D-AE87-7B10C52AF68D}"/>
              </a:ext>
            </a:extLst>
          </p:cNvPr>
          <p:cNvSpPr txBox="1"/>
          <p:nvPr/>
        </p:nvSpPr>
        <p:spPr>
          <a:xfrm>
            <a:off x="9844583" y="1759280"/>
            <a:ext cx="1967593" cy="3853363"/>
          </a:xfrm>
          <a:prstGeom prst="rect">
            <a:avLst/>
          </a:prstGeom>
          <a:noFill/>
        </p:spPr>
        <p:txBody>
          <a:bodyPr wrap="square" lIns="91440" tIns="45720" rIns="91440" bIns="45720" rtlCol="0">
            <a:spAutoFit/>
          </a:bodyPr>
          <a:lstStyle/>
          <a:p>
            <a:pPr marL="0" marR="0" lvl="0" indent="0" algn="l" defTabSz="457200" rtl="0" eaLnBrk="1" fontAlgn="auto" latinLnBrk="0" hangingPunct="1">
              <a:lnSpc>
                <a:spcPct val="90000"/>
              </a:lnSpc>
              <a:spcBef>
                <a:spcPts val="0"/>
              </a:spcBef>
              <a:spcAft>
                <a:spcPts val="1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Roboto" charset="0"/>
                <a:ea typeface="Roboto" charset="0"/>
                <a:cs typeface="Roboto" charset="0"/>
              </a:rPr>
              <a:t>Start Small and Scale</a:t>
            </a:r>
          </a:p>
          <a:p>
            <a:pPr marL="0" marR="0" lvl="0" indent="0" algn="l" defTabSz="457200" rtl="0" eaLnBrk="1" fontAlgn="auto" latinLnBrk="0" hangingPunct="1">
              <a:lnSpc>
                <a:spcPct val="90000"/>
              </a:lnSpc>
              <a:spcBef>
                <a:spcPts val="0"/>
              </a:spcBef>
              <a:spcAft>
                <a:spcPts val="100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charset="0"/>
              <a:ea typeface="Roboto" charset="0"/>
              <a:cs typeface="Roboto" charset="0"/>
            </a:endParaRPr>
          </a:p>
          <a:p>
            <a:pPr marL="0" marR="0" lvl="0" indent="0" algn="l" defTabSz="457200" rtl="0" eaLnBrk="1" fontAlgn="auto" latinLnBrk="0" hangingPunct="1">
              <a:lnSpc>
                <a:spcPct val="90000"/>
              </a:lnSpc>
              <a:spcBef>
                <a:spcPts val="0"/>
              </a:spcBef>
              <a:spcAft>
                <a:spcPts val="1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Roboto" charset="0"/>
                <a:ea typeface="Roboto" charset="0"/>
                <a:cs typeface="Roboto" charset="0"/>
              </a:rPr>
              <a:t>Begin with your most critical use-case</a:t>
            </a:r>
          </a:p>
          <a:p>
            <a:pPr marL="0" marR="0" lvl="0" indent="0" algn="l" defTabSz="457200" rtl="0" eaLnBrk="1" fontAlgn="auto" latinLnBrk="0" hangingPunct="1">
              <a:lnSpc>
                <a:spcPct val="90000"/>
              </a:lnSpc>
              <a:spcBef>
                <a:spcPts val="0"/>
              </a:spcBef>
              <a:spcAft>
                <a:spcPts val="100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charset="0"/>
              <a:ea typeface="Roboto" charset="0"/>
              <a:cs typeface="Roboto" charset="0"/>
            </a:endParaRPr>
          </a:p>
          <a:p>
            <a:pPr marL="0" marR="0" lvl="0" indent="0" algn="l" defTabSz="457200" rtl="0" eaLnBrk="1" fontAlgn="auto" latinLnBrk="0" hangingPunct="1">
              <a:lnSpc>
                <a:spcPct val="90000"/>
              </a:lnSpc>
              <a:spcBef>
                <a:spcPts val="0"/>
              </a:spcBef>
              <a:spcAft>
                <a:spcPts val="1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Roboto" charset="0"/>
                <a:ea typeface="Roboto" charset="0"/>
                <a:cs typeface="Roboto" charset="0"/>
              </a:rPr>
              <a:t>Hybrid is </a:t>
            </a:r>
            <a:r>
              <a:rPr kumimoji="0" lang="en-US" sz="1800" b="0" i="0" u="none" strike="noStrike" kern="1200" cap="none" spc="0" normalizeH="0" baseline="0" noProof="0" err="1">
                <a:ln>
                  <a:noFill/>
                </a:ln>
                <a:solidFill>
                  <a:srgbClr val="FFFFFF"/>
                </a:solidFill>
                <a:effectLst/>
                <a:uLnTx/>
                <a:uFillTx/>
                <a:latin typeface="Roboto" charset="0"/>
                <a:ea typeface="Roboto" charset="0"/>
                <a:cs typeface="Roboto" charset="0"/>
              </a:rPr>
              <a:t>O.k</a:t>
            </a:r>
            <a:endParaRPr kumimoji="0" lang="en-US" sz="1800" b="0" i="0" u="none" strike="noStrike" kern="1200" cap="none" spc="0" normalizeH="0" baseline="0" noProof="0">
              <a:ln>
                <a:noFill/>
              </a:ln>
              <a:solidFill>
                <a:srgbClr val="FFFFFF"/>
              </a:solidFill>
              <a:effectLst/>
              <a:uLnTx/>
              <a:uFillTx/>
              <a:latin typeface="Roboto" charset="0"/>
              <a:ea typeface="Roboto" charset="0"/>
              <a:cs typeface="Roboto" charset="0"/>
            </a:endParaRPr>
          </a:p>
          <a:p>
            <a:pPr marL="0" marR="0" lvl="0" indent="0" algn="l" defTabSz="457200" rtl="0" eaLnBrk="1" fontAlgn="auto" latinLnBrk="0" hangingPunct="1">
              <a:lnSpc>
                <a:spcPct val="90000"/>
              </a:lnSpc>
              <a:spcBef>
                <a:spcPts val="0"/>
              </a:spcBef>
              <a:spcAft>
                <a:spcPts val="100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charset="0"/>
              <a:ea typeface="Roboto" charset="0"/>
              <a:cs typeface="Roboto" charset="0"/>
            </a:endParaRPr>
          </a:p>
          <a:p>
            <a:pPr marL="0" marR="0" lvl="0" indent="0" algn="l" defTabSz="457200" rtl="0" eaLnBrk="1" fontAlgn="auto" latinLnBrk="0" hangingPunct="1">
              <a:lnSpc>
                <a:spcPct val="90000"/>
              </a:lnSpc>
              <a:spcBef>
                <a:spcPts val="0"/>
              </a:spcBef>
              <a:spcAft>
                <a:spcPts val="1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Roboto" charset="0"/>
                <a:ea typeface="Roboto" charset="0"/>
                <a:cs typeface="Roboto" charset="0"/>
              </a:rPr>
              <a:t>Side by Side support while you Modernize</a:t>
            </a:r>
          </a:p>
        </p:txBody>
      </p:sp>
      <p:sp>
        <p:nvSpPr>
          <p:cNvPr id="5" name="Rectangle: Rounded Corners 4">
            <a:extLst>
              <a:ext uri="{FF2B5EF4-FFF2-40B4-BE49-F238E27FC236}">
                <a16:creationId xmlns:a16="http://schemas.microsoft.com/office/drawing/2014/main" id="{874F63C3-A035-49D3-A6FC-A17CBA129500}"/>
              </a:ext>
            </a:extLst>
          </p:cNvPr>
          <p:cNvSpPr/>
          <p:nvPr/>
        </p:nvSpPr>
        <p:spPr>
          <a:xfrm>
            <a:off x="5752214" y="813473"/>
            <a:ext cx="3646964" cy="1960258"/>
          </a:xfrm>
          <a:prstGeom prst="round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algn="ctr"/>
            <a:endParaRPr lang="en-US" sz="1600" dirty="0">
              <a:solidFill>
                <a:schemeClr val="bg1"/>
              </a:solidFill>
              <a:latin typeface="Roboto" charset="0"/>
              <a:ea typeface="Roboto" charset="0"/>
              <a:cs typeface="Roboto" charset="0"/>
            </a:endParaRPr>
          </a:p>
        </p:txBody>
      </p:sp>
    </p:spTree>
    <p:extLst>
      <p:ext uri="{BB962C8B-B14F-4D97-AF65-F5344CB8AC3E}">
        <p14:creationId xmlns:p14="http://schemas.microsoft.com/office/powerpoint/2010/main" val="2946843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par>
                                <p:cTn id="13" presetID="10" presetClass="entr" presetSubtype="0" fill="hold" nodeType="withEffect">
                                  <p:stCondLst>
                                    <p:cond delay="0"/>
                                  </p:stCondLst>
                                  <p:childTnLst>
                                    <p:set>
                                      <p:cBhvr>
                                        <p:cTn id="14" dur="1" fill="hold">
                                          <p:stCondLst>
                                            <p:cond delay="0"/>
                                          </p:stCondLst>
                                        </p:cTn>
                                        <p:tgtEl>
                                          <p:spTgt spid="3074"/>
                                        </p:tgtEl>
                                        <p:attrNameLst>
                                          <p:attrName>style.visibility</p:attrName>
                                        </p:attrNameLst>
                                      </p:cBhvr>
                                      <p:to>
                                        <p:strVal val="visible"/>
                                      </p:to>
                                    </p:set>
                                    <p:animEffect transition="in" filter="fade">
                                      <p:cBhvr>
                                        <p:cTn id="15" dur="500"/>
                                        <p:tgtEl>
                                          <p:spTgt spid="3074"/>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7"/>
                                        </p:tgtEl>
                                        <p:attrNameLst>
                                          <p:attrName>style.visibility</p:attrName>
                                        </p:attrNameLst>
                                      </p:cBhvr>
                                      <p:to>
                                        <p:strVal val="visible"/>
                                      </p:to>
                                    </p:set>
                                    <p:animEffect transition="in" filter="fade">
                                      <p:cBhvr>
                                        <p:cTn id="20" dur="500"/>
                                        <p:tgtEl>
                                          <p:spTgt spid="17"/>
                                        </p:tgtEl>
                                      </p:cBhvr>
                                    </p:animEffect>
                                  </p:childTnLst>
                                </p:cTn>
                              </p:par>
                              <p:par>
                                <p:cTn id="21" presetID="10" presetClass="entr" presetSubtype="0" fill="hold" nodeType="withEffect">
                                  <p:stCondLst>
                                    <p:cond delay="0"/>
                                  </p:stCondLst>
                                  <p:childTnLst>
                                    <p:set>
                                      <p:cBhvr>
                                        <p:cTn id="22" dur="1" fill="hold">
                                          <p:stCondLst>
                                            <p:cond delay="0"/>
                                          </p:stCondLst>
                                        </p:cTn>
                                        <p:tgtEl>
                                          <p:spTgt spid="3078"/>
                                        </p:tgtEl>
                                        <p:attrNameLst>
                                          <p:attrName>style.visibility</p:attrName>
                                        </p:attrNameLst>
                                      </p:cBhvr>
                                      <p:to>
                                        <p:strVal val="visible"/>
                                      </p:to>
                                    </p:set>
                                    <p:animEffect transition="in" filter="fade">
                                      <p:cBhvr>
                                        <p:cTn id="23" dur="500"/>
                                        <p:tgtEl>
                                          <p:spTgt spid="3078"/>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fade">
                                      <p:cBhvr>
                                        <p:cTn id="28" dur="500"/>
                                        <p:tgtEl>
                                          <p:spTgt spid="12"/>
                                        </p:tgtEl>
                                      </p:cBhvr>
                                    </p:animEffect>
                                  </p:childTnLst>
                                </p:cTn>
                              </p:par>
                              <p:par>
                                <p:cTn id="29" presetID="10" presetClass="entr" presetSubtype="0" fill="hold" nodeType="withEffect">
                                  <p:stCondLst>
                                    <p:cond delay="0"/>
                                  </p:stCondLst>
                                  <p:childTnLst>
                                    <p:set>
                                      <p:cBhvr>
                                        <p:cTn id="30" dur="1" fill="hold">
                                          <p:stCondLst>
                                            <p:cond delay="0"/>
                                          </p:stCondLst>
                                        </p:cTn>
                                        <p:tgtEl>
                                          <p:spTgt spid="3080"/>
                                        </p:tgtEl>
                                        <p:attrNameLst>
                                          <p:attrName>style.visibility</p:attrName>
                                        </p:attrNameLst>
                                      </p:cBhvr>
                                      <p:to>
                                        <p:strVal val="visible"/>
                                      </p:to>
                                    </p:set>
                                    <p:animEffect transition="in" filter="fade">
                                      <p:cBhvr>
                                        <p:cTn id="31" dur="500"/>
                                        <p:tgtEl>
                                          <p:spTgt spid="3080"/>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8"/>
                                        </p:tgtEl>
                                        <p:attrNameLst>
                                          <p:attrName>style.visibility</p:attrName>
                                        </p:attrNameLst>
                                      </p:cBhvr>
                                      <p:to>
                                        <p:strVal val="visible"/>
                                      </p:to>
                                    </p:set>
                                    <p:animEffect transition="in" filter="fade">
                                      <p:cBhvr>
                                        <p:cTn id="34" dur="500"/>
                                        <p:tgtEl>
                                          <p:spTgt spid="18"/>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0"/>
                                        </p:tgtEl>
                                        <p:attrNameLst>
                                          <p:attrName>style.visibility</p:attrName>
                                        </p:attrNameLst>
                                      </p:cBhvr>
                                      <p:to>
                                        <p:strVal val="visible"/>
                                      </p:to>
                                    </p:set>
                                    <p:animEffect transition="in" filter="fade">
                                      <p:cBhvr>
                                        <p:cTn id="39" dur="500"/>
                                        <p:tgtEl>
                                          <p:spTgt spid="1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6"/>
                                        </p:tgtEl>
                                        <p:attrNameLst>
                                          <p:attrName>style.visibility</p:attrName>
                                        </p:attrNameLst>
                                      </p:cBhvr>
                                      <p:to>
                                        <p:strVal val="visible"/>
                                      </p:to>
                                    </p:set>
                                    <p:animEffect transition="in" filter="fade">
                                      <p:cBhvr>
                                        <p:cTn id="42" dur="500"/>
                                        <p:tgtEl>
                                          <p:spTgt spid="16"/>
                                        </p:tgtEl>
                                      </p:cBhvr>
                                    </p:animEffect>
                                  </p:childTnLst>
                                </p:cTn>
                              </p:par>
                              <p:par>
                                <p:cTn id="43" presetID="10" presetClass="entr" presetSubtype="0" fill="hold" nodeType="withEffect">
                                  <p:stCondLst>
                                    <p:cond delay="0"/>
                                  </p:stCondLst>
                                  <p:childTnLst>
                                    <p:set>
                                      <p:cBhvr>
                                        <p:cTn id="44" dur="1" fill="hold">
                                          <p:stCondLst>
                                            <p:cond delay="0"/>
                                          </p:stCondLst>
                                        </p:cTn>
                                        <p:tgtEl>
                                          <p:spTgt spid="3076"/>
                                        </p:tgtEl>
                                        <p:attrNameLst>
                                          <p:attrName>style.visibility</p:attrName>
                                        </p:attrNameLst>
                                      </p:cBhvr>
                                      <p:to>
                                        <p:strVal val="visible"/>
                                      </p:to>
                                    </p:set>
                                    <p:animEffect transition="in" filter="fade">
                                      <p:cBhvr>
                                        <p:cTn id="45" dur="500"/>
                                        <p:tgtEl>
                                          <p:spTgt spid="3076"/>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8"/>
                                        </p:tgtEl>
                                        <p:attrNameLst>
                                          <p:attrName>style.visibility</p:attrName>
                                        </p:attrNameLst>
                                      </p:cBhvr>
                                      <p:to>
                                        <p:strVal val="visible"/>
                                      </p:to>
                                    </p:set>
                                    <p:animEffect transition="in" filter="fade">
                                      <p:cBhvr>
                                        <p:cTn id="50" dur="500"/>
                                        <p:tgtEl>
                                          <p:spTgt spid="8"/>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4"/>
                                        </p:tgtEl>
                                        <p:attrNameLst>
                                          <p:attrName>style.visibility</p:attrName>
                                        </p:attrNameLst>
                                      </p:cBhvr>
                                      <p:to>
                                        <p:strVal val="visible"/>
                                      </p:to>
                                    </p:set>
                                    <p:animEffect transition="in" filter="fade">
                                      <p:cBhvr>
                                        <p:cTn id="53" dur="500"/>
                                        <p:tgtEl>
                                          <p:spTgt spid="14"/>
                                        </p:tgtEl>
                                      </p:cBhvr>
                                    </p:animEffect>
                                  </p:childTnLst>
                                </p:cTn>
                              </p:par>
                              <p:par>
                                <p:cTn id="54" presetID="10" presetClass="entr" presetSubtype="0" fill="hold" nodeType="withEffect">
                                  <p:stCondLst>
                                    <p:cond delay="0"/>
                                  </p:stCondLst>
                                  <p:childTnLst>
                                    <p:set>
                                      <p:cBhvr>
                                        <p:cTn id="55" dur="1" fill="hold">
                                          <p:stCondLst>
                                            <p:cond delay="0"/>
                                          </p:stCondLst>
                                        </p:cTn>
                                        <p:tgtEl>
                                          <p:spTgt spid="9"/>
                                        </p:tgtEl>
                                        <p:attrNameLst>
                                          <p:attrName>style.visibility</p:attrName>
                                        </p:attrNameLst>
                                      </p:cBhvr>
                                      <p:to>
                                        <p:strVal val="visible"/>
                                      </p:to>
                                    </p:set>
                                    <p:animEffect transition="in" filter="fade">
                                      <p:cBhvr>
                                        <p:cTn id="56" dur="500"/>
                                        <p:tgtEl>
                                          <p:spTgt spid="9"/>
                                        </p:tgtEl>
                                      </p:cBhvr>
                                    </p:animEffect>
                                  </p:childTnLst>
                                </p:cTn>
                              </p:par>
                            </p:childTnLst>
                          </p:cTn>
                        </p:par>
                      </p:childTnLst>
                    </p:cTn>
                  </p:par>
                  <p:par>
                    <p:cTn id="57" fill="hold">
                      <p:stCondLst>
                        <p:cond delay="indefinite"/>
                      </p:stCondLst>
                      <p:childTnLst>
                        <p:par>
                          <p:cTn id="58" fill="hold">
                            <p:stCondLst>
                              <p:cond delay="0"/>
                            </p:stCondLst>
                            <p:childTnLst>
                              <p:par>
                                <p:cTn id="59" presetID="16" presetClass="entr" presetSubtype="21" fill="hold" grpId="0" nodeType="clickEffect">
                                  <p:stCondLst>
                                    <p:cond delay="0"/>
                                  </p:stCondLst>
                                  <p:childTnLst>
                                    <p:set>
                                      <p:cBhvr>
                                        <p:cTn id="60" dur="1" fill="hold">
                                          <p:stCondLst>
                                            <p:cond delay="0"/>
                                          </p:stCondLst>
                                        </p:cTn>
                                        <p:tgtEl>
                                          <p:spTgt spid="5"/>
                                        </p:tgtEl>
                                        <p:attrNameLst>
                                          <p:attrName>style.visibility</p:attrName>
                                        </p:attrNameLst>
                                      </p:cBhvr>
                                      <p:to>
                                        <p:strVal val="visible"/>
                                      </p:to>
                                    </p:set>
                                    <p:animEffect transition="in" filter="barn(inVertical)">
                                      <p:cBhvr>
                                        <p:cTn id="61"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animBg="1"/>
      <p:bldP spid="12" grpId="0" animBg="1"/>
      <p:bldP spid="14" grpId="0"/>
      <p:bldP spid="15" grpId="0"/>
      <p:bldP spid="16" grpId="0"/>
      <p:bldP spid="17" grpId="0"/>
      <p:bldP spid="18" grpId="0"/>
      <p:bldP spid="5"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E1078B8-B326-4EA1-8883-CB88CB942540}"/>
              </a:ext>
            </a:extLst>
          </p:cNvPr>
          <p:cNvSpPr>
            <a:spLocks noGrp="1"/>
          </p:cNvSpPr>
          <p:nvPr>
            <p:ph type="body" sz="quarter" idx="11"/>
          </p:nvPr>
        </p:nvSpPr>
        <p:spPr/>
        <p:txBody>
          <a:bodyPr/>
          <a:lstStyle/>
          <a:p>
            <a:r>
              <a:rPr lang="en-US" dirty="0"/>
              <a:t>Refresher</a:t>
            </a:r>
          </a:p>
        </p:txBody>
      </p:sp>
      <p:sp>
        <p:nvSpPr>
          <p:cNvPr id="3" name="Text Placeholder 2">
            <a:extLst>
              <a:ext uri="{FF2B5EF4-FFF2-40B4-BE49-F238E27FC236}">
                <a16:creationId xmlns:a16="http://schemas.microsoft.com/office/drawing/2014/main" id="{0D7C57D8-3770-40AD-A660-65C7332D0223}"/>
              </a:ext>
            </a:extLst>
          </p:cNvPr>
          <p:cNvSpPr>
            <a:spLocks noGrp="1"/>
          </p:cNvSpPr>
          <p:nvPr>
            <p:ph type="body" sz="quarter" idx="13"/>
          </p:nvPr>
        </p:nvSpPr>
        <p:spPr/>
        <p:txBody>
          <a:bodyPr/>
          <a:lstStyle/>
          <a:p>
            <a:r>
              <a:rPr lang="en-US" dirty="0"/>
              <a:t>IICS basics</a:t>
            </a:r>
          </a:p>
        </p:txBody>
      </p:sp>
    </p:spTree>
    <p:extLst>
      <p:ext uri="{BB962C8B-B14F-4D97-AF65-F5344CB8AC3E}">
        <p14:creationId xmlns:p14="http://schemas.microsoft.com/office/powerpoint/2010/main" val="128048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0184FD31-FA03-42E1-8B56-CA89A5C62A14}"/>
              </a:ext>
            </a:extLst>
          </p:cNvPr>
          <p:cNvGraphicFramePr>
            <a:graphicFrameLocks noGrp="1"/>
          </p:cNvGraphicFramePr>
          <p:nvPr>
            <p:ph sz="quarter" idx="14"/>
            <p:extLst>
              <p:ext uri="{D42A27DB-BD31-4B8C-83A1-F6EECF244321}">
                <p14:modId xmlns:p14="http://schemas.microsoft.com/office/powerpoint/2010/main" val="1826950474"/>
              </p:ext>
            </p:extLst>
          </p:nvPr>
        </p:nvGraphicFramePr>
        <p:xfrm>
          <a:off x="1027113" y="1158949"/>
          <a:ext cx="6181761" cy="486085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2">
            <a:extLst>
              <a:ext uri="{FF2B5EF4-FFF2-40B4-BE49-F238E27FC236}">
                <a16:creationId xmlns:a16="http://schemas.microsoft.com/office/drawing/2014/main" id="{AFD40B67-948E-4387-9564-BF5552AF1F98}"/>
              </a:ext>
            </a:extLst>
          </p:cNvPr>
          <p:cNvSpPr>
            <a:spLocks noGrp="1"/>
          </p:cNvSpPr>
          <p:nvPr>
            <p:ph type="title"/>
          </p:nvPr>
        </p:nvSpPr>
        <p:spPr/>
        <p:txBody>
          <a:bodyPr/>
          <a:lstStyle/>
          <a:p>
            <a:r>
              <a:rPr lang="en-US" dirty="0"/>
              <a:t>IICS Basics refresher</a:t>
            </a:r>
          </a:p>
        </p:txBody>
      </p:sp>
      <p:sp>
        <p:nvSpPr>
          <p:cNvPr id="5" name="TextBox 4">
            <a:extLst>
              <a:ext uri="{FF2B5EF4-FFF2-40B4-BE49-F238E27FC236}">
                <a16:creationId xmlns:a16="http://schemas.microsoft.com/office/drawing/2014/main" id="{FE1F7A90-B43F-4311-ACC5-1A26B80100D2}"/>
              </a:ext>
            </a:extLst>
          </p:cNvPr>
          <p:cNvSpPr txBox="1"/>
          <p:nvPr/>
        </p:nvSpPr>
        <p:spPr>
          <a:xfrm>
            <a:off x="7729870" y="5433237"/>
            <a:ext cx="914400" cy="914400"/>
          </a:xfrm>
          <a:prstGeom prst="rect">
            <a:avLst/>
          </a:prstGeom>
          <a:noFill/>
        </p:spPr>
        <p:txBody>
          <a:bodyPr wrap="none" lIns="0" tIns="0" rIns="0" bIns="0" rtlCol="0">
            <a:noAutofit/>
          </a:bodyPr>
          <a:lstStyle/>
          <a:p>
            <a:pPr algn="l">
              <a:lnSpc>
                <a:spcPct val="90000"/>
              </a:lnSpc>
              <a:spcAft>
                <a:spcPts val="1000"/>
              </a:spcAft>
            </a:pPr>
            <a:endParaRPr lang="en-US" dirty="0">
              <a:latin typeface="Roboto" charset="0"/>
              <a:ea typeface="Roboto" charset="0"/>
              <a:cs typeface="Roboto" charset="0"/>
            </a:endParaRPr>
          </a:p>
        </p:txBody>
      </p:sp>
      <p:cxnSp>
        <p:nvCxnSpPr>
          <p:cNvPr id="7" name="Straight Connector 6">
            <a:extLst>
              <a:ext uri="{FF2B5EF4-FFF2-40B4-BE49-F238E27FC236}">
                <a16:creationId xmlns:a16="http://schemas.microsoft.com/office/drawing/2014/main" id="{E4E16C74-8A65-41BF-9B4B-8FBDDC538E47}"/>
              </a:ext>
            </a:extLst>
          </p:cNvPr>
          <p:cNvCxnSpPr/>
          <p:nvPr/>
        </p:nvCxnSpPr>
        <p:spPr>
          <a:xfrm>
            <a:off x="7485321" y="1541721"/>
            <a:ext cx="0" cy="430618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3463D2B2-75D2-4523-BCB7-22AA0AE454F6}"/>
              </a:ext>
            </a:extLst>
          </p:cNvPr>
          <p:cNvSpPr txBox="1"/>
          <p:nvPr/>
        </p:nvSpPr>
        <p:spPr>
          <a:xfrm>
            <a:off x="8006318" y="1711842"/>
            <a:ext cx="3923409" cy="4178595"/>
          </a:xfrm>
          <a:prstGeom prst="rect">
            <a:avLst/>
          </a:prstGeom>
          <a:noFill/>
        </p:spPr>
        <p:txBody>
          <a:bodyPr wrap="none" lIns="0" tIns="0" rIns="0" bIns="0" rtlCol="0">
            <a:noAutofit/>
          </a:bodyPr>
          <a:lstStyle/>
          <a:p>
            <a:pPr algn="l">
              <a:lnSpc>
                <a:spcPct val="90000"/>
              </a:lnSpc>
              <a:spcAft>
                <a:spcPts val="1000"/>
              </a:spcAft>
            </a:pPr>
            <a:r>
              <a:rPr lang="en-US" sz="4000" dirty="0">
                <a:solidFill>
                  <a:schemeClr val="accent1"/>
                </a:solidFill>
                <a:latin typeface="Roboto" charset="0"/>
                <a:ea typeface="Roboto" charset="0"/>
                <a:cs typeface="Roboto" charset="0"/>
              </a:rPr>
              <a:t>Single or Multi- </a:t>
            </a:r>
            <a:br>
              <a:rPr lang="en-US" sz="4000" dirty="0">
                <a:solidFill>
                  <a:schemeClr val="accent1"/>
                </a:solidFill>
                <a:latin typeface="Roboto" charset="0"/>
                <a:ea typeface="Roboto" charset="0"/>
                <a:cs typeface="Roboto" charset="0"/>
              </a:rPr>
            </a:br>
            <a:r>
              <a:rPr lang="en-US" sz="4000" dirty="0">
                <a:solidFill>
                  <a:schemeClr val="accent1"/>
                </a:solidFill>
                <a:latin typeface="Roboto" charset="0"/>
                <a:ea typeface="Roboto" charset="0"/>
                <a:cs typeface="Roboto" charset="0"/>
              </a:rPr>
              <a:t>Tenant</a:t>
            </a:r>
          </a:p>
          <a:p>
            <a:pPr algn="l">
              <a:lnSpc>
                <a:spcPct val="90000"/>
              </a:lnSpc>
              <a:spcAft>
                <a:spcPts val="1000"/>
              </a:spcAft>
            </a:pPr>
            <a:endParaRPr lang="en-US" sz="4000" dirty="0">
              <a:solidFill>
                <a:schemeClr val="accent1"/>
              </a:solidFill>
              <a:latin typeface="Roboto" charset="0"/>
              <a:ea typeface="Roboto" charset="0"/>
              <a:cs typeface="Roboto" charset="0"/>
            </a:endParaRPr>
          </a:p>
          <a:p>
            <a:pPr algn="l">
              <a:lnSpc>
                <a:spcPct val="90000"/>
              </a:lnSpc>
              <a:spcAft>
                <a:spcPts val="1000"/>
              </a:spcAft>
            </a:pPr>
            <a:r>
              <a:rPr lang="en-US" sz="4000" dirty="0">
                <a:solidFill>
                  <a:schemeClr val="accent1"/>
                </a:solidFill>
                <a:latin typeface="Roboto" charset="0"/>
                <a:ea typeface="Roboto" charset="0"/>
                <a:cs typeface="Roboto" charset="0"/>
              </a:rPr>
              <a:t>16 pods WW</a:t>
            </a:r>
          </a:p>
          <a:p>
            <a:pPr algn="l">
              <a:lnSpc>
                <a:spcPct val="90000"/>
              </a:lnSpc>
              <a:spcAft>
                <a:spcPts val="1000"/>
              </a:spcAft>
            </a:pPr>
            <a:r>
              <a:rPr lang="en-US" sz="4000" dirty="0">
                <a:solidFill>
                  <a:schemeClr val="accent1"/>
                </a:solidFill>
                <a:latin typeface="Roboto" charset="0"/>
                <a:ea typeface="Roboto" charset="0"/>
                <a:cs typeface="Roboto" charset="0"/>
              </a:rPr>
              <a:t>	</a:t>
            </a:r>
          </a:p>
          <a:p>
            <a:pPr algn="l">
              <a:lnSpc>
                <a:spcPct val="90000"/>
              </a:lnSpc>
              <a:spcAft>
                <a:spcPts val="1000"/>
              </a:spcAft>
            </a:pPr>
            <a:r>
              <a:rPr lang="en-US" sz="4000" dirty="0">
                <a:solidFill>
                  <a:schemeClr val="accent1"/>
                </a:solidFill>
                <a:latin typeface="Roboto" charset="0"/>
                <a:ea typeface="Roboto" charset="0"/>
                <a:cs typeface="Roboto" charset="0"/>
              </a:rPr>
              <a:t>AWS , Azure, GCP</a:t>
            </a:r>
          </a:p>
        </p:txBody>
      </p:sp>
    </p:spTree>
    <p:extLst>
      <p:ext uri="{BB962C8B-B14F-4D97-AF65-F5344CB8AC3E}">
        <p14:creationId xmlns:p14="http://schemas.microsoft.com/office/powerpoint/2010/main" val="3716062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nformatica 2021 template">
  <a:themeElements>
    <a:clrScheme name="Custom 40">
      <a:dk1>
        <a:srgbClr val="FFFFFF"/>
      </a:dk1>
      <a:lt1>
        <a:srgbClr val="373737"/>
      </a:lt1>
      <a:dk2>
        <a:srgbClr val="EAEAEA"/>
      </a:dk2>
      <a:lt2>
        <a:srgbClr val="0432FF"/>
      </a:lt2>
      <a:accent1>
        <a:srgbClr val="FF4D00"/>
      </a:accent1>
      <a:accent2>
        <a:srgbClr val="FF7D00"/>
      </a:accent2>
      <a:accent3>
        <a:srgbClr val="99DCE3"/>
      </a:accent3>
      <a:accent4>
        <a:srgbClr val="C10074"/>
      </a:accent4>
      <a:accent5>
        <a:srgbClr val="00A9BB"/>
      </a:accent5>
      <a:accent6>
        <a:srgbClr val="92D03D"/>
      </a:accent6>
      <a:hlink>
        <a:srgbClr val="00A9BB"/>
      </a:hlink>
      <a:folHlink>
        <a:srgbClr val="C10074"/>
      </a:folHlink>
    </a:clrScheme>
    <a:fontScheme name="Custom 7">
      <a:majorFont>
        <a:latin typeface="Roboto Light"/>
        <a:ea typeface=""/>
        <a:cs typeface=""/>
      </a:majorFont>
      <a:minorFont>
        <a:latin typeface="Robo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lIns="137160" tIns="91440" rIns="137160" bIns="91440" rtlCol="0" anchor="ctr"/>
      <a:lstStyle>
        <a:defPPr algn="ctr">
          <a:defRPr sz="1600" dirty="0">
            <a:solidFill>
              <a:schemeClr val="bg1"/>
            </a:solidFill>
            <a:latin typeface="Roboto" charset="0"/>
            <a:ea typeface="Roboto" charset="0"/>
            <a:cs typeface="Roboto"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90000"/>
          </a:lnSpc>
          <a:spcAft>
            <a:spcPts val="1000"/>
          </a:spcAft>
          <a:defRPr dirty="0">
            <a:latin typeface="Roboto" charset="0"/>
            <a:ea typeface="Roboto" charset="0"/>
            <a:cs typeface="Roboto" charset="0"/>
          </a:defRPr>
        </a:defPPr>
      </a:lstStyle>
    </a:txDef>
  </a:objectDefaults>
  <a:extraClrSchemeLst/>
  <a:extLst>
    <a:ext uri="{05A4C25C-085E-4340-85A3-A5531E510DB2}">
      <thm15:themeFamily xmlns:thm15="http://schemas.microsoft.com/office/thememl/2012/main" name="Informatica_PPT-Template_03.2019" id="{3335DC4E-4854-400E-8039-35C2DA46042A}" vid="{9D97A968-8207-491A-93B2-E9095D3C9FB8}"/>
    </a:ext>
  </a:extLst>
</a:theme>
</file>

<file path=ppt/theme/theme2.xml><?xml version="1.0" encoding="utf-8"?>
<a:theme xmlns:a="http://schemas.openxmlformats.org/drawingml/2006/main" name="1_Informatica 2020 template DARK">
  <a:themeElements>
    <a:clrScheme name="Custom 40">
      <a:dk1>
        <a:srgbClr val="FFFFFF"/>
      </a:dk1>
      <a:lt1>
        <a:srgbClr val="373737"/>
      </a:lt1>
      <a:dk2>
        <a:srgbClr val="EAEAEA"/>
      </a:dk2>
      <a:lt2>
        <a:srgbClr val="0432FF"/>
      </a:lt2>
      <a:accent1>
        <a:srgbClr val="FF4D00"/>
      </a:accent1>
      <a:accent2>
        <a:srgbClr val="FF7D00"/>
      </a:accent2>
      <a:accent3>
        <a:srgbClr val="99DCE3"/>
      </a:accent3>
      <a:accent4>
        <a:srgbClr val="C10074"/>
      </a:accent4>
      <a:accent5>
        <a:srgbClr val="00A9BB"/>
      </a:accent5>
      <a:accent6>
        <a:srgbClr val="92D03D"/>
      </a:accent6>
      <a:hlink>
        <a:srgbClr val="00A9BB"/>
      </a:hlink>
      <a:folHlink>
        <a:srgbClr val="C10074"/>
      </a:folHlink>
    </a:clrScheme>
    <a:fontScheme name="Custom 6">
      <a:majorFont>
        <a:latin typeface="Roboto Light"/>
        <a:ea typeface=""/>
        <a:cs typeface=""/>
      </a:majorFont>
      <a:minorFont>
        <a:latin typeface="Robo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lIns="137160" tIns="91440" rIns="137160" bIns="91440" rtlCol="0" anchor="ctr"/>
      <a:lstStyle>
        <a:defPPr algn="ctr">
          <a:defRPr sz="1600" dirty="0">
            <a:solidFill>
              <a:schemeClr val="bg1"/>
            </a:solidFill>
            <a:latin typeface="Roboto" charset="0"/>
            <a:ea typeface="Roboto" charset="0"/>
            <a:cs typeface="Roboto"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90000"/>
          </a:lnSpc>
          <a:spcAft>
            <a:spcPts val="1000"/>
          </a:spcAft>
          <a:defRPr dirty="0">
            <a:latin typeface="Roboto" charset="0"/>
            <a:ea typeface="Roboto" charset="0"/>
            <a:cs typeface="Roboto" charset="0"/>
          </a:defRPr>
        </a:defPPr>
      </a:lstStyle>
    </a:txDef>
  </a:objectDefaults>
  <a:extraClrSchemeLst/>
  <a:extLst>
    <a:ext uri="{05A4C25C-085E-4340-85A3-A5531E510DB2}">
      <thm15:themeFamily xmlns:thm15="http://schemas.microsoft.com/office/thememl/2012/main" name="Informatica_PPT-Template_03.2019" id="{3335DC4E-4854-400E-8039-35C2DA46042A}" vid="{9D97A968-8207-491A-93B2-E9095D3C9FB8}"/>
    </a:ext>
  </a:extLst>
</a:theme>
</file>

<file path=ppt/theme/theme3.xml><?xml version="1.0" encoding="utf-8"?>
<a:theme xmlns:a="http://schemas.openxmlformats.org/drawingml/2006/main" name="Informatica 2020 template DARK">
  <a:themeElements>
    <a:clrScheme name="Custom 40">
      <a:dk1>
        <a:srgbClr val="FFFFFF"/>
      </a:dk1>
      <a:lt1>
        <a:srgbClr val="373737"/>
      </a:lt1>
      <a:dk2>
        <a:srgbClr val="EAEAEA"/>
      </a:dk2>
      <a:lt2>
        <a:srgbClr val="0432FF"/>
      </a:lt2>
      <a:accent1>
        <a:srgbClr val="FF4D00"/>
      </a:accent1>
      <a:accent2>
        <a:srgbClr val="FF7D00"/>
      </a:accent2>
      <a:accent3>
        <a:srgbClr val="99DCE3"/>
      </a:accent3>
      <a:accent4>
        <a:srgbClr val="C10074"/>
      </a:accent4>
      <a:accent5>
        <a:srgbClr val="00A9BB"/>
      </a:accent5>
      <a:accent6>
        <a:srgbClr val="92D03D"/>
      </a:accent6>
      <a:hlink>
        <a:srgbClr val="00A9BB"/>
      </a:hlink>
      <a:folHlink>
        <a:srgbClr val="C10074"/>
      </a:folHlink>
    </a:clrScheme>
    <a:fontScheme name="Custom 6">
      <a:majorFont>
        <a:latin typeface="Roboto Light"/>
        <a:ea typeface=""/>
        <a:cs typeface=""/>
      </a:majorFont>
      <a:minorFont>
        <a:latin typeface="Robo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lIns="137160" tIns="91440" rIns="137160" bIns="91440" rtlCol="0" anchor="ctr"/>
      <a:lstStyle>
        <a:defPPr algn="ctr">
          <a:defRPr sz="1600" dirty="0">
            <a:solidFill>
              <a:schemeClr val="bg1"/>
            </a:solidFill>
            <a:latin typeface="Roboto" charset="0"/>
            <a:ea typeface="Roboto" charset="0"/>
            <a:cs typeface="Roboto"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91440" tIns="45720" rIns="91440" bIns="45720" rtlCol="0">
        <a:spAutoFit/>
      </a:bodyPr>
      <a:lstStyle>
        <a:defPPr algn="l">
          <a:lnSpc>
            <a:spcPct val="90000"/>
          </a:lnSpc>
          <a:spcAft>
            <a:spcPts val="1000"/>
          </a:spcAft>
          <a:defRPr dirty="0" smtClean="0">
            <a:solidFill>
              <a:schemeClr val="bg1"/>
            </a:solidFill>
            <a:latin typeface="Roboto" charset="0"/>
            <a:ea typeface="Roboto" charset="0"/>
            <a:cs typeface="Roboto" charset="0"/>
          </a:defRPr>
        </a:defPPr>
      </a:lstStyle>
    </a:txDef>
  </a:objectDefaults>
  <a:extraClrSchemeLst/>
  <a:extLst>
    <a:ext uri="{05A4C25C-085E-4340-85A3-A5531E510DB2}">
      <thm15:themeFamily xmlns:thm15="http://schemas.microsoft.com/office/thememl/2012/main" name="Informatica_PPT-Template_03.2019" id="{3335DC4E-4854-400E-8039-35C2DA46042A}" vid="{9D97A968-8207-491A-93B2-E9095D3C9FB8}"/>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61143D639C8DA45AA5B54430D3D377B" ma:contentTypeVersion="4" ma:contentTypeDescription="Create a new document." ma:contentTypeScope="" ma:versionID="a077fc4ec346d618712f24fec6eab5b7">
  <xsd:schema xmlns:xsd="http://www.w3.org/2001/XMLSchema" xmlns:xs="http://www.w3.org/2001/XMLSchema" xmlns:p="http://schemas.microsoft.com/office/2006/metadata/properties" xmlns:ns2="7b3110d6-8373-4474-bab6-112afdf6d42c" xmlns:ns3="04b85201-96e3-4c67-b6aa-4fb5849b739d" targetNamespace="http://schemas.microsoft.com/office/2006/metadata/properties" ma:root="true" ma:fieldsID="594a6cdd42cb5b31452ca9d0a2568068" ns2:_="" ns3:_="">
    <xsd:import namespace="7b3110d6-8373-4474-bab6-112afdf6d42c"/>
    <xsd:import namespace="04b85201-96e3-4c67-b6aa-4fb5849b739d"/>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b3110d6-8373-4474-bab6-112afdf6d42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4b85201-96e3-4c67-b6aa-4fb5849b739d"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D81B5EA-669F-4B8D-BD00-6AA580BC46D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b3110d6-8373-4474-bab6-112afdf6d42c"/>
    <ds:schemaRef ds:uri="04b85201-96e3-4c67-b6aa-4fb5849b739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1BD4243-4A5A-4921-9847-41714D0AE7EE}">
  <ds:schemaRefs>
    <ds:schemaRef ds:uri="http://purl.org/dc/terms/"/>
    <ds:schemaRef ds:uri="7b3110d6-8373-4474-bab6-112afdf6d42c"/>
    <ds:schemaRef ds:uri="http://schemas.microsoft.com/office/2006/documentManagement/types"/>
    <ds:schemaRef ds:uri="http://purl.org/dc/dcmitype/"/>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04b85201-96e3-4c67-b6aa-4fb5849b739d"/>
    <ds:schemaRef ds:uri="http://www.w3.org/XML/1998/namespace"/>
  </ds:schemaRefs>
</ds:datastoreItem>
</file>

<file path=customXml/itemProps3.xml><?xml version="1.0" encoding="utf-8"?>
<ds:datastoreItem xmlns:ds="http://schemas.openxmlformats.org/officeDocument/2006/customXml" ds:itemID="{BFBFD7F1-C1E1-4DE1-B0C3-4A4841671CD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Informatica_PPT-Template_03.2019</Template>
  <TotalTime>35156</TotalTime>
  <Words>1404</Words>
  <Application>Microsoft Office PowerPoint</Application>
  <PresentationFormat>Custom</PresentationFormat>
  <Paragraphs>274</Paragraphs>
  <Slides>24</Slides>
  <Notes>18</Notes>
  <HiddenSlides>0</HiddenSlides>
  <MMClips>0</MMClips>
  <ScaleCrop>false</ScaleCrop>
  <HeadingPairs>
    <vt:vector size="4" baseType="variant">
      <vt:variant>
        <vt:lpstr>Theme</vt:lpstr>
      </vt:variant>
      <vt:variant>
        <vt:i4>3</vt:i4>
      </vt:variant>
      <vt:variant>
        <vt:lpstr>Slide Titles</vt:lpstr>
      </vt:variant>
      <vt:variant>
        <vt:i4>24</vt:i4>
      </vt:variant>
    </vt:vector>
  </HeadingPairs>
  <TitlesOfParts>
    <vt:vector size="27" baseType="lpstr">
      <vt:lpstr>Informatica 2021 template</vt:lpstr>
      <vt:lpstr>1_Informatica 2020 template DARK</vt:lpstr>
      <vt:lpstr>Informatica 2020 template DARK</vt:lpstr>
      <vt:lpstr>PowerPoint Presentation</vt:lpstr>
      <vt:lpstr>Agenda</vt:lpstr>
      <vt:lpstr>PowerPoint Presentation</vt:lpstr>
      <vt:lpstr>PowerPoint Presentation</vt:lpstr>
      <vt:lpstr>PowerPoint Presentation</vt:lpstr>
      <vt:lpstr>CDW/DL</vt:lpstr>
      <vt:lpstr>Informatica Modernization program</vt:lpstr>
      <vt:lpstr>PowerPoint Presentation</vt:lpstr>
      <vt:lpstr>IICS Basics refreshe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verage Protection</vt:lpstr>
      <vt:lpstr>Cassini for ICDM</vt:lpstr>
      <vt:lpstr>Consumption – in detail</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Julia Andres</dc:creator>
  <cp:keywords/>
  <dc:description/>
  <cp:lastModifiedBy>Rydz, Jeffrey</cp:lastModifiedBy>
  <cp:revision>563</cp:revision>
  <cp:lastPrinted>2020-09-23T21:43:58Z</cp:lastPrinted>
  <dcterms:created xsi:type="dcterms:W3CDTF">2020-09-23T21:23:22Z</dcterms:created>
  <dcterms:modified xsi:type="dcterms:W3CDTF">2022-03-10T04:55:18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61143D639C8DA45AA5B54430D3D377B</vt:lpwstr>
  </property>
</Properties>
</file>